
<file path=[Content_Types].xml><?xml version="1.0" encoding="utf-8"?>
<Types xmlns="http://schemas.openxmlformats.org/package/2006/content-types">
  <Default Extension="xml" ContentType="application/xml"/>
  <Default Extension="wmf" ContentType="image/x-wmf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4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5.xml" ContentType="application/vnd.openxmlformats-officedocument.theme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6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7.xml" ContentType="application/vnd.openxmlformats-officedocument.theme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8.xml" ContentType="application/vnd.openxmlformats-officedocument.theme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9.xml" ContentType="application/vnd.openxmlformats-officedocument.theme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theme/theme10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embeddings/oleObject1.bin" ContentType="application/vnd.openxmlformats-officedocument.oleObject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embeddings/oleObject2.bin" ContentType="application/vnd.openxmlformats-officedocument.oleObject"/>
  <Override PartName="/ppt/tags/tag12.xml" ContentType="application/vnd.openxmlformats-officedocument.presentationml.tags+xml"/>
  <Override PartName="/ppt/embeddings/oleObject3.bin" ContentType="application/vnd.openxmlformats-officedocument.oleObject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embeddings/oleObject4.bin" ContentType="application/vnd.openxmlformats-officedocument.oleObject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embeddings/oleObject5.bin" ContentType="application/vnd.openxmlformats-officedocument.oleObject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theme/theme11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embeddings/oleObject6.bin" ContentType="application/vnd.openxmlformats-officedocument.oleObject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embeddings/oleObject7.bin" ContentType="application/vnd.openxmlformats-officedocument.oleObject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embeddings/oleObject8.bin" ContentType="application/vnd.openxmlformats-officedocument.oleObject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theme/theme12.xml" ContentType="application/vnd.openxmlformats-officedocument.them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embeddings/oleObject9.bin" ContentType="application/vnd.openxmlformats-officedocument.oleObject"/>
  <Override PartName="/ppt/tags/tag52.xml" ContentType="application/vnd.openxmlformats-officedocument.presentationml.tags+xml"/>
  <Override PartName="/ppt/embeddings/oleObject10.bin" ContentType="application/vnd.openxmlformats-officedocument.oleObject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embeddings/oleObject11.bin" ContentType="application/vnd.openxmlformats-officedocument.oleObject"/>
  <Override PartName="/ppt/embeddings/oleObject12.bin" ContentType="application/vnd.openxmlformats-officedocument.oleObject"/>
  <Override PartName="/ppt/theme/theme1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0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1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4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54" r:id="rId2"/>
    <p:sldMasterId id="2147483666" r:id="rId3"/>
    <p:sldMasterId id="2147483684" r:id="rId4"/>
    <p:sldMasterId id="2147483703" r:id="rId5"/>
    <p:sldMasterId id="2147483722" r:id="rId6"/>
    <p:sldMasterId id="2147483731" r:id="rId7"/>
    <p:sldMasterId id="2147483749" r:id="rId8"/>
    <p:sldMasterId id="2147483766" r:id="rId9"/>
    <p:sldMasterId id="2147483784" r:id="rId10"/>
    <p:sldMasterId id="2147483827" r:id="rId11"/>
    <p:sldMasterId id="2147483838" r:id="rId12"/>
  </p:sldMasterIdLst>
  <p:notesMasterIdLst>
    <p:notesMasterId r:id="rId26"/>
  </p:notesMasterIdLst>
  <p:sldIdLst>
    <p:sldId id="337" r:id="rId13"/>
    <p:sldId id="562" r:id="rId14"/>
    <p:sldId id="1531" r:id="rId15"/>
    <p:sldId id="1530" r:id="rId16"/>
    <p:sldId id="1529" r:id="rId17"/>
    <p:sldId id="1535" r:id="rId18"/>
    <p:sldId id="1536" r:id="rId19"/>
    <p:sldId id="1541" r:id="rId20"/>
    <p:sldId id="1542" r:id="rId21"/>
    <p:sldId id="1543" r:id="rId22"/>
    <p:sldId id="1545" r:id="rId23"/>
    <p:sldId id="1546" r:id="rId24"/>
    <p:sldId id="475" r:id="rId25"/>
  </p:sldIdLst>
  <p:sldSz cx="11522075" cy="6480175"/>
  <p:notesSz cx="6858000" cy="9144000"/>
  <p:defaultTextStyle>
    <a:defPPr>
      <a:defRPr lang="zh-CN"/>
    </a:defPPr>
    <a:lvl1pPr marL="0" algn="l" defTabSz="1028065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14350" algn="l" defTabSz="1028065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28700" algn="l" defTabSz="1028065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43050" algn="l" defTabSz="1028065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57400" algn="l" defTabSz="1028065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71750" algn="l" defTabSz="1028065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86100" algn="l" defTabSz="1028065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600450" algn="l" defTabSz="1028065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114165" algn="l" defTabSz="1028065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2231A"/>
    <a:srgbClr val="E31D1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191" autoAdjust="0"/>
    <p:restoredTop sz="85381" autoAdjust="0"/>
  </p:normalViewPr>
  <p:slideViewPr>
    <p:cSldViewPr>
      <p:cViewPr varScale="1">
        <p:scale>
          <a:sx n="86" d="100"/>
          <a:sy n="86" d="100"/>
        </p:scale>
        <p:origin x="-856" y="-104"/>
      </p:cViewPr>
      <p:guideLst>
        <p:guide orient="horz" pos="2011"/>
        <p:guide pos="3653"/>
      </p:guideLst>
    </p:cSldViewPr>
  </p:slideViewPr>
  <p:outlineViewPr>
    <p:cViewPr>
      <p:scale>
        <a:sx n="33" d="100"/>
        <a:sy n="33" d="100"/>
      </p:scale>
      <p:origin x="0" y="-218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3" d="100"/>
          <a:sy n="83" d="100"/>
        </p:scale>
        <p:origin x="3924" y="90"/>
      </p:cViewPr>
      <p:guideLst>
        <p:guide orient="horz" pos="2837"/>
        <p:guide pos="217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Master" Target="slideMasters/slideMaster9.xml"/><Relationship Id="rId20" Type="http://schemas.openxmlformats.org/officeDocument/2006/relationships/slide" Target="slides/slide8.xml"/><Relationship Id="rId21" Type="http://schemas.openxmlformats.org/officeDocument/2006/relationships/slide" Target="slides/slide9.xml"/><Relationship Id="rId22" Type="http://schemas.openxmlformats.org/officeDocument/2006/relationships/slide" Target="slides/slide10.xml"/><Relationship Id="rId23" Type="http://schemas.openxmlformats.org/officeDocument/2006/relationships/slide" Target="slides/slide11.xml"/><Relationship Id="rId24" Type="http://schemas.openxmlformats.org/officeDocument/2006/relationships/slide" Target="slides/slide12.xml"/><Relationship Id="rId25" Type="http://schemas.openxmlformats.org/officeDocument/2006/relationships/slide" Target="slides/slide13.xml"/><Relationship Id="rId26" Type="http://schemas.openxmlformats.org/officeDocument/2006/relationships/notesMaster" Target="notesMasters/notesMaster1.xml"/><Relationship Id="rId27" Type="http://schemas.openxmlformats.org/officeDocument/2006/relationships/printerSettings" Target="printerSettings/printerSettings1.bin"/><Relationship Id="rId28" Type="http://schemas.openxmlformats.org/officeDocument/2006/relationships/presProps" Target="presProps.xml"/><Relationship Id="rId29" Type="http://schemas.openxmlformats.org/officeDocument/2006/relationships/viewProps" Target="viewProps.xml"/><Relationship Id="rId30" Type="http://schemas.openxmlformats.org/officeDocument/2006/relationships/theme" Target="theme/theme1.xml"/><Relationship Id="rId31" Type="http://schemas.openxmlformats.org/officeDocument/2006/relationships/tableStyles" Target="tableStyles.xml"/><Relationship Id="rId10" Type="http://schemas.openxmlformats.org/officeDocument/2006/relationships/slideMaster" Target="slideMasters/slideMaster10.xml"/><Relationship Id="rId11" Type="http://schemas.openxmlformats.org/officeDocument/2006/relationships/slideMaster" Target="slideMasters/slideMaster11.xml"/><Relationship Id="rId12" Type="http://schemas.openxmlformats.org/officeDocument/2006/relationships/slideMaster" Target="slideMasters/slideMaster12.xml"/><Relationship Id="rId13" Type="http://schemas.openxmlformats.org/officeDocument/2006/relationships/slide" Target="slides/slide1.xml"/><Relationship Id="rId14" Type="http://schemas.openxmlformats.org/officeDocument/2006/relationships/slide" Target="slides/slide2.xml"/><Relationship Id="rId15" Type="http://schemas.openxmlformats.org/officeDocument/2006/relationships/slide" Target="slides/slide3.xml"/><Relationship Id="rId16" Type="http://schemas.openxmlformats.org/officeDocument/2006/relationships/slide" Target="slides/slide4.xml"/><Relationship Id="rId17" Type="http://schemas.openxmlformats.org/officeDocument/2006/relationships/slide" Target="slides/slide5.xml"/><Relationship Id="rId18" Type="http://schemas.openxmlformats.org/officeDocument/2006/relationships/slide" Target="slides/slide6.xml"/><Relationship Id="rId19" Type="http://schemas.openxmlformats.org/officeDocument/2006/relationships/slide" Target="slides/slide7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Master" Target="slideMasters/slideMaster5.xml"/><Relationship Id="rId6" Type="http://schemas.openxmlformats.org/officeDocument/2006/relationships/slideMaster" Target="slideMasters/slideMaster6.xml"/><Relationship Id="rId7" Type="http://schemas.openxmlformats.org/officeDocument/2006/relationships/slideMaster" Target="slideMasters/slideMaster7.xml"/><Relationship Id="rId8" Type="http://schemas.openxmlformats.org/officeDocument/2006/relationships/slideMaster" Target="slideMasters/slideMaster8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B8A7EBE-36C9-2649-BD8E-B88FBA0A4BE1}" type="doc">
      <dgm:prSet loTypeId="urn:microsoft.com/office/officeart/2005/8/layout/orgChart1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65F4E0EA-0D51-0A4D-AF7B-1F24502AC360}">
      <dgm:prSet phldrT="[文本]"/>
      <dgm:spPr/>
      <dgm:t>
        <a:bodyPr/>
        <a:lstStyle/>
        <a:p>
          <a:r>
            <a:rPr lang="en-US" altLang="zh-CN" dirty="0" smtClean="0"/>
            <a:t>Objective</a:t>
          </a:r>
          <a:endParaRPr lang="zh-CN" altLang="en-US" dirty="0" smtClean="0"/>
        </a:p>
        <a:p>
          <a:r>
            <a:rPr lang="zh-CN" altLang="en-US" dirty="0" smtClean="0"/>
            <a:t>提升每位用户的平均观看</a:t>
          </a:r>
          <a:r>
            <a:rPr lang="en-US" altLang="zh-CN" dirty="0" err="1" smtClean="0"/>
            <a:t>youtube</a:t>
          </a:r>
          <a:r>
            <a:rPr lang="zh-CN" altLang="en-US" dirty="0" smtClean="0"/>
            <a:t>时间</a:t>
          </a:r>
          <a:endParaRPr lang="zh-CN" altLang="en-US" dirty="0"/>
        </a:p>
      </dgm:t>
    </dgm:pt>
    <dgm:pt modelId="{07630568-8659-634A-8DFE-5223C63B3CA9}" type="parTrans" cxnId="{A87FAF65-A97D-3049-BE18-41BF77A2FF0D}">
      <dgm:prSet/>
      <dgm:spPr/>
      <dgm:t>
        <a:bodyPr/>
        <a:lstStyle/>
        <a:p>
          <a:endParaRPr lang="zh-CN" altLang="en-US"/>
        </a:p>
      </dgm:t>
    </dgm:pt>
    <dgm:pt modelId="{467B5288-DC2F-9B44-AB4B-E6727F468BEC}" type="sibTrans" cxnId="{A87FAF65-A97D-3049-BE18-41BF77A2FF0D}">
      <dgm:prSet/>
      <dgm:spPr/>
      <dgm:t>
        <a:bodyPr/>
        <a:lstStyle/>
        <a:p>
          <a:endParaRPr lang="zh-CN" altLang="en-US"/>
        </a:p>
      </dgm:t>
    </dgm:pt>
    <dgm:pt modelId="{0C0D48E5-9D2E-FA40-AA05-B5DD750B0FBE}">
      <dgm:prSet phldrT="[文本]"/>
      <dgm:spPr/>
      <dgm:t>
        <a:bodyPr/>
        <a:lstStyle/>
        <a:p>
          <a:r>
            <a:rPr lang="en-US" altLang="zh-CN" dirty="0" smtClean="0"/>
            <a:t>KR1</a:t>
          </a:r>
          <a:endParaRPr lang="zh-CN" altLang="en-US" dirty="0" smtClean="0"/>
        </a:p>
        <a:p>
          <a:r>
            <a:rPr lang="zh-CN" altLang="en-US" dirty="0" smtClean="0"/>
            <a:t>提升每天</a:t>
          </a:r>
          <a:r>
            <a:rPr lang="en-US" altLang="zh-CN" dirty="0" smtClean="0"/>
            <a:t>30</a:t>
          </a:r>
          <a:r>
            <a:rPr lang="zh-CN" altLang="en-US" dirty="0" smtClean="0"/>
            <a:t>分钟的观看时间</a:t>
          </a:r>
          <a:endParaRPr lang="zh-CN" altLang="en-US" dirty="0"/>
        </a:p>
      </dgm:t>
    </dgm:pt>
    <dgm:pt modelId="{9978B41C-6CBA-644D-8A71-8E27157D0614}" type="parTrans" cxnId="{1067C238-2A51-7140-BE96-E3C2C1070F3E}">
      <dgm:prSet/>
      <dgm:spPr/>
      <dgm:t>
        <a:bodyPr/>
        <a:lstStyle/>
        <a:p>
          <a:endParaRPr lang="zh-CN" altLang="en-US"/>
        </a:p>
      </dgm:t>
    </dgm:pt>
    <dgm:pt modelId="{211992D7-99BD-7A49-AEB0-F9D27326A822}" type="sibTrans" cxnId="{1067C238-2A51-7140-BE96-E3C2C1070F3E}">
      <dgm:prSet/>
      <dgm:spPr/>
      <dgm:t>
        <a:bodyPr/>
        <a:lstStyle/>
        <a:p>
          <a:endParaRPr lang="zh-CN" altLang="en-US"/>
        </a:p>
      </dgm:t>
    </dgm:pt>
    <dgm:pt modelId="{38EE6BAF-8BE1-0340-ABE4-4C28A6ECBE16}">
      <dgm:prSet phldrT="[文本]"/>
      <dgm:spPr/>
      <dgm:t>
        <a:bodyPr/>
        <a:lstStyle/>
        <a:p>
          <a:r>
            <a:rPr lang="en-US" altLang="zh-CN" dirty="0" smtClean="0"/>
            <a:t>KR2</a:t>
          </a:r>
          <a:endParaRPr lang="zh-CN" altLang="en-US" dirty="0" smtClean="0"/>
        </a:p>
        <a:p>
          <a:r>
            <a:rPr lang="zh-CN" altLang="en-US" dirty="0" smtClean="0"/>
            <a:t>推出适应三大操作系统，五个主流浏览器的</a:t>
          </a:r>
          <a:r>
            <a:rPr lang="en-US" altLang="zh-CN" dirty="0" err="1" smtClean="0"/>
            <a:t>youtube</a:t>
          </a:r>
          <a:r>
            <a:rPr lang="zh-CN" altLang="en-US" dirty="0" smtClean="0"/>
            <a:t>客户端</a:t>
          </a:r>
          <a:endParaRPr lang="zh-CN" altLang="en-US" dirty="0"/>
        </a:p>
      </dgm:t>
    </dgm:pt>
    <dgm:pt modelId="{42532D7E-555D-A24F-8905-7AB6E7E06206}" type="parTrans" cxnId="{DEE8185C-F6AB-7F4E-8254-BF910EC35D67}">
      <dgm:prSet/>
      <dgm:spPr/>
      <dgm:t>
        <a:bodyPr/>
        <a:lstStyle/>
        <a:p>
          <a:endParaRPr lang="zh-CN" altLang="en-US"/>
        </a:p>
      </dgm:t>
    </dgm:pt>
    <dgm:pt modelId="{9222598F-27FE-DA47-8130-270EBD4C5B47}" type="sibTrans" cxnId="{DEE8185C-F6AB-7F4E-8254-BF910EC35D67}">
      <dgm:prSet/>
      <dgm:spPr/>
      <dgm:t>
        <a:bodyPr/>
        <a:lstStyle/>
        <a:p>
          <a:endParaRPr lang="zh-CN" altLang="en-US"/>
        </a:p>
      </dgm:t>
    </dgm:pt>
    <dgm:pt modelId="{2DE89D53-030E-F94E-A8D6-00061E799F21}">
      <dgm:prSet phldrT="[文本]"/>
      <dgm:spPr/>
      <dgm:t>
        <a:bodyPr/>
        <a:lstStyle/>
        <a:p>
          <a:r>
            <a:rPr lang="en-US" altLang="zh-CN" dirty="0" smtClean="0"/>
            <a:t>KR3</a:t>
          </a:r>
          <a:endParaRPr lang="zh-CN" altLang="en-US" dirty="0" smtClean="0"/>
        </a:p>
        <a:p>
          <a:r>
            <a:rPr lang="zh-CN" altLang="en-US" dirty="0" smtClean="0"/>
            <a:t>降低</a:t>
          </a:r>
          <a:r>
            <a:rPr lang="en-US" altLang="zh-CN" dirty="0" smtClean="0"/>
            <a:t>40%</a:t>
          </a:r>
          <a:r>
            <a:rPr lang="zh-CN" altLang="en-US" dirty="0" smtClean="0"/>
            <a:t>的视频加载时间</a:t>
          </a:r>
          <a:endParaRPr lang="zh-CN" altLang="en-US" dirty="0"/>
        </a:p>
      </dgm:t>
    </dgm:pt>
    <dgm:pt modelId="{925BE817-9401-4243-A192-F23AF192B008}" type="parTrans" cxnId="{FF193023-E9F5-EC47-9204-880F67357BD2}">
      <dgm:prSet/>
      <dgm:spPr/>
      <dgm:t>
        <a:bodyPr/>
        <a:lstStyle/>
        <a:p>
          <a:endParaRPr lang="zh-CN" altLang="en-US"/>
        </a:p>
      </dgm:t>
    </dgm:pt>
    <dgm:pt modelId="{FB6B60D5-704D-274C-9E77-4AC9933318A4}" type="sibTrans" cxnId="{FF193023-E9F5-EC47-9204-880F67357BD2}">
      <dgm:prSet/>
      <dgm:spPr/>
      <dgm:t>
        <a:bodyPr/>
        <a:lstStyle/>
        <a:p>
          <a:endParaRPr lang="zh-CN" altLang="en-US"/>
        </a:p>
      </dgm:t>
    </dgm:pt>
    <dgm:pt modelId="{7F57DBB9-835C-E749-822F-CBB9F369FD79}" type="pres">
      <dgm:prSet presAssocID="{1B8A7EBE-36C9-2649-BD8E-B88FBA0A4BE1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zh-CN" altLang="en-US"/>
        </a:p>
      </dgm:t>
    </dgm:pt>
    <dgm:pt modelId="{C305E449-3379-8A4B-8F30-4E78BEBBC03F}" type="pres">
      <dgm:prSet presAssocID="{65F4E0EA-0D51-0A4D-AF7B-1F24502AC360}" presName="hierRoot1" presStyleCnt="0">
        <dgm:presLayoutVars>
          <dgm:hierBranch val="init"/>
        </dgm:presLayoutVars>
      </dgm:prSet>
      <dgm:spPr/>
    </dgm:pt>
    <dgm:pt modelId="{A0D11B6B-6B3F-1743-A2DE-BB2F83BEC2EB}" type="pres">
      <dgm:prSet presAssocID="{65F4E0EA-0D51-0A4D-AF7B-1F24502AC360}" presName="rootComposite1" presStyleCnt="0"/>
      <dgm:spPr/>
    </dgm:pt>
    <dgm:pt modelId="{5B7C661C-1942-3846-B133-FBDEBF3E4A71}" type="pres">
      <dgm:prSet presAssocID="{65F4E0EA-0D51-0A4D-AF7B-1F24502AC360}" presName="rootText1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1538B2A6-0A0F-D243-98B3-AE89A8A00585}" type="pres">
      <dgm:prSet presAssocID="{65F4E0EA-0D51-0A4D-AF7B-1F24502AC360}" presName="rootConnector1" presStyleLbl="node1" presStyleIdx="0" presStyleCnt="0"/>
      <dgm:spPr/>
      <dgm:t>
        <a:bodyPr/>
        <a:lstStyle/>
        <a:p>
          <a:endParaRPr lang="zh-CN" altLang="en-US"/>
        </a:p>
      </dgm:t>
    </dgm:pt>
    <dgm:pt modelId="{8613D64E-9561-C141-9AA1-60BD0A25855F}" type="pres">
      <dgm:prSet presAssocID="{65F4E0EA-0D51-0A4D-AF7B-1F24502AC360}" presName="hierChild2" presStyleCnt="0"/>
      <dgm:spPr/>
    </dgm:pt>
    <dgm:pt modelId="{0D2570AB-6AF5-8F45-9560-4280460C9978}" type="pres">
      <dgm:prSet presAssocID="{9978B41C-6CBA-644D-8A71-8E27157D0614}" presName="Name37" presStyleLbl="parChTrans1D2" presStyleIdx="0" presStyleCnt="3"/>
      <dgm:spPr/>
      <dgm:t>
        <a:bodyPr/>
        <a:lstStyle/>
        <a:p>
          <a:endParaRPr lang="zh-CN" altLang="en-US"/>
        </a:p>
      </dgm:t>
    </dgm:pt>
    <dgm:pt modelId="{C305EEED-CB7D-F544-9FE4-2F709CD6BF6B}" type="pres">
      <dgm:prSet presAssocID="{0C0D48E5-9D2E-FA40-AA05-B5DD750B0FBE}" presName="hierRoot2" presStyleCnt="0">
        <dgm:presLayoutVars>
          <dgm:hierBranch val="init"/>
        </dgm:presLayoutVars>
      </dgm:prSet>
      <dgm:spPr/>
    </dgm:pt>
    <dgm:pt modelId="{CEDF9301-682A-C746-A2CF-6602A7D32B6C}" type="pres">
      <dgm:prSet presAssocID="{0C0D48E5-9D2E-FA40-AA05-B5DD750B0FBE}" presName="rootComposite" presStyleCnt="0"/>
      <dgm:spPr/>
    </dgm:pt>
    <dgm:pt modelId="{5E70361A-0968-6C4A-81D9-357A8EBD0B85}" type="pres">
      <dgm:prSet presAssocID="{0C0D48E5-9D2E-FA40-AA05-B5DD750B0FBE}" presName="rootText" presStyleLbl="node2" presStyleIdx="0" presStyleCnt="3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744A0214-F83D-9644-B38A-FC7A6D45EDF1}" type="pres">
      <dgm:prSet presAssocID="{0C0D48E5-9D2E-FA40-AA05-B5DD750B0FBE}" presName="rootConnector" presStyleLbl="node2" presStyleIdx="0" presStyleCnt="3"/>
      <dgm:spPr/>
      <dgm:t>
        <a:bodyPr/>
        <a:lstStyle/>
        <a:p>
          <a:endParaRPr lang="zh-CN" altLang="en-US"/>
        </a:p>
      </dgm:t>
    </dgm:pt>
    <dgm:pt modelId="{D5E3F9D0-8DA2-BF41-A47F-9FD8D4539DF4}" type="pres">
      <dgm:prSet presAssocID="{0C0D48E5-9D2E-FA40-AA05-B5DD750B0FBE}" presName="hierChild4" presStyleCnt="0"/>
      <dgm:spPr/>
    </dgm:pt>
    <dgm:pt modelId="{54A4EE9C-80C1-4C44-9BB3-0AF23ED5F09A}" type="pres">
      <dgm:prSet presAssocID="{0C0D48E5-9D2E-FA40-AA05-B5DD750B0FBE}" presName="hierChild5" presStyleCnt="0"/>
      <dgm:spPr/>
    </dgm:pt>
    <dgm:pt modelId="{27783E8A-80BE-A84E-B973-28B597E0F047}" type="pres">
      <dgm:prSet presAssocID="{42532D7E-555D-A24F-8905-7AB6E7E06206}" presName="Name37" presStyleLbl="parChTrans1D2" presStyleIdx="1" presStyleCnt="3"/>
      <dgm:spPr/>
      <dgm:t>
        <a:bodyPr/>
        <a:lstStyle/>
        <a:p>
          <a:endParaRPr lang="zh-CN" altLang="en-US"/>
        </a:p>
      </dgm:t>
    </dgm:pt>
    <dgm:pt modelId="{8DADE634-5C9E-D54E-8082-40F09998C102}" type="pres">
      <dgm:prSet presAssocID="{38EE6BAF-8BE1-0340-ABE4-4C28A6ECBE16}" presName="hierRoot2" presStyleCnt="0">
        <dgm:presLayoutVars>
          <dgm:hierBranch val="init"/>
        </dgm:presLayoutVars>
      </dgm:prSet>
      <dgm:spPr/>
    </dgm:pt>
    <dgm:pt modelId="{639269C5-C538-9D4F-A9A9-93EBDDAB70A2}" type="pres">
      <dgm:prSet presAssocID="{38EE6BAF-8BE1-0340-ABE4-4C28A6ECBE16}" presName="rootComposite" presStyleCnt="0"/>
      <dgm:spPr/>
    </dgm:pt>
    <dgm:pt modelId="{60C9AD33-A102-FE42-B35F-C8437630EF10}" type="pres">
      <dgm:prSet presAssocID="{38EE6BAF-8BE1-0340-ABE4-4C28A6ECBE16}" presName="rootText" presStyleLbl="node2" presStyleIdx="1" presStyleCnt="3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E51D2DFA-7A88-6D47-BDEC-C2D5AFA0DBE3}" type="pres">
      <dgm:prSet presAssocID="{38EE6BAF-8BE1-0340-ABE4-4C28A6ECBE16}" presName="rootConnector" presStyleLbl="node2" presStyleIdx="1" presStyleCnt="3"/>
      <dgm:spPr/>
      <dgm:t>
        <a:bodyPr/>
        <a:lstStyle/>
        <a:p>
          <a:endParaRPr lang="zh-CN" altLang="en-US"/>
        </a:p>
      </dgm:t>
    </dgm:pt>
    <dgm:pt modelId="{89F5459A-7EF4-B942-9332-60593BBB61B8}" type="pres">
      <dgm:prSet presAssocID="{38EE6BAF-8BE1-0340-ABE4-4C28A6ECBE16}" presName="hierChild4" presStyleCnt="0"/>
      <dgm:spPr/>
    </dgm:pt>
    <dgm:pt modelId="{60F5A1E4-4D11-FB4C-AA8B-D400F4B641EA}" type="pres">
      <dgm:prSet presAssocID="{38EE6BAF-8BE1-0340-ABE4-4C28A6ECBE16}" presName="hierChild5" presStyleCnt="0"/>
      <dgm:spPr/>
    </dgm:pt>
    <dgm:pt modelId="{67DBE3B1-3EA4-3743-96BF-E5121C9D1E58}" type="pres">
      <dgm:prSet presAssocID="{925BE817-9401-4243-A192-F23AF192B008}" presName="Name37" presStyleLbl="parChTrans1D2" presStyleIdx="2" presStyleCnt="3"/>
      <dgm:spPr/>
      <dgm:t>
        <a:bodyPr/>
        <a:lstStyle/>
        <a:p>
          <a:endParaRPr lang="zh-CN" altLang="en-US"/>
        </a:p>
      </dgm:t>
    </dgm:pt>
    <dgm:pt modelId="{DE9CDDDA-AD83-B744-9664-2D8D3B2BCD1E}" type="pres">
      <dgm:prSet presAssocID="{2DE89D53-030E-F94E-A8D6-00061E799F21}" presName="hierRoot2" presStyleCnt="0">
        <dgm:presLayoutVars>
          <dgm:hierBranch val="init"/>
        </dgm:presLayoutVars>
      </dgm:prSet>
      <dgm:spPr/>
    </dgm:pt>
    <dgm:pt modelId="{570EE93F-A5BE-6946-B143-DFA8D65EE762}" type="pres">
      <dgm:prSet presAssocID="{2DE89D53-030E-F94E-A8D6-00061E799F21}" presName="rootComposite" presStyleCnt="0"/>
      <dgm:spPr/>
    </dgm:pt>
    <dgm:pt modelId="{443F1702-96C4-C64C-8C81-4EA64E606DB6}" type="pres">
      <dgm:prSet presAssocID="{2DE89D53-030E-F94E-A8D6-00061E799F21}" presName="rootText" presStyleLbl="node2" presStyleIdx="2" presStyleCnt="3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58A212F1-BD05-B149-A8D2-105241DF197A}" type="pres">
      <dgm:prSet presAssocID="{2DE89D53-030E-F94E-A8D6-00061E799F21}" presName="rootConnector" presStyleLbl="node2" presStyleIdx="2" presStyleCnt="3"/>
      <dgm:spPr/>
      <dgm:t>
        <a:bodyPr/>
        <a:lstStyle/>
        <a:p>
          <a:endParaRPr lang="zh-CN" altLang="en-US"/>
        </a:p>
      </dgm:t>
    </dgm:pt>
    <dgm:pt modelId="{6ADBCA93-ECB5-D54E-ACB8-9056F0067B26}" type="pres">
      <dgm:prSet presAssocID="{2DE89D53-030E-F94E-A8D6-00061E799F21}" presName="hierChild4" presStyleCnt="0"/>
      <dgm:spPr/>
    </dgm:pt>
    <dgm:pt modelId="{E3A751B2-84D1-1B4B-81A0-B8E91039A0ED}" type="pres">
      <dgm:prSet presAssocID="{2DE89D53-030E-F94E-A8D6-00061E799F21}" presName="hierChild5" presStyleCnt="0"/>
      <dgm:spPr/>
    </dgm:pt>
    <dgm:pt modelId="{A348D552-A0F5-4149-9220-7C766D4AEF8B}" type="pres">
      <dgm:prSet presAssocID="{65F4E0EA-0D51-0A4D-AF7B-1F24502AC360}" presName="hierChild3" presStyleCnt="0"/>
      <dgm:spPr/>
    </dgm:pt>
  </dgm:ptLst>
  <dgm:cxnLst>
    <dgm:cxn modelId="{C3DA3972-A8AB-FF45-A92E-CC5BBFCD1BBD}" type="presOf" srcId="{9978B41C-6CBA-644D-8A71-8E27157D0614}" destId="{0D2570AB-6AF5-8F45-9560-4280460C9978}" srcOrd="0" destOrd="0" presId="urn:microsoft.com/office/officeart/2005/8/layout/orgChart1"/>
    <dgm:cxn modelId="{FC7CDD49-7373-C745-BEDF-9994566E536D}" type="presOf" srcId="{0C0D48E5-9D2E-FA40-AA05-B5DD750B0FBE}" destId="{744A0214-F83D-9644-B38A-FC7A6D45EDF1}" srcOrd="1" destOrd="0" presId="urn:microsoft.com/office/officeart/2005/8/layout/orgChart1"/>
    <dgm:cxn modelId="{78C9F1AC-931D-084C-AB75-7D109AC0F617}" type="presOf" srcId="{42532D7E-555D-A24F-8905-7AB6E7E06206}" destId="{27783E8A-80BE-A84E-B973-28B597E0F047}" srcOrd="0" destOrd="0" presId="urn:microsoft.com/office/officeart/2005/8/layout/orgChart1"/>
    <dgm:cxn modelId="{16E7D0ED-1EE7-A246-B81D-2BBD1F4A571E}" type="presOf" srcId="{2DE89D53-030E-F94E-A8D6-00061E799F21}" destId="{443F1702-96C4-C64C-8C81-4EA64E606DB6}" srcOrd="0" destOrd="0" presId="urn:microsoft.com/office/officeart/2005/8/layout/orgChart1"/>
    <dgm:cxn modelId="{DEE8185C-F6AB-7F4E-8254-BF910EC35D67}" srcId="{65F4E0EA-0D51-0A4D-AF7B-1F24502AC360}" destId="{38EE6BAF-8BE1-0340-ABE4-4C28A6ECBE16}" srcOrd="1" destOrd="0" parTransId="{42532D7E-555D-A24F-8905-7AB6E7E06206}" sibTransId="{9222598F-27FE-DA47-8130-270EBD4C5B47}"/>
    <dgm:cxn modelId="{AF7A03C9-0533-354E-A598-6C87BD215995}" type="presOf" srcId="{2DE89D53-030E-F94E-A8D6-00061E799F21}" destId="{58A212F1-BD05-B149-A8D2-105241DF197A}" srcOrd="1" destOrd="0" presId="urn:microsoft.com/office/officeart/2005/8/layout/orgChart1"/>
    <dgm:cxn modelId="{BD580F5A-9710-A348-B21E-EC3393001CED}" type="presOf" srcId="{925BE817-9401-4243-A192-F23AF192B008}" destId="{67DBE3B1-3EA4-3743-96BF-E5121C9D1E58}" srcOrd="0" destOrd="0" presId="urn:microsoft.com/office/officeart/2005/8/layout/orgChart1"/>
    <dgm:cxn modelId="{25F41820-4D8A-DB41-B741-42F21EE63D46}" type="presOf" srcId="{65F4E0EA-0D51-0A4D-AF7B-1F24502AC360}" destId="{1538B2A6-0A0F-D243-98B3-AE89A8A00585}" srcOrd="1" destOrd="0" presId="urn:microsoft.com/office/officeart/2005/8/layout/orgChart1"/>
    <dgm:cxn modelId="{FF193023-E9F5-EC47-9204-880F67357BD2}" srcId="{65F4E0EA-0D51-0A4D-AF7B-1F24502AC360}" destId="{2DE89D53-030E-F94E-A8D6-00061E799F21}" srcOrd="2" destOrd="0" parTransId="{925BE817-9401-4243-A192-F23AF192B008}" sibTransId="{FB6B60D5-704D-274C-9E77-4AC9933318A4}"/>
    <dgm:cxn modelId="{EF6F630E-52CF-5044-8BEA-AB0C281226E1}" type="presOf" srcId="{1B8A7EBE-36C9-2649-BD8E-B88FBA0A4BE1}" destId="{7F57DBB9-835C-E749-822F-CBB9F369FD79}" srcOrd="0" destOrd="0" presId="urn:microsoft.com/office/officeart/2005/8/layout/orgChart1"/>
    <dgm:cxn modelId="{518C5CAA-8A37-1742-BDF9-D76E15F5272B}" type="presOf" srcId="{38EE6BAF-8BE1-0340-ABE4-4C28A6ECBE16}" destId="{E51D2DFA-7A88-6D47-BDEC-C2D5AFA0DBE3}" srcOrd="1" destOrd="0" presId="urn:microsoft.com/office/officeart/2005/8/layout/orgChart1"/>
    <dgm:cxn modelId="{829950BA-2A56-7542-A4CA-866E4C93753F}" type="presOf" srcId="{38EE6BAF-8BE1-0340-ABE4-4C28A6ECBE16}" destId="{60C9AD33-A102-FE42-B35F-C8437630EF10}" srcOrd="0" destOrd="0" presId="urn:microsoft.com/office/officeart/2005/8/layout/orgChart1"/>
    <dgm:cxn modelId="{E8372A76-F857-6A46-8FDF-EAE643DAC697}" type="presOf" srcId="{65F4E0EA-0D51-0A4D-AF7B-1F24502AC360}" destId="{5B7C661C-1942-3846-B133-FBDEBF3E4A71}" srcOrd="0" destOrd="0" presId="urn:microsoft.com/office/officeart/2005/8/layout/orgChart1"/>
    <dgm:cxn modelId="{A87FAF65-A97D-3049-BE18-41BF77A2FF0D}" srcId="{1B8A7EBE-36C9-2649-BD8E-B88FBA0A4BE1}" destId="{65F4E0EA-0D51-0A4D-AF7B-1F24502AC360}" srcOrd="0" destOrd="0" parTransId="{07630568-8659-634A-8DFE-5223C63B3CA9}" sibTransId="{467B5288-DC2F-9B44-AB4B-E6727F468BEC}"/>
    <dgm:cxn modelId="{05209F5F-45D6-0A48-90B6-D3A4F8A41CC2}" type="presOf" srcId="{0C0D48E5-9D2E-FA40-AA05-B5DD750B0FBE}" destId="{5E70361A-0968-6C4A-81D9-357A8EBD0B85}" srcOrd="0" destOrd="0" presId="urn:microsoft.com/office/officeart/2005/8/layout/orgChart1"/>
    <dgm:cxn modelId="{1067C238-2A51-7140-BE96-E3C2C1070F3E}" srcId="{65F4E0EA-0D51-0A4D-AF7B-1F24502AC360}" destId="{0C0D48E5-9D2E-FA40-AA05-B5DD750B0FBE}" srcOrd="0" destOrd="0" parTransId="{9978B41C-6CBA-644D-8A71-8E27157D0614}" sibTransId="{211992D7-99BD-7A49-AEB0-F9D27326A822}"/>
    <dgm:cxn modelId="{8E16663F-E032-144E-9AEE-2B14B71FDECD}" type="presParOf" srcId="{7F57DBB9-835C-E749-822F-CBB9F369FD79}" destId="{C305E449-3379-8A4B-8F30-4E78BEBBC03F}" srcOrd="0" destOrd="0" presId="urn:microsoft.com/office/officeart/2005/8/layout/orgChart1"/>
    <dgm:cxn modelId="{966B00E0-A9F0-0942-B037-5281BDD812D4}" type="presParOf" srcId="{C305E449-3379-8A4B-8F30-4E78BEBBC03F}" destId="{A0D11B6B-6B3F-1743-A2DE-BB2F83BEC2EB}" srcOrd="0" destOrd="0" presId="urn:microsoft.com/office/officeart/2005/8/layout/orgChart1"/>
    <dgm:cxn modelId="{190BA2A5-8EED-8345-BD4D-B0D61B748434}" type="presParOf" srcId="{A0D11B6B-6B3F-1743-A2DE-BB2F83BEC2EB}" destId="{5B7C661C-1942-3846-B133-FBDEBF3E4A71}" srcOrd="0" destOrd="0" presId="urn:microsoft.com/office/officeart/2005/8/layout/orgChart1"/>
    <dgm:cxn modelId="{D22461A1-3F70-9C40-99DF-85EE97292751}" type="presParOf" srcId="{A0D11B6B-6B3F-1743-A2DE-BB2F83BEC2EB}" destId="{1538B2A6-0A0F-D243-98B3-AE89A8A00585}" srcOrd="1" destOrd="0" presId="urn:microsoft.com/office/officeart/2005/8/layout/orgChart1"/>
    <dgm:cxn modelId="{839DFB8D-15F6-3046-A002-E2691889BBB1}" type="presParOf" srcId="{C305E449-3379-8A4B-8F30-4E78BEBBC03F}" destId="{8613D64E-9561-C141-9AA1-60BD0A25855F}" srcOrd="1" destOrd="0" presId="urn:microsoft.com/office/officeart/2005/8/layout/orgChart1"/>
    <dgm:cxn modelId="{39BE60E6-235D-4A4E-ACDE-2983469391BE}" type="presParOf" srcId="{8613D64E-9561-C141-9AA1-60BD0A25855F}" destId="{0D2570AB-6AF5-8F45-9560-4280460C9978}" srcOrd="0" destOrd="0" presId="urn:microsoft.com/office/officeart/2005/8/layout/orgChart1"/>
    <dgm:cxn modelId="{5A36745A-E34F-2342-9176-3BC266F2DB24}" type="presParOf" srcId="{8613D64E-9561-C141-9AA1-60BD0A25855F}" destId="{C305EEED-CB7D-F544-9FE4-2F709CD6BF6B}" srcOrd="1" destOrd="0" presId="urn:microsoft.com/office/officeart/2005/8/layout/orgChart1"/>
    <dgm:cxn modelId="{CA5DFA7A-BD93-9C4E-ADCF-C89D5106D958}" type="presParOf" srcId="{C305EEED-CB7D-F544-9FE4-2F709CD6BF6B}" destId="{CEDF9301-682A-C746-A2CF-6602A7D32B6C}" srcOrd="0" destOrd="0" presId="urn:microsoft.com/office/officeart/2005/8/layout/orgChart1"/>
    <dgm:cxn modelId="{9B7AA5B7-A6A2-9A4E-9CB3-8732342BDDB5}" type="presParOf" srcId="{CEDF9301-682A-C746-A2CF-6602A7D32B6C}" destId="{5E70361A-0968-6C4A-81D9-357A8EBD0B85}" srcOrd="0" destOrd="0" presId="urn:microsoft.com/office/officeart/2005/8/layout/orgChart1"/>
    <dgm:cxn modelId="{438B3ABA-86D3-6049-A287-02FDF6537782}" type="presParOf" srcId="{CEDF9301-682A-C746-A2CF-6602A7D32B6C}" destId="{744A0214-F83D-9644-B38A-FC7A6D45EDF1}" srcOrd="1" destOrd="0" presId="urn:microsoft.com/office/officeart/2005/8/layout/orgChart1"/>
    <dgm:cxn modelId="{B18DC783-3BB3-3440-BEDF-CCD360623BFF}" type="presParOf" srcId="{C305EEED-CB7D-F544-9FE4-2F709CD6BF6B}" destId="{D5E3F9D0-8DA2-BF41-A47F-9FD8D4539DF4}" srcOrd="1" destOrd="0" presId="urn:microsoft.com/office/officeart/2005/8/layout/orgChart1"/>
    <dgm:cxn modelId="{263EE3C6-F60A-EE47-85D2-7EEEE84A2A84}" type="presParOf" srcId="{C305EEED-CB7D-F544-9FE4-2F709CD6BF6B}" destId="{54A4EE9C-80C1-4C44-9BB3-0AF23ED5F09A}" srcOrd="2" destOrd="0" presId="urn:microsoft.com/office/officeart/2005/8/layout/orgChart1"/>
    <dgm:cxn modelId="{4274D06A-8235-A742-A87F-5865DD0C0F4F}" type="presParOf" srcId="{8613D64E-9561-C141-9AA1-60BD0A25855F}" destId="{27783E8A-80BE-A84E-B973-28B597E0F047}" srcOrd="2" destOrd="0" presId="urn:microsoft.com/office/officeart/2005/8/layout/orgChart1"/>
    <dgm:cxn modelId="{562AA932-6CC9-7848-896D-7DA95BF78901}" type="presParOf" srcId="{8613D64E-9561-C141-9AA1-60BD0A25855F}" destId="{8DADE634-5C9E-D54E-8082-40F09998C102}" srcOrd="3" destOrd="0" presId="urn:microsoft.com/office/officeart/2005/8/layout/orgChart1"/>
    <dgm:cxn modelId="{EA296CE3-842D-4145-955F-5D53C843EC32}" type="presParOf" srcId="{8DADE634-5C9E-D54E-8082-40F09998C102}" destId="{639269C5-C538-9D4F-A9A9-93EBDDAB70A2}" srcOrd="0" destOrd="0" presId="urn:microsoft.com/office/officeart/2005/8/layout/orgChart1"/>
    <dgm:cxn modelId="{5C61CB0F-B362-2144-AA00-5CEF9163F408}" type="presParOf" srcId="{639269C5-C538-9D4F-A9A9-93EBDDAB70A2}" destId="{60C9AD33-A102-FE42-B35F-C8437630EF10}" srcOrd="0" destOrd="0" presId="urn:microsoft.com/office/officeart/2005/8/layout/orgChart1"/>
    <dgm:cxn modelId="{0B7BF5CE-60C5-9A4E-AA5B-C801599D2C39}" type="presParOf" srcId="{639269C5-C538-9D4F-A9A9-93EBDDAB70A2}" destId="{E51D2DFA-7A88-6D47-BDEC-C2D5AFA0DBE3}" srcOrd="1" destOrd="0" presId="urn:microsoft.com/office/officeart/2005/8/layout/orgChart1"/>
    <dgm:cxn modelId="{80783218-42A2-924E-BE3F-EDF30B1A4A05}" type="presParOf" srcId="{8DADE634-5C9E-D54E-8082-40F09998C102}" destId="{89F5459A-7EF4-B942-9332-60593BBB61B8}" srcOrd="1" destOrd="0" presId="urn:microsoft.com/office/officeart/2005/8/layout/orgChart1"/>
    <dgm:cxn modelId="{349D6F27-7498-D240-956B-DFF229B24AA3}" type="presParOf" srcId="{8DADE634-5C9E-D54E-8082-40F09998C102}" destId="{60F5A1E4-4D11-FB4C-AA8B-D400F4B641EA}" srcOrd="2" destOrd="0" presId="urn:microsoft.com/office/officeart/2005/8/layout/orgChart1"/>
    <dgm:cxn modelId="{E7E3624D-0A18-B14C-AF8F-7EF76F02254F}" type="presParOf" srcId="{8613D64E-9561-C141-9AA1-60BD0A25855F}" destId="{67DBE3B1-3EA4-3743-96BF-E5121C9D1E58}" srcOrd="4" destOrd="0" presId="urn:microsoft.com/office/officeart/2005/8/layout/orgChart1"/>
    <dgm:cxn modelId="{499A9291-B50E-A84C-8EC5-6B6DB4E18D35}" type="presParOf" srcId="{8613D64E-9561-C141-9AA1-60BD0A25855F}" destId="{DE9CDDDA-AD83-B744-9664-2D8D3B2BCD1E}" srcOrd="5" destOrd="0" presId="urn:microsoft.com/office/officeart/2005/8/layout/orgChart1"/>
    <dgm:cxn modelId="{FF1A6624-16B7-3045-A8DD-B9AB6884B858}" type="presParOf" srcId="{DE9CDDDA-AD83-B744-9664-2D8D3B2BCD1E}" destId="{570EE93F-A5BE-6946-B143-DFA8D65EE762}" srcOrd="0" destOrd="0" presId="urn:microsoft.com/office/officeart/2005/8/layout/orgChart1"/>
    <dgm:cxn modelId="{2C60FA4B-2A38-C94A-8711-54E134AED81B}" type="presParOf" srcId="{570EE93F-A5BE-6946-B143-DFA8D65EE762}" destId="{443F1702-96C4-C64C-8C81-4EA64E606DB6}" srcOrd="0" destOrd="0" presId="urn:microsoft.com/office/officeart/2005/8/layout/orgChart1"/>
    <dgm:cxn modelId="{15C1B114-6490-F841-800D-28BE33E3E6F1}" type="presParOf" srcId="{570EE93F-A5BE-6946-B143-DFA8D65EE762}" destId="{58A212F1-BD05-B149-A8D2-105241DF197A}" srcOrd="1" destOrd="0" presId="urn:microsoft.com/office/officeart/2005/8/layout/orgChart1"/>
    <dgm:cxn modelId="{1F42193C-4A29-FB44-BEAA-D7D7A4147BD4}" type="presParOf" srcId="{DE9CDDDA-AD83-B744-9664-2D8D3B2BCD1E}" destId="{6ADBCA93-ECB5-D54E-ACB8-9056F0067B26}" srcOrd="1" destOrd="0" presId="urn:microsoft.com/office/officeart/2005/8/layout/orgChart1"/>
    <dgm:cxn modelId="{EAD8669A-639A-DB49-B6EB-553DF0CAE8D0}" type="presParOf" srcId="{DE9CDDDA-AD83-B744-9664-2D8D3B2BCD1E}" destId="{E3A751B2-84D1-1B4B-81A0-B8E91039A0ED}" srcOrd="2" destOrd="0" presId="urn:microsoft.com/office/officeart/2005/8/layout/orgChart1"/>
    <dgm:cxn modelId="{262DCD39-4391-084D-B345-7B87D55841BA}" type="presParOf" srcId="{C305E449-3379-8A4B-8F30-4E78BEBBC03F}" destId="{A348D552-A0F5-4149-9220-7C766D4AEF8B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B8A7EBE-36C9-2649-BD8E-B88FBA0A4BE1}" type="doc">
      <dgm:prSet loTypeId="urn:microsoft.com/office/officeart/2005/8/layout/hierarchy1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0C0D48E5-9D2E-FA40-AA05-B5DD750B0FBE}">
      <dgm:prSet phldrT="[文本]"/>
      <dgm:spPr/>
      <dgm:t>
        <a:bodyPr/>
        <a:lstStyle/>
        <a:p>
          <a:r>
            <a:rPr lang="zh-CN" altLang="en-US" dirty="0" smtClean="0"/>
            <a:t>策略</a:t>
          </a:r>
          <a:r>
            <a:rPr lang="en-US" altLang="zh-CN" dirty="0" smtClean="0"/>
            <a:t>1</a:t>
          </a:r>
        </a:p>
        <a:p>
          <a:r>
            <a:rPr lang="zh-CN" altLang="en-US" dirty="0" smtClean="0"/>
            <a:t>新增团队客户数量</a:t>
          </a:r>
        </a:p>
      </dgm:t>
    </dgm:pt>
    <dgm:pt modelId="{9978B41C-6CBA-644D-8A71-8E27157D0614}" type="parTrans" cxnId="{1067C238-2A51-7140-BE96-E3C2C1070F3E}">
      <dgm:prSet/>
      <dgm:spPr/>
      <dgm:t>
        <a:bodyPr/>
        <a:lstStyle/>
        <a:p>
          <a:endParaRPr lang="zh-CN" altLang="en-US"/>
        </a:p>
      </dgm:t>
    </dgm:pt>
    <dgm:pt modelId="{211992D7-99BD-7A49-AEB0-F9D27326A822}" type="sibTrans" cxnId="{1067C238-2A51-7140-BE96-E3C2C1070F3E}">
      <dgm:prSet/>
      <dgm:spPr/>
      <dgm:t>
        <a:bodyPr/>
        <a:lstStyle/>
        <a:p>
          <a:endParaRPr lang="zh-CN" altLang="en-US"/>
        </a:p>
      </dgm:t>
    </dgm:pt>
    <dgm:pt modelId="{38EE6BAF-8BE1-0340-ABE4-4C28A6ECBE16}">
      <dgm:prSet phldrT="[文本]"/>
      <dgm:spPr/>
      <dgm:t>
        <a:bodyPr/>
        <a:lstStyle/>
        <a:p>
          <a:r>
            <a:rPr lang="zh-CN" altLang="en-US" dirty="0" smtClean="0"/>
            <a:t>策略</a:t>
          </a:r>
          <a:r>
            <a:rPr lang="en-US" altLang="zh-CN" dirty="0" smtClean="0"/>
            <a:t>2</a:t>
          </a:r>
          <a:endParaRPr lang="zh-CN" altLang="en-US" dirty="0" smtClean="0"/>
        </a:p>
        <a:p>
          <a:r>
            <a:rPr lang="zh-CN" altLang="en-US" dirty="0" smtClean="0"/>
            <a:t>提升客单价</a:t>
          </a:r>
          <a:endParaRPr lang="zh-CN" altLang="en-US" dirty="0"/>
        </a:p>
      </dgm:t>
    </dgm:pt>
    <dgm:pt modelId="{42532D7E-555D-A24F-8905-7AB6E7E06206}" type="parTrans" cxnId="{DEE8185C-F6AB-7F4E-8254-BF910EC35D67}">
      <dgm:prSet/>
      <dgm:spPr/>
      <dgm:t>
        <a:bodyPr/>
        <a:lstStyle/>
        <a:p>
          <a:endParaRPr lang="zh-CN" altLang="en-US"/>
        </a:p>
      </dgm:t>
    </dgm:pt>
    <dgm:pt modelId="{9222598F-27FE-DA47-8130-270EBD4C5B47}" type="sibTrans" cxnId="{DEE8185C-F6AB-7F4E-8254-BF910EC35D67}">
      <dgm:prSet/>
      <dgm:spPr/>
      <dgm:t>
        <a:bodyPr/>
        <a:lstStyle/>
        <a:p>
          <a:endParaRPr lang="zh-CN" altLang="en-US"/>
        </a:p>
      </dgm:t>
    </dgm:pt>
    <dgm:pt modelId="{DEF80460-256E-2C48-AD23-4F84E5707D8A}">
      <dgm:prSet phldrT="[文本]"/>
      <dgm:spPr/>
      <dgm:t>
        <a:bodyPr/>
        <a:lstStyle/>
        <a:p>
          <a:r>
            <a:rPr lang="en-US" altLang="zh-CN" dirty="0" smtClean="0"/>
            <a:t>KR3:</a:t>
          </a:r>
          <a:r>
            <a:rPr lang="zh-CN" altLang="en-US" dirty="0" smtClean="0"/>
            <a:t>将每单平均成交额比去年提高</a:t>
          </a:r>
          <a:r>
            <a:rPr lang="en-US" altLang="zh-CN" dirty="0" smtClean="0"/>
            <a:t>15%</a:t>
          </a:r>
          <a:endParaRPr lang="zh-CN" altLang="en-US" dirty="0"/>
        </a:p>
      </dgm:t>
    </dgm:pt>
    <dgm:pt modelId="{127ABAF6-50EC-8841-8067-8B1A9D75357A}" type="parTrans" cxnId="{E5049F74-268C-664F-9B7E-D75B7F521B6B}">
      <dgm:prSet/>
      <dgm:spPr/>
      <dgm:t>
        <a:bodyPr/>
        <a:lstStyle/>
        <a:p>
          <a:endParaRPr lang="zh-CN" altLang="en-US"/>
        </a:p>
      </dgm:t>
    </dgm:pt>
    <dgm:pt modelId="{4F388992-4B3A-734C-8E9F-23A2431C877B}" type="sibTrans" cxnId="{E5049F74-268C-664F-9B7E-D75B7F521B6B}">
      <dgm:prSet/>
      <dgm:spPr/>
      <dgm:t>
        <a:bodyPr/>
        <a:lstStyle/>
        <a:p>
          <a:endParaRPr lang="zh-CN" altLang="en-US"/>
        </a:p>
      </dgm:t>
    </dgm:pt>
    <dgm:pt modelId="{6C609D66-B614-5747-89BA-78FCDAF80396}">
      <dgm:prSet phldrT="[文本]"/>
      <dgm:spPr/>
      <dgm:t>
        <a:bodyPr/>
        <a:lstStyle/>
        <a:p>
          <a:r>
            <a:rPr lang="en-US" altLang="zh-CN" dirty="0" smtClean="0"/>
            <a:t>KR2:</a:t>
          </a:r>
          <a:r>
            <a:rPr lang="zh-CN" altLang="en-US" dirty="0" smtClean="0"/>
            <a:t>全年新增</a:t>
          </a:r>
          <a:r>
            <a:rPr lang="en-US" altLang="zh-CN" dirty="0" smtClean="0"/>
            <a:t>50</a:t>
          </a:r>
          <a:r>
            <a:rPr lang="zh-CN" altLang="en-US" dirty="0" smtClean="0"/>
            <a:t>个团体客户</a:t>
          </a:r>
        </a:p>
      </dgm:t>
    </dgm:pt>
    <dgm:pt modelId="{EA430B92-DE24-5B44-85CA-378D2FDEE201}" type="parTrans" cxnId="{E4B46C17-D1A0-3344-A059-E92FC00105B5}">
      <dgm:prSet/>
      <dgm:spPr/>
      <dgm:t>
        <a:bodyPr/>
        <a:lstStyle/>
        <a:p>
          <a:endParaRPr lang="zh-CN" altLang="en-US"/>
        </a:p>
      </dgm:t>
    </dgm:pt>
    <dgm:pt modelId="{9C39691E-23FC-B24B-B839-07F5C58A55B6}" type="sibTrans" cxnId="{E4B46C17-D1A0-3344-A059-E92FC00105B5}">
      <dgm:prSet/>
      <dgm:spPr/>
      <dgm:t>
        <a:bodyPr/>
        <a:lstStyle/>
        <a:p>
          <a:endParaRPr lang="zh-CN" altLang="en-US"/>
        </a:p>
      </dgm:t>
    </dgm:pt>
    <dgm:pt modelId="{65F4E0EA-0D51-0A4D-AF7B-1F24502AC360}">
      <dgm:prSet phldrT="[文本]"/>
      <dgm:spPr/>
      <dgm:t>
        <a:bodyPr/>
        <a:lstStyle/>
        <a:p>
          <a:pPr algn="l"/>
          <a:r>
            <a:rPr lang="en-US" altLang="zh-CN" dirty="0" smtClean="0"/>
            <a:t>O</a:t>
          </a:r>
          <a:r>
            <a:rPr lang="zh-CN" altLang="en-US" dirty="0" smtClean="0"/>
            <a:t>：显著提升今年的团队活动收入</a:t>
          </a:r>
        </a:p>
        <a:p>
          <a:pPr algn="l"/>
          <a:r>
            <a:rPr lang="en-US" altLang="zh-CN" dirty="0" smtClean="0"/>
            <a:t>KR1</a:t>
          </a:r>
          <a:r>
            <a:rPr lang="zh-CN" altLang="en-US" dirty="0" smtClean="0"/>
            <a:t>：团队活动年收入比去年提升</a:t>
          </a:r>
          <a:r>
            <a:rPr lang="en-US" altLang="zh-CN" dirty="0" smtClean="0"/>
            <a:t>50%</a:t>
          </a:r>
          <a:r>
            <a:rPr lang="zh-CN" altLang="en-US" dirty="0" smtClean="0"/>
            <a:t>，达到</a:t>
          </a:r>
          <a:r>
            <a:rPr lang="en-US" altLang="zh-CN" dirty="0" smtClean="0"/>
            <a:t>3000</a:t>
          </a:r>
          <a:r>
            <a:rPr lang="zh-CN" altLang="en-US" dirty="0" smtClean="0"/>
            <a:t>万美元</a:t>
          </a:r>
        </a:p>
      </dgm:t>
    </dgm:pt>
    <dgm:pt modelId="{467B5288-DC2F-9B44-AB4B-E6727F468BEC}" type="sibTrans" cxnId="{A87FAF65-A97D-3049-BE18-41BF77A2FF0D}">
      <dgm:prSet/>
      <dgm:spPr/>
      <dgm:t>
        <a:bodyPr/>
        <a:lstStyle/>
        <a:p>
          <a:endParaRPr lang="zh-CN" altLang="en-US"/>
        </a:p>
      </dgm:t>
    </dgm:pt>
    <dgm:pt modelId="{07630568-8659-634A-8DFE-5223C63B3CA9}" type="parTrans" cxnId="{A87FAF65-A97D-3049-BE18-41BF77A2FF0D}">
      <dgm:prSet/>
      <dgm:spPr/>
      <dgm:t>
        <a:bodyPr/>
        <a:lstStyle/>
        <a:p>
          <a:endParaRPr lang="zh-CN" altLang="en-US"/>
        </a:p>
      </dgm:t>
    </dgm:pt>
    <dgm:pt modelId="{7E829342-D01C-704E-99A5-9DE8088F8B32}" type="pres">
      <dgm:prSet presAssocID="{1B8A7EBE-36C9-2649-BD8E-B88FBA0A4BE1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zh-CN" altLang="en-US"/>
        </a:p>
      </dgm:t>
    </dgm:pt>
    <dgm:pt modelId="{EB4DEC87-A730-5B4A-962E-44AC88ACF800}" type="pres">
      <dgm:prSet presAssocID="{65F4E0EA-0D51-0A4D-AF7B-1F24502AC360}" presName="hierRoot1" presStyleCnt="0"/>
      <dgm:spPr/>
    </dgm:pt>
    <dgm:pt modelId="{A10589B0-AC4D-F640-A788-4F3138D0F184}" type="pres">
      <dgm:prSet presAssocID="{65F4E0EA-0D51-0A4D-AF7B-1F24502AC360}" presName="composite" presStyleCnt="0"/>
      <dgm:spPr/>
    </dgm:pt>
    <dgm:pt modelId="{5CB6E6CA-7619-5743-A9D8-18E2CDAC1996}" type="pres">
      <dgm:prSet presAssocID="{65F4E0EA-0D51-0A4D-AF7B-1F24502AC360}" presName="background" presStyleLbl="node0" presStyleIdx="0" presStyleCnt="1"/>
      <dgm:spPr/>
    </dgm:pt>
    <dgm:pt modelId="{F5C7DC03-A269-A744-B45C-D6E00D011183}" type="pres">
      <dgm:prSet presAssocID="{65F4E0EA-0D51-0A4D-AF7B-1F24502AC360}" presName="text" presStyleLbl="fgAcc0" presStyleIdx="0" presStyleCnt="1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3CB4FB69-FAD4-7845-A0AD-82B52C905E78}" type="pres">
      <dgm:prSet presAssocID="{65F4E0EA-0D51-0A4D-AF7B-1F24502AC360}" presName="hierChild2" presStyleCnt="0"/>
      <dgm:spPr/>
    </dgm:pt>
    <dgm:pt modelId="{5E03ED3A-2747-1045-BCBA-BF0C8B13CF36}" type="pres">
      <dgm:prSet presAssocID="{9978B41C-6CBA-644D-8A71-8E27157D0614}" presName="Name10" presStyleLbl="parChTrans1D2" presStyleIdx="0" presStyleCnt="2"/>
      <dgm:spPr/>
      <dgm:t>
        <a:bodyPr/>
        <a:lstStyle/>
        <a:p>
          <a:endParaRPr lang="zh-CN" altLang="en-US"/>
        </a:p>
      </dgm:t>
    </dgm:pt>
    <dgm:pt modelId="{859622EE-7470-DA44-BF6D-5DF4A059CBEB}" type="pres">
      <dgm:prSet presAssocID="{0C0D48E5-9D2E-FA40-AA05-B5DD750B0FBE}" presName="hierRoot2" presStyleCnt="0"/>
      <dgm:spPr/>
    </dgm:pt>
    <dgm:pt modelId="{371C3383-212B-B041-8FEF-F1B7A93EF919}" type="pres">
      <dgm:prSet presAssocID="{0C0D48E5-9D2E-FA40-AA05-B5DD750B0FBE}" presName="composite2" presStyleCnt="0"/>
      <dgm:spPr/>
    </dgm:pt>
    <dgm:pt modelId="{ADDE1B6C-5F04-A342-B4D8-195381EFA6D4}" type="pres">
      <dgm:prSet presAssocID="{0C0D48E5-9D2E-FA40-AA05-B5DD750B0FBE}" presName="background2" presStyleLbl="node2" presStyleIdx="0" presStyleCnt="2"/>
      <dgm:spPr/>
    </dgm:pt>
    <dgm:pt modelId="{ADDD85BD-FDB7-FC4D-B4F4-B05BE1E81580}" type="pres">
      <dgm:prSet presAssocID="{0C0D48E5-9D2E-FA40-AA05-B5DD750B0FBE}" presName="text2" presStyleLbl="fgAcc2" presStyleIdx="0" presStyleCnt="2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A2EBF4A2-E4A7-B641-AA88-37F03A7F6EC9}" type="pres">
      <dgm:prSet presAssocID="{0C0D48E5-9D2E-FA40-AA05-B5DD750B0FBE}" presName="hierChild3" presStyleCnt="0"/>
      <dgm:spPr/>
    </dgm:pt>
    <dgm:pt modelId="{75773B43-76CE-224A-90BD-DB9E76C7FDDE}" type="pres">
      <dgm:prSet presAssocID="{EA430B92-DE24-5B44-85CA-378D2FDEE201}" presName="Name17" presStyleLbl="parChTrans1D3" presStyleIdx="0" presStyleCnt="2"/>
      <dgm:spPr/>
      <dgm:t>
        <a:bodyPr/>
        <a:lstStyle/>
        <a:p>
          <a:endParaRPr lang="zh-CN" altLang="en-US"/>
        </a:p>
      </dgm:t>
    </dgm:pt>
    <dgm:pt modelId="{CCEE36E5-3E29-5E41-A8C2-665A12E0851B}" type="pres">
      <dgm:prSet presAssocID="{6C609D66-B614-5747-89BA-78FCDAF80396}" presName="hierRoot3" presStyleCnt="0"/>
      <dgm:spPr/>
    </dgm:pt>
    <dgm:pt modelId="{00FA7817-1B58-184F-A438-5EB0C6C70564}" type="pres">
      <dgm:prSet presAssocID="{6C609D66-B614-5747-89BA-78FCDAF80396}" presName="composite3" presStyleCnt="0"/>
      <dgm:spPr/>
    </dgm:pt>
    <dgm:pt modelId="{52F15D47-25A6-CA40-9C46-6170E2C185BB}" type="pres">
      <dgm:prSet presAssocID="{6C609D66-B614-5747-89BA-78FCDAF80396}" presName="background3" presStyleLbl="node3" presStyleIdx="0" presStyleCnt="2"/>
      <dgm:spPr/>
    </dgm:pt>
    <dgm:pt modelId="{06199CC0-AFE8-BE45-90D3-9DA3CEF2E318}" type="pres">
      <dgm:prSet presAssocID="{6C609D66-B614-5747-89BA-78FCDAF80396}" presName="text3" presStyleLbl="fgAcc3" presStyleIdx="0" presStyleCnt="2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BD350F1E-2CAC-B744-B4C5-C5E9A432DEFC}" type="pres">
      <dgm:prSet presAssocID="{6C609D66-B614-5747-89BA-78FCDAF80396}" presName="hierChild4" presStyleCnt="0"/>
      <dgm:spPr/>
    </dgm:pt>
    <dgm:pt modelId="{E8DF3526-155F-1B4B-A36B-37F9867E4447}" type="pres">
      <dgm:prSet presAssocID="{42532D7E-555D-A24F-8905-7AB6E7E06206}" presName="Name10" presStyleLbl="parChTrans1D2" presStyleIdx="1" presStyleCnt="2"/>
      <dgm:spPr/>
      <dgm:t>
        <a:bodyPr/>
        <a:lstStyle/>
        <a:p>
          <a:endParaRPr lang="zh-CN" altLang="en-US"/>
        </a:p>
      </dgm:t>
    </dgm:pt>
    <dgm:pt modelId="{51A570D4-9F98-8641-8FC6-BB361B44D38F}" type="pres">
      <dgm:prSet presAssocID="{38EE6BAF-8BE1-0340-ABE4-4C28A6ECBE16}" presName="hierRoot2" presStyleCnt="0"/>
      <dgm:spPr/>
    </dgm:pt>
    <dgm:pt modelId="{4D0F57A9-2AEF-234A-8E0F-3A6F9018F6F6}" type="pres">
      <dgm:prSet presAssocID="{38EE6BAF-8BE1-0340-ABE4-4C28A6ECBE16}" presName="composite2" presStyleCnt="0"/>
      <dgm:spPr/>
    </dgm:pt>
    <dgm:pt modelId="{58293A09-A60B-6A40-9C0F-A57DDCA9D22D}" type="pres">
      <dgm:prSet presAssocID="{38EE6BAF-8BE1-0340-ABE4-4C28A6ECBE16}" presName="background2" presStyleLbl="node2" presStyleIdx="1" presStyleCnt="2"/>
      <dgm:spPr/>
    </dgm:pt>
    <dgm:pt modelId="{27067B9D-DF0B-B740-A14E-9229AF6DA90A}" type="pres">
      <dgm:prSet presAssocID="{38EE6BAF-8BE1-0340-ABE4-4C28A6ECBE16}" presName="text2" presStyleLbl="fgAcc2" presStyleIdx="1" presStyleCnt="2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C41F6E84-8B34-7243-901F-4E75D1700174}" type="pres">
      <dgm:prSet presAssocID="{38EE6BAF-8BE1-0340-ABE4-4C28A6ECBE16}" presName="hierChild3" presStyleCnt="0"/>
      <dgm:spPr/>
    </dgm:pt>
    <dgm:pt modelId="{7E494444-3282-9449-809F-F23C66F61E96}" type="pres">
      <dgm:prSet presAssocID="{127ABAF6-50EC-8841-8067-8B1A9D75357A}" presName="Name17" presStyleLbl="parChTrans1D3" presStyleIdx="1" presStyleCnt="2"/>
      <dgm:spPr/>
      <dgm:t>
        <a:bodyPr/>
        <a:lstStyle/>
        <a:p>
          <a:endParaRPr lang="zh-CN" altLang="en-US"/>
        </a:p>
      </dgm:t>
    </dgm:pt>
    <dgm:pt modelId="{F15FD211-EDED-534E-AF26-7E01BC600A67}" type="pres">
      <dgm:prSet presAssocID="{DEF80460-256E-2C48-AD23-4F84E5707D8A}" presName="hierRoot3" presStyleCnt="0"/>
      <dgm:spPr/>
    </dgm:pt>
    <dgm:pt modelId="{98A16DE7-174D-8249-B917-A0344CC629D3}" type="pres">
      <dgm:prSet presAssocID="{DEF80460-256E-2C48-AD23-4F84E5707D8A}" presName="composite3" presStyleCnt="0"/>
      <dgm:spPr/>
    </dgm:pt>
    <dgm:pt modelId="{3DE164F7-BF35-4548-AD53-305EE1D135AC}" type="pres">
      <dgm:prSet presAssocID="{DEF80460-256E-2C48-AD23-4F84E5707D8A}" presName="background3" presStyleLbl="node3" presStyleIdx="1" presStyleCnt="2"/>
      <dgm:spPr/>
    </dgm:pt>
    <dgm:pt modelId="{D695FCFA-31A9-6E45-AC23-FFBD7110BF39}" type="pres">
      <dgm:prSet presAssocID="{DEF80460-256E-2C48-AD23-4F84E5707D8A}" presName="text3" presStyleLbl="fgAcc3" presStyleIdx="1" presStyleCnt="2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826D5615-F26D-014C-9839-2C076235C187}" type="pres">
      <dgm:prSet presAssocID="{DEF80460-256E-2C48-AD23-4F84E5707D8A}" presName="hierChild4" presStyleCnt="0"/>
      <dgm:spPr/>
    </dgm:pt>
  </dgm:ptLst>
  <dgm:cxnLst>
    <dgm:cxn modelId="{FFE9CE01-2359-CA46-944A-8A5407323791}" type="presOf" srcId="{EA430B92-DE24-5B44-85CA-378D2FDEE201}" destId="{75773B43-76CE-224A-90BD-DB9E76C7FDDE}" srcOrd="0" destOrd="0" presId="urn:microsoft.com/office/officeart/2005/8/layout/hierarchy1"/>
    <dgm:cxn modelId="{0258724C-6637-9F4D-A5DC-D751CE0ACEA1}" type="presOf" srcId="{65F4E0EA-0D51-0A4D-AF7B-1F24502AC360}" destId="{F5C7DC03-A269-A744-B45C-D6E00D011183}" srcOrd="0" destOrd="0" presId="urn:microsoft.com/office/officeart/2005/8/layout/hierarchy1"/>
    <dgm:cxn modelId="{1067C238-2A51-7140-BE96-E3C2C1070F3E}" srcId="{65F4E0EA-0D51-0A4D-AF7B-1F24502AC360}" destId="{0C0D48E5-9D2E-FA40-AA05-B5DD750B0FBE}" srcOrd="0" destOrd="0" parTransId="{9978B41C-6CBA-644D-8A71-8E27157D0614}" sibTransId="{211992D7-99BD-7A49-AEB0-F9D27326A822}"/>
    <dgm:cxn modelId="{E4B46C17-D1A0-3344-A059-E92FC00105B5}" srcId="{0C0D48E5-9D2E-FA40-AA05-B5DD750B0FBE}" destId="{6C609D66-B614-5747-89BA-78FCDAF80396}" srcOrd="0" destOrd="0" parTransId="{EA430B92-DE24-5B44-85CA-378D2FDEE201}" sibTransId="{9C39691E-23FC-B24B-B839-07F5C58A55B6}"/>
    <dgm:cxn modelId="{E5049F74-268C-664F-9B7E-D75B7F521B6B}" srcId="{38EE6BAF-8BE1-0340-ABE4-4C28A6ECBE16}" destId="{DEF80460-256E-2C48-AD23-4F84E5707D8A}" srcOrd="0" destOrd="0" parTransId="{127ABAF6-50EC-8841-8067-8B1A9D75357A}" sibTransId="{4F388992-4B3A-734C-8E9F-23A2431C877B}"/>
    <dgm:cxn modelId="{1650A3CA-8157-8643-94D8-95EF878E92EB}" type="presOf" srcId="{1B8A7EBE-36C9-2649-BD8E-B88FBA0A4BE1}" destId="{7E829342-D01C-704E-99A5-9DE8088F8B32}" srcOrd="0" destOrd="0" presId="urn:microsoft.com/office/officeart/2005/8/layout/hierarchy1"/>
    <dgm:cxn modelId="{2B2A6A34-6F53-0E4C-91B8-1EFA0D842484}" type="presOf" srcId="{38EE6BAF-8BE1-0340-ABE4-4C28A6ECBE16}" destId="{27067B9D-DF0B-B740-A14E-9229AF6DA90A}" srcOrd="0" destOrd="0" presId="urn:microsoft.com/office/officeart/2005/8/layout/hierarchy1"/>
    <dgm:cxn modelId="{0695EC0A-A589-4B48-A696-28C57B0A2AEB}" type="presOf" srcId="{0C0D48E5-9D2E-FA40-AA05-B5DD750B0FBE}" destId="{ADDD85BD-FDB7-FC4D-B4F4-B05BE1E81580}" srcOrd="0" destOrd="0" presId="urn:microsoft.com/office/officeart/2005/8/layout/hierarchy1"/>
    <dgm:cxn modelId="{532970F9-09DE-8340-8E17-71EB6B9D32F6}" type="presOf" srcId="{DEF80460-256E-2C48-AD23-4F84E5707D8A}" destId="{D695FCFA-31A9-6E45-AC23-FFBD7110BF39}" srcOrd="0" destOrd="0" presId="urn:microsoft.com/office/officeart/2005/8/layout/hierarchy1"/>
    <dgm:cxn modelId="{DEE8185C-F6AB-7F4E-8254-BF910EC35D67}" srcId="{65F4E0EA-0D51-0A4D-AF7B-1F24502AC360}" destId="{38EE6BAF-8BE1-0340-ABE4-4C28A6ECBE16}" srcOrd="1" destOrd="0" parTransId="{42532D7E-555D-A24F-8905-7AB6E7E06206}" sibTransId="{9222598F-27FE-DA47-8130-270EBD4C5B47}"/>
    <dgm:cxn modelId="{CF8229CE-3BB3-4848-BEFE-FB472C936F74}" type="presOf" srcId="{42532D7E-555D-A24F-8905-7AB6E7E06206}" destId="{E8DF3526-155F-1B4B-A36B-37F9867E4447}" srcOrd="0" destOrd="0" presId="urn:microsoft.com/office/officeart/2005/8/layout/hierarchy1"/>
    <dgm:cxn modelId="{B9DFA500-1946-7F49-9A97-0D9CF9CD98D7}" type="presOf" srcId="{9978B41C-6CBA-644D-8A71-8E27157D0614}" destId="{5E03ED3A-2747-1045-BCBA-BF0C8B13CF36}" srcOrd="0" destOrd="0" presId="urn:microsoft.com/office/officeart/2005/8/layout/hierarchy1"/>
    <dgm:cxn modelId="{A87FAF65-A97D-3049-BE18-41BF77A2FF0D}" srcId="{1B8A7EBE-36C9-2649-BD8E-B88FBA0A4BE1}" destId="{65F4E0EA-0D51-0A4D-AF7B-1F24502AC360}" srcOrd="0" destOrd="0" parTransId="{07630568-8659-634A-8DFE-5223C63B3CA9}" sibTransId="{467B5288-DC2F-9B44-AB4B-E6727F468BEC}"/>
    <dgm:cxn modelId="{C082FE42-6E64-8F43-AFF5-055DF3C36776}" type="presOf" srcId="{6C609D66-B614-5747-89BA-78FCDAF80396}" destId="{06199CC0-AFE8-BE45-90D3-9DA3CEF2E318}" srcOrd="0" destOrd="0" presId="urn:microsoft.com/office/officeart/2005/8/layout/hierarchy1"/>
    <dgm:cxn modelId="{BF1DC40E-BF11-EC44-A0BE-023F980AF944}" type="presOf" srcId="{127ABAF6-50EC-8841-8067-8B1A9D75357A}" destId="{7E494444-3282-9449-809F-F23C66F61E96}" srcOrd="0" destOrd="0" presId="urn:microsoft.com/office/officeart/2005/8/layout/hierarchy1"/>
    <dgm:cxn modelId="{6B566A48-9B1D-E545-8FF3-B8ABF60F1FE0}" type="presParOf" srcId="{7E829342-D01C-704E-99A5-9DE8088F8B32}" destId="{EB4DEC87-A730-5B4A-962E-44AC88ACF800}" srcOrd="0" destOrd="0" presId="urn:microsoft.com/office/officeart/2005/8/layout/hierarchy1"/>
    <dgm:cxn modelId="{C9AA2437-5FE0-084A-9021-96F010BD383B}" type="presParOf" srcId="{EB4DEC87-A730-5B4A-962E-44AC88ACF800}" destId="{A10589B0-AC4D-F640-A788-4F3138D0F184}" srcOrd="0" destOrd="0" presId="urn:microsoft.com/office/officeart/2005/8/layout/hierarchy1"/>
    <dgm:cxn modelId="{945C090A-AEA9-DF42-9576-95B42BB36CFE}" type="presParOf" srcId="{A10589B0-AC4D-F640-A788-4F3138D0F184}" destId="{5CB6E6CA-7619-5743-A9D8-18E2CDAC1996}" srcOrd="0" destOrd="0" presId="urn:microsoft.com/office/officeart/2005/8/layout/hierarchy1"/>
    <dgm:cxn modelId="{973A1333-69D2-2049-845D-09205FE39D8C}" type="presParOf" srcId="{A10589B0-AC4D-F640-A788-4F3138D0F184}" destId="{F5C7DC03-A269-A744-B45C-D6E00D011183}" srcOrd="1" destOrd="0" presId="urn:microsoft.com/office/officeart/2005/8/layout/hierarchy1"/>
    <dgm:cxn modelId="{B357EB6D-39CB-C042-85B2-5834146C52CD}" type="presParOf" srcId="{EB4DEC87-A730-5B4A-962E-44AC88ACF800}" destId="{3CB4FB69-FAD4-7845-A0AD-82B52C905E78}" srcOrd="1" destOrd="0" presId="urn:microsoft.com/office/officeart/2005/8/layout/hierarchy1"/>
    <dgm:cxn modelId="{44E72766-F4BD-A840-9F59-B423E000C3F3}" type="presParOf" srcId="{3CB4FB69-FAD4-7845-A0AD-82B52C905E78}" destId="{5E03ED3A-2747-1045-BCBA-BF0C8B13CF36}" srcOrd="0" destOrd="0" presId="urn:microsoft.com/office/officeart/2005/8/layout/hierarchy1"/>
    <dgm:cxn modelId="{B71150E9-2E6E-AE43-B2E4-97A251B5220A}" type="presParOf" srcId="{3CB4FB69-FAD4-7845-A0AD-82B52C905E78}" destId="{859622EE-7470-DA44-BF6D-5DF4A059CBEB}" srcOrd="1" destOrd="0" presId="urn:microsoft.com/office/officeart/2005/8/layout/hierarchy1"/>
    <dgm:cxn modelId="{7E255171-CCC6-4442-97E2-1D29527B50EC}" type="presParOf" srcId="{859622EE-7470-DA44-BF6D-5DF4A059CBEB}" destId="{371C3383-212B-B041-8FEF-F1B7A93EF919}" srcOrd="0" destOrd="0" presId="urn:microsoft.com/office/officeart/2005/8/layout/hierarchy1"/>
    <dgm:cxn modelId="{8752BAB4-815B-9246-973A-76B7109A59FD}" type="presParOf" srcId="{371C3383-212B-B041-8FEF-F1B7A93EF919}" destId="{ADDE1B6C-5F04-A342-B4D8-195381EFA6D4}" srcOrd="0" destOrd="0" presId="urn:microsoft.com/office/officeart/2005/8/layout/hierarchy1"/>
    <dgm:cxn modelId="{342FF56A-8794-D44D-B9AB-8E3CD955D5DA}" type="presParOf" srcId="{371C3383-212B-B041-8FEF-F1B7A93EF919}" destId="{ADDD85BD-FDB7-FC4D-B4F4-B05BE1E81580}" srcOrd="1" destOrd="0" presId="urn:microsoft.com/office/officeart/2005/8/layout/hierarchy1"/>
    <dgm:cxn modelId="{13E1EF3E-4FD6-5149-B4A6-99B50C99E909}" type="presParOf" srcId="{859622EE-7470-DA44-BF6D-5DF4A059CBEB}" destId="{A2EBF4A2-E4A7-B641-AA88-37F03A7F6EC9}" srcOrd="1" destOrd="0" presId="urn:microsoft.com/office/officeart/2005/8/layout/hierarchy1"/>
    <dgm:cxn modelId="{817CCDE6-6AE4-B046-B530-9CA725D1F3FF}" type="presParOf" srcId="{A2EBF4A2-E4A7-B641-AA88-37F03A7F6EC9}" destId="{75773B43-76CE-224A-90BD-DB9E76C7FDDE}" srcOrd="0" destOrd="0" presId="urn:microsoft.com/office/officeart/2005/8/layout/hierarchy1"/>
    <dgm:cxn modelId="{FB0F790B-C35F-5043-A29E-BB1F41B15ED6}" type="presParOf" srcId="{A2EBF4A2-E4A7-B641-AA88-37F03A7F6EC9}" destId="{CCEE36E5-3E29-5E41-A8C2-665A12E0851B}" srcOrd="1" destOrd="0" presId="urn:microsoft.com/office/officeart/2005/8/layout/hierarchy1"/>
    <dgm:cxn modelId="{3D5EC937-85FB-EE4B-B04A-334C42B3EDE7}" type="presParOf" srcId="{CCEE36E5-3E29-5E41-A8C2-665A12E0851B}" destId="{00FA7817-1B58-184F-A438-5EB0C6C70564}" srcOrd="0" destOrd="0" presId="urn:microsoft.com/office/officeart/2005/8/layout/hierarchy1"/>
    <dgm:cxn modelId="{496E0AB2-1EE3-F049-A88C-A0CDF55CD920}" type="presParOf" srcId="{00FA7817-1B58-184F-A438-5EB0C6C70564}" destId="{52F15D47-25A6-CA40-9C46-6170E2C185BB}" srcOrd="0" destOrd="0" presId="urn:microsoft.com/office/officeart/2005/8/layout/hierarchy1"/>
    <dgm:cxn modelId="{3D7FBB6C-AE0E-1F48-9D83-C9A2BF72E3EE}" type="presParOf" srcId="{00FA7817-1B58-184F-A438-5EB0C6C70564}" destId="{06199CC0-AFE8-BE45-90D3-9DA3CEF2E318}" srcOrd="1" destOrd="0" presId="urn:microsoft.com/office/officeart/2005/8/layout/hierarchy1"/>
    <dgm:cxn modelId="{6274F218-0D1F-F940-BF1A-CE35F9FC2C31}" type="presParOf" srcId="{CCEE36E5-3E29-5E41-A8C2-665A12E0851B}" destId="{BD350F1E-2CAC-B744-B4C5-C5E9A432DEFC}" srcOrd="1" destOrd="0" presId="urn:microsoft.com/office/officeart/2005/8/layout/hierarchy1"/>
    <dgm:cxn modelId="{BC4795F8-9399-1942-8B8A-06B08F162720}" type="presParOf" srcId="{3CB4FB69-FAD4-7845-A0AD-82B52C905E78}" destId="{E8DF3526-155F-1B4B-A36B-37F9867E4447}" srcOrd="2" destOrd="0" presId="urn:microsoft.com/office/officeart/2005/8/layout/hierarchy1"/>
    <dgm:cxn modelId="{9F716561-E771-9A40-AA76-EE3F15B872BC}" type="presParOf" srcId="{3CB4FB69-FAD4-7845-A0AD-82B52C905E78}" destId="{51A570D4-9F98-8641-8FC6-BB361B44D38F}" srcOrd="3" destOrd="0" presId="urn:microsoft.com/office/officeart/2005/8/layout/hierarchy1"/>
    <dgm:cxn modelId="{E109A69E-E05D-9E4D-B5A1-5E9DF7D557CD}" type="presParOf" srcId="{51A570D4-9F98-8641-8FC6-BB361B44D38F}" destId="{4D0F57A9-2AEF-234A-8E0F-3A6F9018F6F6}" srcOrd="0" destOrd="0" presId="urn:microsoft.com/office/officeart/2005/8/layout/hierarchy1"/>
    <dgm:cxn modelId="{96063E23-DAF3-C345-A101-B1018E8A009F}" type="presParOf" srcId="{4D0F57A9-2AEF-234A-8E0F-3A6F9018F6F6}" destId="{58293A09-A60B-6A40-9C0F-A57DDCA9D22D}" srcOrd="0" destOrd="0" presId="urn:microsoft.com/office/officeart/2005/8/layout/hierarchy1"/>
    <dgm:cxn modelId="{9B0B2122-A0AE-C548-AD1E-3C3BDA5E306A}" type="presParOf" srcId="{4D0F57A9-2AEF-234A-8E0F-3A6F9018F6F6}" destId="{27067B9D-DF0B-B740-A14E-9229AF6DA90A}" srcOrd="1" destOrd="0" presId="urn:microsoft.com/office/officeart/2005/8/layout/hierarchy1"/>
    <dgm:cxn modelId="{272554D8-7415-E146-A7B0-C798EF23C465}" type="presParOf" srcId="{51A570D4-9F98-8641-8FC6-BB361B44D38F}" destId="{C41F6E84-8B34-7243-901F-4E75D1700174}" srcOrd="1" destOrd="0" presId="urn:microsoft.com/office/officeart/2005/8/layout/hierarchy1"/>
    <dgm:cxn modelId="{E6B59068-1CF0-F847-A03F-90686E15B3C6}" type="presParOf" srcId="{C41F6E84-8B34-7243-901F-4E75D1700174}" destId="{7E494444-3282-9449-809F-F23C66F61E96}" srcOrd="0" destOrd="0" presId="urn:microsoft.com/office/officeart/2005/8/layout/hierarchy1"/>
    <dgm:cxn modelId="{224F0A2B-49F8-E040-85AF-849480A1B109}" type="presParOf" srcId="{C41F6E84-8B34-7243-901F-4E75D1700174}" destId="{F15FD211-EDED-534E-AF26-7E01BC600A67}" srcOrd="1" destOrd="0" presId="urn:microsoft.com/office/officeart/2005/8/layout/hierarchy1"/>
    <dgm:cxn modelId="{FD1446C7-55EE-8F4A-90DD-BA6FC14D6055}" type="presParOf" srcId="{F15FD211-EDED-534E-AF26-7E01BC600A67}" destId="{98A16DE7-174D-8249-B917-A0344CC629D3}" srcOrd="0" destOrd="0" presId="urn:microsoft.com/office/officeart/2005/8/layout/hierarchy1"/>
    <dgm:cxn modelId="{FB59DF3B-83A4-054A-B3C8-83879FE889DB}" type="presParOf" srcId="{98A16DE7-174D-8249-B917-A0344CC629D3}" destId="{3DE164F7-BF35-4548-AD53-305EE1D135AC}" srcOrd="0" destOrd="0" presId="urn:microsoft.com/office/officeart/2005/8/layout/hierarchy1"/>
    <dgm:cxn modelId="{16A4CF96-2537-6B40-9E97-D7D5B01E9412}" type="presParOf" srcId="{98A16DE7-174D-8249-B917-A0344CC629D3}" destId="{D695FCFA-31A9-6E45-AC23-FFBD7110BF39}" srcOrd="1" destOrd="0" presId="urn:microsoft.com/office/officeart/2005/8/layout/hierarchy1"/>
    <dgm:cxn modelId="{41EF078D-36EC-A049-9DF6-21E465DF7E7D}" type="presParOf" srcId="{F15FD211-EDED-534E-AF26-7E01BC600A67}" destId="{826D5615-F26D-014C-9839-2C076235C187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1B8A7EBE-36C9-2649-BD8E-B88FBA0A4BE1}" type="doc">
      <dgm:prSet loTypeId="urn:microsoft.com/office/officeart/2005/8/layout/hierarchy1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0C0D48E5-9D2E-FA40-AA05-B5DD750B0FBE}">
      <dgm:prSet phldrT="[文本]"/>
      <dgm:spPr/>
      <dgm:t>
        <a:bodyPr/>
        <a:lstStyle/>
        <a:p>
          <a:r>
            <a:rPr lang="en-US" altLang="zh-CN" dirty="0" smtClean="0"/>
            <a:t>KR2:</a:t>
          </a:r>
          <a:r>
            <a:rPr lang="zh-CN" altLang="en-US" dirty="0" smtClean="0"/>
            <a:t>全年新增</a:t>
          </a:r>
          <a:r>
            <a:rPr lang="en-US" altLang="zh-CN" dirty="0" smtClean="0"/>
            <a:t>50</a:t>
          </a:r>
          <a:r>
            <a:rPr lang="zh-CN" altLang="en-US" dirty="0" smtClean="0"/>
            <a:t>个团体客户</a:t>
          </a:r>
        </a:p>
      </dgm:t>
    </dgm:pt>
    <dgm:pt modelId="{9978B41C-6CBA-644D-8A71-8E27157D0614}" type="parTrans" cxnId="{1067C238-2A51-7140-BE96-E3C2C1070F3E}">
      <dgm:prSet/>
      <dgm:spPr/>
      <dgm:t>
        <a:bodyPr/>
        <a:lstStyle/>
        <a:p>
          <a:endParaRPr lang="zh-CN" altLang="en-US"/>
        </a:p>
      </dgm:t>
    </dgm:pt>
    <dgm:pt modelId="{211992D7-99BD-7A49-AEB0-F9D27326A822}" type="sibTrans" cxnId="{1067C238-2A51-7140-BE96-E3C2C1070F3E}">
      <dgm:prSet/>
      <dgm:spPr/>
      <dgm:t>
        <a:bodyPr/>
        <a:lstStyle/>
        <a:p>
          <a:endParaRPr lang="zh-CN" altLang="en-US"/>
        </a:p>
      </dgm:t>
    </dgm:pt>
    <dgm:pt modelId="{38EE6BAF-8BE1-0340-ABE4-4C28A6ECBE16}">
      <dgm:prSet phldrT="[文本]"/>
      <dgm:spPr/>
      <dgm:t>
        <a:bodyPr/>
        <a:lstStyle/>
        <a:p>
          <a:r>
            <a:rPr lang="en-US" altLang="zh-CN" dirty="0" smtClean="0"/>
            <a:t>KR3:</a:t>
          </a:r>
          <a:r>
            <a:rPr lang="zh-CN" altLang="en-US" dirty="0" smtClean="0"/>
            <a:t>将每单平均成交额比去年提高</a:t>
          </a:r>
          <a:r>
            <a:rPr lang="en-US" altLang="zh-CN" dirty="0" smtClean="0"/>
            <a:t>15%</a:t>
          </a:r>
          <a:endParaRPr lang="zh-CN" altLang="en-US" dirty="0"/>
        </a:p>
      </dgm:t>
    </dgm:pt>
    <dgm:pt modelId="{42532D7E-555D-A24F-8905-7AB6E7E06206}" type="parTrans" cxnId="{DEE8185C-F6AB-7F4E-8254-BF910EC35D67}">
      <dgm:prSet/>
      <dgm:spPr/>
      <dgm:t>
        <a:bodyPr/>
        <a:lstStyle/>
        <a:p>
          <a:endParaRPr lang="zh-CN" altLang="en-US"/>
        </a:p>
      </dgm:t>
    </dgm:pt>
    <dgm:pt modelId="{9222598F-27FE-DA47-8130-270EBD4C5B47}" type="sibTrans" cxnId="{DEE8185C-F6AB-7F4E-8254-BF910EC35D67}">
      <dgm:prSet/>
      <dgm:spPr/>
      <dgm:t>
        <a:bodyPr/>
        <a:lstStyle/>
        <a:p>
          <a:endParaRPr lang="zh-CN" altLang="en-US"/>
        </a:p>
      </dgm:t>
    </dgm:pt>
    <dgm:pt modelId="{DEF80460-256E-2C48-AD23-4F84E5707D8A}">
      <dgm:prSet phldrT="[文本]"/>
      <dgm:spPr/>
      <dgm:t>
        <a:bodyPr/>
        <a:lstStyle/>
        <a:p>
          <a:r>
            <a:rPr lang="en-US" altLang="zh-CN" dirty="0" smtClean="0"/>
            <a:t>KA</a:t>
          </a:r>
        </a:p>
        <a:p>
          <a:r>
            <a:rPr lang="zh-CN" altLang="en-US" dirty="0" smtClean="0"/>
            <a:t>在</a:t>
          </a:r>
          <a:r>
            <a:rPr lang="en-US" altLang="zh-CN" dirty="0" smtClean="0"/>
            <a:t>90%</a:t>
          </a:r>
          <a:r>
            <a:rPr lang="zh-CN" altLang="en-US" dirty="0" smtClean="0"/>
            <a:t>的业务中推广我们的酒吧增值服务</a:t>
          </a:r>
        </a:p>
      </dgm:t>
    </dgm:pt>
    <dgm:pt modelId="{127ABAF6-50EC-8841-8067-8B1A9D75357A}" type="parTrans" cxnId="{E5049F74-268C-664F-9B7E-D75B7F521B6B}">
      <dgm:prSet/>
      <dgm:spPr/>
      <dgm:t>
        <a:bodyPr/>
        <a:lstStyle/>
        <a:p>
          <a:endParaRPr lang="zh-CN" altLang="en-US"/>
        </a:p>
      </dgm:t>
    </dgm:pt>
    <dgm:pt modelId="{4F388992-4B3A-734C-8E9F-23A2431C877B}" type="sibTrans" cxnId="{E5049F74-268C-664F-9B7E-D75B7F521B6B}">
      <dgm:prSet/>
      <dgm:spPr/>
      <dgm:t>
        <a:bodyPr/>
        <a:lstStyle/>
        <a:p>
          <a:endParaRPr lang="zh-CN" altLang="en-US"/>
        </a:p>
      </dgm:t>
    </dgm:pt>
    <dgm:pt modelId="{6C609D66-B614-5747-89BA-78FCDAF80396}">
      <dgm:prSet phldrT="[文本]"/>
      <dgm:spPr/>
      <dgm:t>
        <a:bodyPr/>
        <a:lstStyle/>
        <a:p>
          <a:r>
            <a:rPr lang="en-US" altLang="zh-CN" dirty="0" smtClean="0"/>
            <a:t>KA</a:t>
          </a:r>
        </a:p>
        <a:p>
          <a:r>
            <a:rPr lang="zh-CN" altLang="en-US" dirty="0" smtClean="0"/>
            <a:t>每个客户经理每周完成两次有成效的客户现场参观</a:t>
          </a:r>
        </a:p>
      </dgm:t>
    </dgm:pt>
    <dgm:pt modelId="{EA430B92-DE24-5B44-85CA-378D2FDEE201}" type="parTrans" cxnId="{E4B46C17-D1A0-3344-A059-E92FC00105B5}">
      <dgm:prSet/>
      <dgm:spPr/>
      <dgm:t>
        <a:bodyPr/>
        <a:lstStyle/>
        <a:p>
          <a:endParaRPr lang="zh-CN" altLang="en-US"/>
        </a:p>
      </dgm:t>
    </dgm:pt>
    <dgm:pt modelId="{9C39691E-23FC-B24B-B839-07F5C58A55B6}" type="sibTrans" cxnId="{E4B46C17-D1A0-3344-A059-E92FC00105B5}">
      <dgm:prSet/>
      <dgm:spPr/>
      <dgm:t>
        <a:bodyPr/>
        <a:lstStyle/>
        <a:p>
          <a:endParaRPr lang="zh-CN" altLang="en-US"/>
        </a:p>
      </dgm:t>
    </dgm:pt>
    <dgm:pt modelId="{65F4E0EA-0D51-0A4D-AF7B-1F24502AC360}">
      <dgm:prSet phldrT="[文本]"/>
      <dgm:spPr/>
      <dgm:t>
        <a:bodyPr/>
        <a:lstStyle/>
        <a:p>
          <a:pPr algn="l"/>
          <a:r>
            <a:rPr lang="en-US" altLang="zh-CN" dirty="0" smtClean="0"/>
            <a:t>O</a:t>
          </a:r>
          <a:r>
            <a:rPr lang="zh-CN" altLang="en-US" dirty="0" smtClean="0"/>
            <a:t>：显著提升今年的团队活动收入</a:t>
          </a:r>
        </a:p>
        <a:p>
          <a:pPr algn="l"/>
          <a:r>
            <a:rPr lang="en-US" altLang="zh-CN" dirty="0" smtClean="0"/>
            <a:t>KR1</a:t>
          </a:r>
          <a:r>
            <a:rPr lang="zh-CN" altLang="en-US" dirty="0" smtClean="0"/>
            <a:t>：团队活动年收入比去年提升</a:t>
          </a:r>
          <a:r>
            <a:rPr lang="en-US" altLang="zh-CN" dirty="0" smtClean="0"/>
            <a:t>50%</a:t>
          </a:r>
          <a:r>
            <a:rPr lang="zh-CN" altLang="en-US" dirty="0" smtClean="0"/>
            <a:t>，达到</a:t>
          </a:r>
          <a:r>
            <a:rPr lang="en-US" altLang="zh-CN" dirty="0" smtClean="0"/>
            <a:t>3000</a:t>
          </a:r>
          <a:r>
            <a:rPr lang="zh-CN" altLang="en-US" dirty="0" smtClean="0"/>
            <a:t>万美元</a:t>
          </a:r>
        </a:p>
      </dgm:t>
    </dgm:pt>
    <dgm:pt modelId="{467B5288-DC2F-9B44-AB4B-E6727F468BEC}" type="sibTrans" cxnId="{A87FAF65-A97D-3049-BE18-41BF77A2FF0D}">
      <dgm:prSet/>
      <dgm:spPr/>
      <dgm:t>
        <a:bodyPr/>
        <a:lstStyle/>
        <a:p>
          <a:endParaRPr lang="zh-CN" altLang="en-US"/>
        </a:p>
      </dgm:t>
    </dgm:pt>
    <dgm:pt modelId="{07630568-8659-634A-8DFE-5223C63B3CA9}" type="parTrans" cxnId="{A87FAF65-A97D-3049-BE18-41BF77A2FF0D}">
      <dgm:prSet/>
      <dgm:spPr/>
      <dgm:t>
        <a:bodyPr/>
        <a:lstStyle/>
        <a:p>
          <a:endParaRPr lang="zh-CN" altLang="en-US"/>
        </a:p>
      </dgm:t>
    </dgm:pt>
    <dgm:pt modelId="{7E829342-D01C-704E-99A5-9DE8088F8B32}" type="pres">
      <dgm:prSet presAssocID="{1B8A7EBE-36C9-2649-BD8E-B88FBA0A4BE1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zh-CN" altLang="en-US"/>
        </a:p>
      </dgm:t>
    </dgm:pt>
    <dgm:pt modelId="{EB4DEC87-A730-5B4A-962E-44AC88ACF800}" type="pres">
      <dgm:prSet presAssocID="{65F4E0EA-0D51-0A4D-AF7B-1F24502AC360}" presName="hierRoot1" presStyleCnt="0"/>
      <dgm:spPr/>
    </dgm:pt>
    <dgm:pt modelId="{A10589B0-AC4D-F640-A788-4F3138D0F184}" type="pres">
      <dgm:prSet presAssocID="{65F4E0EA-0D51-0A4D-AF7B-1F24502AC360}" presName="composite" presStyleCnt="0"/>
      <dgm:spPr/>
    </dgm:pt>
    <dgm:pt modelId="{5CB6E6CA-7619-5743-A9D8-18E2CDAC1996}" type="pres">
      <dgm:prSet presAssocID="{65F4E0EA-0D51-0A4D-AF7B-1F24502AC360}" presName="background" presStyleLbl="node0" presStyleIdx="0" presStyleCnt="1"/>
      <dgm:spPr/>
    </dgm:pt>
    <dgm:pt modelId="{F5C7DC03-A269-A744-B45C-D6E00D011183}" type="pres">
      <dgm:prSet presAssocID="{65F4E0EA-0D51-0A4D-AF7B-1F24502AC360}" presName="text" presStyleLbl="fgAcc0" presStyleIdx="0" presStyleCnt="1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3CB4FB69-FAD4-7845-A0AD-82B52C905E78}" type="pres">
      <dgm:prSet presAssocID="{65F4E0EA-0D51-0A4D-AF7B-1F24502AC360}" presName="hierChild2" presStyleCnt="0"/>
      <dgm:spPr/>
    </dgm:pt>
    <dgm:pt modelId="{5E03ED3A-2747-1045-BCBA-BF0C8B13CF36}" type="pres">
      <dgm:prSet presAssocID="{9978B41C-6CBA-644D-8A71-8E27157D0614}" presName="Name10" presStyleLbl="parChTrans1D2" presStyleIdx="0" presStyleCnt="2"/>
      <dgm:spPr/>
      <dgm:t>
        <a:bodyPr/>
        <a:lstStyle/>
        <a:p>
          <a:endParaRPr lang="zh-CN" altLang="en-US"/>
        </a:p>
      </dgm:t>
    </dgm:pt>
    <dgm:pt modelId="{859622EE-7470-DA44-BF6D-5DF4A059CBEB}" type="pres">
      <dgm:prSet presAssocID="{0C0D48E5-9D2E-FA40-AA05-B5DD750B0FBE}" presName="hierRoot2" presStyleCnt="0"/>
      <dgm:spPr/>
    </dgm:pt>
    <dgm:pt modelId="{371C3383-212B-B041-8FEF-F1B7A93EF919}" type="pres">
      <dgm:prSet presAssocID="{0C0D48E5-9D2E-FA40-AA05-B5DD750B0FBE}" presName="composite2" presStyleCnt="0"/>
      <dgm:spPr/>
    </dgm:pt>
    <dgm:pt modelId="{ADDE1B6C-5F04-A342-B4D8-195381EFA6D4}" type="pres">
      <dgm:prSet presAssocID="{0C0D48E5-9D2E-FA40-AA05-B5DD750B0FBE}" presName="background2" presStyleLbl="node2" presStyleIdx="0" presStyleCnt="2"/>
      <dgm:spPr/>
    </dgm:pt>
    <dgm:pt modelId="{ADDD85BD-FDB7-FC4D-B4F4-B05BE1E81580}" type="pres">
      <dgm:prSet presAssocID="{0C0D48E5-9D2E-FA40-AA05-B5DD750B0FBE}" presName="text2" presStyleLbl="fgAcc2" presStyleIdx="0" presStyleCnt="2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A2EBF4A2-E4A7-B641-AA88-37F03A7F6EC9}" type="pres">
      <dgm:prSet presAssocID="{0C0D48E5-9D2E-FA40-AA05-B5DD750B0FBE}" presName="hierChild3" presStyleCnt="0"/>
      <dgm:spPr/>
    </dgm:pt>
    <dgm:pt modelId="{75773B43-76CE-224A-90BD-DB9E76C7FDDE}" type="pres">
      <dgm:prSet presAssocID="{EA430B92-DE24-5B44-85CA-378D2FDEE201}" presName="Name17" presStyleLbl="parChTrans1D3" presStyleIdx="0" presStyleCnt="2"/>
      <dgm:spPr/>
      <dgm:t>
        <a:bodyPr/>
        <a:lstStyle/>
        <a:p>
          <a:endParaRPr lang="zh-CN" altLang="en-US"/>
        </a:p>
      </dgm:t>
    </dgm:pt>
    <dgm:pt modelId="{CCEE36E5-3E29-5E41-A8C2-665A12E0851B}" type="pres">
      <dgm:prSet presAssocID="{6C609D66-B614-5747-89BA-78FCDAF80396}" presName="hierRoot3" presStyleCnt="0"/>
      <dgm:spPr/>
    </dgm:pt>
    <dgm:pt modelId="{00FA7817-1B58-184F-A438-5EB0C6C70564}" type="pres">
      <dgm:prSet presAssocID="{6C609D66-B614-5747-89BA-78FCDAF80396}" presName="composite3" presStyleCnt="0"/>
      <dgm:spPr/>
    </dgm:pt>
    <dgm:pt modelId="{52F15D47-25A6-CA40-9C46-6170E2C185BB}" type="pres">
      <dgm:prSet presAssocID="{6C609D66-B614-5747-89BA-78FCDAF80396}" presName="background3" presStyleLbl="node3" presStyleIdx="0" presStyleCnt="2"/>
      <dgm:spPr/>
    </dgm:pt>
    <dgm:pt modelId="{06199CC0-AFE8-BE45-90D3-9DA3CEF2E318}" type="pres">
      <dgm:prSet presAssocID="{6C609D66-B614-5747-89BA-78FCDAF80396}" presName="text3" presStyleLbl="fgAcc3" presStyleIdx="0" presStyleCnt="2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BD350F1E-2CAC-B744-B4C5-C5E9A432DEFC}" type="pres">
      <dgm:prSet presAssocID="{6C609D66-B614-5747-89BA-78FCDAF80396}" presName="hierChild4" presStyleCnt="0"/>
      <dgm:spPr/>
    </dgm:pt>
    <dgm:pt modelId="{E8DF3526-155F-1B4B-A36B-37F9867E4447}" type="pres">
      <dgm:prSet presAssocID="{42532D7E-555D-A24F-8905-7AB6E7E06206}" presName="Name10" presStyleLbl="parChTrans1D2" presStyleIdx="1" presStyleCnt="2"/>
      <dgm:spPr/>
      <dgm:t>
        <a:bodyPr/>
        <a:lstStyle/>
        <a:p>
          <a:endParaRPr lang="zh-CN" altLang="en-US"/>
        </a:p>
      </dgm:t>
    </dgm:pt>
    <dgm:pt modelId="{51A570D4-9F98-8641-8FC6-BB361B44D38F}" type="pres">
      <dgm:prSet presAssocID="{38EE6BAF-8BE1-0340-ABE4-4C28A6ECBE16}" presName="hierRoot2" presStyleCnt="0"/>
      <dgm:spPr/>
    </dgm:pt>
    <dgm:pt modelId="{4D0F57A9-2AEF-234A-8E0F-3A6F9018F6F6}" type="pres">
      <dgm:prSet presAssocID="{38EE6BAF-8BE1-0340-ABE4-4C28A6ECBE16}" presName="composite2" presStyleCnt="0"/>
      <dgm:spPr/>
    </dgm:pt>
    <dgm:pt modelId="{58293A09-A60B-6A40-9C0F-A57DDCA9D22D}" type="pres">
      <dgm:prSet presAssocID="{38EE6BAF-8BE1-0340-ABE4-4C28A6ECBE16}" presName="background2" presStyleLbl="node2" presStyleIdx="1" presStyleCnt="2"/>
      <dgm:spPr/>
    </dgm:pt>
    <dgm:pt modelId="{27067B9D-DF0B-B740-A14E-9229AF6DA90A}" type="pres">
      <dgm:prSet presAssocID="{38EE6BAF-8BE1-0340-ABE4-4C28A6ECBE16}" presName="text2" presStyleLbl="fgAcc2" presStyleIdx="1" presStyleCnt="2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C41F6E84-8B34-7243-901F-4E75D1700174}" type="pres">
      <dgm:prSet presAssocID="{38EE6BAF-8BE1-0340-ABE4-4C28A6ECBE16}" presName="hierChild3" presStyleCnt="0"/>
      <dgm:spPr/>
    </dgm:pt>
    <dgm:pt modelId="{7E494444-3282-9449-809F-F23C66F61E96}" type="pres">
      <dgm:prSet presAssocID="{127ABAF6-50EC-8841-8067-8B1A9D75357A}" presName="Name17" presStyleLbl="parChTrans1D3" presStyleIdx="1" presStyleCnt="2"/>
      <dgm:spPr/>
      <dgm:t>
        <a:bodyPr/>
        <a:lstStyle/>
        <a:p>
          <a:endParaRPr lang="zh-CN" altLang="en-US"/>
        </a:p>
      </dgm:t>
    </dgm:pt>
    <dgm:pt modelId="{F15FD211-EDED-534E-AF26-7E01BC600A67}" type="pres">
      <dgm:prSet presAssocID="{DEF80460-256E-2C48-AD23-4F84E5707D8A}" presName="hierRoot3" presStyleCnt="0"/>
      <dgm:spPr/>
    </dgm:pt>
    <dgm:pt modelId="{98A16DE7-174D-8249-B917-A0344CC629D3}" type="pres">
      <dgm:prSet presAssocID="{DEF80460-256E-2C48-AD23-4F84E5707D8A}" presName="composite3" presStyleCnt="0"/>
      <dgm:spPr/>
    </dgm:pt>
    <dgm:pt modelId="{3DE164F7-BF35-4548-AD53-305EE1D135AC}" type="pres">
      <dgm:prSet presAssocID="{DEF80460-256E-2C48-AD23-4F84E5707D8A}" presName="background3" presStyleLbl="node3" presStyleIdx="1" presStyleCnt="2"/>
      <dgm:spPr/>
    </dgm:pt>
    <dgm:pt modelId="{D695FCFA-31A9-6E45-AC23-FFBD7110BF39}" type="pres">
      <dgm:prSet presAssocID="{DEF80460-256E-2C48-AD23-4F84E5707D8A}" presName="text3" presStyleLbl="fgAcc3" presStyleIdx="1" presStyleCnt="2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826D5615-F26D-014C-9839-2C076235C187}" type="pres">
      <dgm:prSet presAssocID="{DEF80460-256E-2C48-AD23-4F84E5707D8A}" presName="hierChild4" presStyleCnt="0"/>
      <dgm:spPr/>
    </dgm:pt>
  </dgm:ptLst>
  <dgm:cxnLst>
    <dgm:cxn modelId="{00BB2535-53B5-024E-ADA5-E5EC3B2B8420}" type="presOf" srcId="{9978B41C-6CBA-644D-8A71-8E27157D0614}" destId="{5E03ED3A-2747-1045-BCBA-BF0C8B13CF36}" srcOrd="0" destOrd="0" presId="urn:microsoft.com/office/officeart/2005/8/layout/hierarchy1"/>
    <dgm:cxn modelId="{47E9DD47-1D73-7342-B75E-3782962D1954}" type="presOf" srcId="{EA430B92-DE24-5B44-85CA-378D2FDEE201}" destId="{75773B43-76CE-224A-90BD-DB9E76C7FDDE}" srcOrd="0" destOrd="0" presId="urn:microsoft.com/office/officeart/2005/8/layout/hierarchy1"/>
    <dgm:cxn modelId="{1067C238-2A51-7140-BE96-E3C2C1070F3E}" srcId="{65F4E0EA-0D51-0A4D-AF7B-1F24502AC360}" destId="{0C0D48E5-9D2E-FA40-AA05-B5DD750B0FBE}" srcOrd="0" destOrd="0" parTransId="{9978B41C-6CBA-644D-8A71-8E27157D0614}" sibTransId="{211992D7-99BD-7A49-AEB0-F9D27326A822}"/>
    <dgm:cxn modelId="{E4B46C17-D1A0-3344-A059-E92FC00105B5}" srcId="{0C0D48E5-9D2E-FA40-AA05-B5DD750B0FBE}" destId="{6C609D66-B614-5747-89BA-78FCDAF80396}" srcOrd="0" destOrd="0" parTransId="{EA430B92-DE24-5B44-85CA-378D2FDEE201}" sibTransId="{9C39691E-23FC-B24B-B839-07F5C58A55B6}"/>
    <dgm:cxn modelId="{E5049F74-268C-664F-9B7E-D75B7F521B6B}" srcId="{38EE6BAF-8BE1-0340-ABE4-4C28A6ECBE16}" destId="{DEF80460-256E-2C48-AD23-4F84E5707D8A}" srcOrd="0" destOrd="0" parTransId="{127ABAF6-50EC-8841-8067-8B1A9D75357A}" sibTransId="{4F388992-4B3A-734C-8E9F-23A2431C877B}"/>
    <dgm:cxn modelId="{8538E9F1-ECAB-784E-835C-17921F32FADB}" type="presOf" srcId="{1B8A7EBE-36C9-2649-BD8E-B88FBA0A4BE1}" destId="{7E829342-D01C-704E-99A5-9DE8088F8B32}" srcOrd="0" destOrd="0" presId="urn:microsoft.com/office/officeart/2005/8/layout/hierarchy1"/>
    <dgm:cxn modelId="{4FA23E12-8F9D-F34F-B9E2-8AE07394C2A8}" type="presOf" srcId="{0C0D48E5-9D2E-FA40-AA05-B5DD750B0FBE}" destId="{ADDD85BD-FDB7-FC4D-B4F4-B05BE1E81580}" srcOrd="0" destOrd="0" presId="urn:microsoft.com/office/officeart/2005/8/layout/hierarchy1"/>
    <dgm:cxn modelId="{00D8CA92-D54E-E044-A224-4A78A14CF713}" type="presOf" srcId="{38EE6BAF-8BE1-0340-ABE4-4C28A6ECBE16}" destId="{27067B9D-DF0B-B740-A14E-9229AF6DA90A}" srcOrd="0" destOrd="0" presId="urn:microsoft.com/office/officeart/2005/8/layout/hierarchy1"/>
    <dgm:cxn modelId="{85078F37-0290-9747-BD82-622D1DA7BAB6}" type="presOf" srcId="{DEF80460-256E-2C48-AD23-4F84E5707D8A}" destId="{D695FCFA-31A9-6E45-AC23-FFBD7110BF39}" srcOrd="0" destOrd="0" presId="urn:microsoft.com/office/officeart/2005/8/layout/hierarchy1"/>
    <dgm:cxn modelId="{E6592F17-DEAE-DA49-BFB8-3DC528EED65B}" type="presOf" srcId="{127ABAF6-50EC-8841-8067-8B1A9D75357A}" destId="{7E494444-3282-9449-809F-F23C66F61E96}" srcOrd="0" destOrd="0" presId="urn:microsoft.com/office/officeart/2005/8/layout/hierarchy1"/>
    <dgm:cxn modelId="{8AE426F4-C9D9-FA4A-9007-50CEBE9A657A}" type="presOf" srcId="{42532D7E-555D-A24F-8905-7AB6E7E06206}" destId="{E8DF3526-155F-1B4B-A36B-37F9867E4447}" srcOrd="0" destOrd="0" presId="urn:microsoft.com/office/officeart/2005/8/layout/hierarchy1"/>
    <dgm:cxn modelId="{455109D3-74F5-4343-A0CE-7030F381370B}" type="presOf" srcId="{65F4E0EA-0D51-0A4D-AF7B-1F24502AC360}" destId="{F5C7DC03-A269-A744-B45C-D6E00D011183}" srcOrd="0" destOrd="0" presId="urn:microsoft.com/office/officeart/2005/8/layout/hierarchy1"/>
    <dgm:cxn modelId="{DEE8185C-F6AB-7F4E-8254-BF910EC35D67}" srcId="{65F4E0EA-0D51-0A4D-AF7B-1F24502AC360}" destId="{38EE6BAF-8BE1-0340-ABE4-4C28A6ECBE16}" srcOrd="1" destOrd="0" parTransId="{42532D7E-555D-A24F-8905-7AB6E7E06206}" sibTransId="{9222598F-27FE-DA47-8130-270EBD4C5B47}"/>
    <dgm:cxn modelId="{E692335F-ABCE-DB47-8469-968770C9F3CF}" type="presOf" srcId="{6C609D66-B614-5747-89BA-78FCDAF80396}" destId="{06199CC0-AFE8-BE45-90D3-9DA3CEF2E318}" srcOrd="0" destOrd="0" presId="urn:microsoft.com/office/officeart/2005/8/layout/hierarchy1"/>
    <dgm:cxn modelId="{A87FAF65-A97D-3049-BE18-41BF77A2FF0D}" srcId="{1B8A7EBE-36C9-2649-BD8E-B88FBA0A4BE1}" destId="{65F4E0EA-0D51-0A4D-AF7B-1F24502AC360}" srcOrd="0" destOrd="0" parTransId="{07630568-8659-634A-8DFE-5223C63B3CA9}" sibTransId="{467B5288-DC2F-9B44-AB4B-E6727F468BEC}"/>
    <dgm:cxn modelId="{5EDED572-9730-B646-82E2-20BD1D3B0541}" type="presParOf" srcId="{7E829342-D01C-704E-99A5-9DE8088F8B32}" destId="{EB4DEC87-A730-5B4A-962E-44AC88ACF800}" srcOrd="0" destOrd="0" presId="urn:microsoft.com/office/officeart/2005/8/layout/hierarchy1"/>
    <dgm:cxn modelId="{298E54AC-3BD0-8A4A-8566-1EB8BAE714F6}" type="presParOf" srcId="{EB4DEC87-A730-5B4A-962E-44AC88ACF800}" destId="{A10589B0-AC4D-F640-A788-4F3138D0F184}" srcOrd="0" destOrd="0" presId="urn:microsoft.com/office/officeart/2005/8/layout/hierarchy1"/>
    <dgm:cxn modelId="{53A2F711-3A04-3240-A2B4-9FF72379C07A}" type="presParOf" srcId="{A10589B0-AC4D-F640-A788-4F3138D0F184}" destId="{5CB6E6CA-7619-5743-A9D8-18E2CDAC1996}" srcOrd="0" destOrd="0" presId="urn:microsoft.com/office/officeart/2005/8/layout/hierarchy1"/>
    <dgm:cxn modelId="{1B19CF42-C427-1949-BEB0-0D1439CDA253}" type="presParOf" srcId="{A10589B0-AC4D-F640-A788-4F3138D0F184}" destId="{F5C7DC03-A269-A744-B45C-D6E00D011183}" srcOrd="1" destOrd="0" presId="urn:microsoft.com/office/officeart/2005/8/layout/hierarchy1"/>
    <dgm:cxn modelId="{D3482C46-5454-2048-A67A-B543B6742967}" type="presParOf" srcId="{EB4DEC87-A730-5B4A-962E-44AC88ACF800}" destId="{3CB4FB69-FAD4-7845-A0AD-82B52C905E78}" srcOrd="1" destOrd="0" presId="urn:microsoft.com/office/officeart/2005/8/layout/hierarchy1"/>
    <dgm:cxn modelId="{480ED60B-198D-3446-9D45-44229DA5AE27}" type="presParOf" srcId="{3CB4FB69-FAD4-7845-A0AD-82B52C905E78}" destId="{5E03ED3A-2747-1045-BCBA-BF0C8B13CF36}" srcOrd="0" destOrd="0" presId="urn:microsoft.com/office/officeart/2005/8/layout/hierarchy1"/>
    <dgm:cxn modelId="{61C82388-841F-2A45-B77C-B8C0FB77A13B}" type="presParOf" srcId="{3CB4FB69-FAD4-7845-A0AD-82B52C905E78}" destId="{859622EE-7470-DA44-BF6D-5DF4A059CBEB}" srcOrd="1" destOrd="0" presId="urn:microsoft.com/office/officeart/2005/8/layout/hierarchy1"/>
    <dgm:cxn modelId="{34E8C3F1-EBED-DD4E-9632-C6D5B9E0DF5D}" type="presParOf" srcId="{859622EE-7470-DA44-BF6D-5DF4A059CBEB}" destId="{371C3383-212B-B041-8FEF-F1B7A93EF919}" srcOrd="0" destOrd="0" presId="urn:microsoft.com/office/officeart/2005/8/layout/hierarchy1"/>
    <dgm:cxn modelId="{D26056AD-4A3D-804D-85A9-0D27EA501779}" type="presParOf" srcId="{371C3383-212B-B041-8FEF-F1B7A93EF919}" destId="{ADDE1B6C-5F04-A342-B4D8-195381EFA6D4}" srcOrd="0" destOrd="0" presId="urn:microsoft.com/office/officeart/2005/8/layout/hierarchy1"/>
    <dgm:cxn modelId="{01AB64D8-7686-0544-A312-8482910CD155}" type="presParOf" srcId="{371C3383-212B-B041-8FEF-F1B7A93EF919}" destId="{ADDD85BD-FDB7-FC4D-B4F4-B05BE1E81580}" srcOrd="1" destOrd="0" presId="urn:microsoft.com/office/officeart/2005/8/layout/hierarchy1"/>
    <dgm:cxn modelId="{9B0547AE-E352-6541-823C-9DC72E82B6EA}" type="presParOf" srcId="{859622EE-7470-DA44-BF6D-5DF4A059CBEB}" destId="{A2EBF4A2-E4A7-B641-AA88-37F03A7F6EC9}" srcOrd="1" destOrd="0" presId="urn:microsoft.com/office/officeart/2005/8/layout/hierarchy1"/>
    <dgm:cxn modelId="{699CC84D-8092-7F43-BD09-DCCA3ABF8C06}" type="presParOf" srcId="{A2EBF4A2-E4A7-B641-AA88-37F03A7F6EC9}" destId="{75773B43-76CE-224A-90BD-DB9E76C7FDDE}" srcOrd="0" destOrd="0" presId="urn:microsoft.com/office/officeart/2005/8/layout/hierarchy1"/>
    <dgm:cxn modelId="{EC3673A0-5191-324F-A601-7455AB044288}" type="presParOf" srcId="{A2EBF4A2-E4A7-B641-AA88-37F03A7F6EC9}" destId="{CCEE36E5-3E29-5E41-A8C2-665A12E0851B}" srcOrd="1" destOrd="0" presId="urn:microsoft.com/office/officeart/2005/8/layout/hierarchy1"/>
    <dgm:cxn modelId="{66D85777-5B88-6D44-BF91-2CF8EF2CE48C}" type="presParOf" srcId="{CCEE36E5-3E29-5E41-A8C2-665A12E0851B}" destId="{00FA7817-1B58-184F-A438-5EB0C6C70564}" srcOrd="0" destOrd="0" presId="urn:microsoft.com/office/officeart/2005/8/layout/hierarchy1"/>
    <dgm:cxn modelId="{D3199038-469B-B648-9409-C252474EEDA0}" type="presParOf" srcId="{00FA7817-1B58-184F-A438-5EB0C6C70564}" destId="{52F15D47-25A6-CA40-9C46-6170E2C185BB}" srcOrd="0" destOrd="0" presId="urn:microsoft.com/office/officeart/2005/8/layout/hierarchy1"/>
    <dgm:cxn modelId="{536BC009-F89B-EB4E-8CAA-009507CECE98}" type="presParOf" srcId="{00FA7817-1B58-184F-A438-5EB0C6C70564}" destId="{06199CC0-AFE8-BE45-90D3-9DA3CEF2E318}" srcOrd="1" destOrd="0" presId="urn:microsoft.com/office/officeart/2005/8/layout/hierarchy1"/>
    <dgm:cxn modelId="{4D601467-50C1-7E46-A064-5377903768CE}" type="presParOf" srcId="{CCEE36E5-3E29-5E41-A8C2-665A12E0851B}" destId="{BD350F1E-2CAC-B744-B4C5-C5E9A432DEFC}" srcOrd="1" destOrd="0" presId="urn:microsoft.com/office/officeart/2005/8/layout/hierarchy1"/>
    <dgm:cxn modelId="{723ECFC0-B883-BD45-A5DD-4993FD74C684}" type="presParOf" srcId="{3CB4FB69-FAD4-7845-A0AD-82B52C905E78}" destId="{E8DF3526-155F-1B4B-A36B-37F9867E4447}" srcOrd="2" destOrd="0" presId="urn:microsoft.com/office/officeart/2005/8/layout/hierarchy1"/>
    <dgm:cxn modelId="{316E40FA-B410-9C4D-A211-23B5EFD46276}" type="presParOf" srcId="{3CB4FB69-FAD4-7845-A0AD-82B52C905E78}" destId="{51A570D4-9F98-8641-8FC6-BB361B44D38F}" srcOrd="3" destOrd="0" presId="urn:microsoft.com/office/officeart/2005/8/layout/hierarchy1"/>
    <dgm:cxn modelId="{47DA2C4D-4F3B-5B4E-A5AA-2C9E27575D16}" type="presParOf" srcId="{51A570D4-9F98-8641-8FC6-BB361B44D38F}" destId="{4D0F57A9-2AEF-234A-8E0F-3A6F9018F6F6}" srcOrd="0" destOrd="0" presId="urn:microsoft.com/office/officeart/2005/8/layout/hierarchy1"/>
    <dgm:cxn modelId="{86B48180-D0C8-564E-BC8D-3A6BFC5E965F}" type="presParOf" srcId="{4D0F57A9-2AEF-234A-8E0F-3A6F9018F6F6}" destId="{58293A09-A60B-6A40-9C0F-A57DDCA9D22D}" srcOrd="0" destOrd="0" presId="urn:microsoft.com/office/officeart/2005/8/layout/hierarchy1"/>
    <dgm:cxn modelId="{D7C4A998-0103-7F4B-B0C6-679059FC0666}" type="presParOf" srcId="{4D0F57A9-2AEF-234A-8E0F-3A6F9018F6F6}" destId="{27067B9D-DF0B-B740-A14E-9229AF6DA90A}" srcOrd="1" destOrd="0" presId="urn:microsoft.com/office/officeart/2005/8/layout/hierarchy1"/>
    <dgm:cxn modelId="{312C143F-A1C0-B94C-A689-CE3BB20A1A11}" type="presParOf" srcId="{51A570D4-9F98-8641-8FC6-BB361B44D38F}" destId="{C41F6E84-8B34-7243-901F-4E75D1700174}" srcOrd="1" destOrd="0" presId="urn:microsoft.com/office/officeart/2005/8/layout/hierarchy1"/>
    <dgm:cxn modelId="{292EB5DF-14CD-3341-96CB-51CABA6B408F}" type="presParOf" srcId="{C41F6E84-8B34-7243-901F-4E75D1700174}" destId="{7E494444-3282-9449-809F-F23C66F61E96}" srcOrd="0" destOrd="0" presId="urn:microsoft.com/office/officeart/2005/8/layout/hierarchy1"/>
    <dgm:cxn modelId="{8D75CC5F-05F5-D64D-B508-C1A90C6DE17F}" type="presParOf" srcId="{C41F6E84-8B34-7243-901F-4E75D1700174}" destId="{F15FD211-EDED-534E-AF26-7E01BC600A67}" srcOrd="1" destOrd="0" presId="urn:microsoft.com/office/officeart/2005/8/layout/hierarchy1"/>
    <dgm:cxn modelId="{1D99CA13-AFAF-5E46-9CEA-A8342C7AFA4A}" type="presParOf" srcId="{F15FD211-EDED-534E-AF26-7E01BC600A67}" destId="{98A16DE7-174D-8249-B917-A0344CC629D3}" srcOrd="0" destOrd="0" presId="urn:microsoft.com/office/officeart/2005/8/layout/hierarchy1"/>
    <dgm:cxn modelId="{237A90C8-6569-594D-89E6-63D32370EEAF}" type="presParOf" srcId="{98A16DE7-174D-8249-B917-A0344CC629D3}" destId="{3DE164F7-BF35-4548-AD53-305EE1D135AC}" srcOrd="0" destOrd="0" presId="urn:microsoft.com/office/officeart/2005/8/layout/hierarchy1"/>
    <dgm:cxn modelId="{5026E2C7-8EDD-4F49-9BDF-EDF036A5A7AE}" type="presParOf" srcId="{98A16DE7-174D-8249-B917-A0344CC629D3}" destId="{D695FCFA-31A9-6E45-AC23-FFBD7110BF39}" srcOrd="1" destOrd="0" presId="urn:microsoft.com/office/officeart/2005/8/layout/hierarchy1"/>
    <dgm:cxn modelId="{72554F01-D734-7648-A92E-9D4472D2BF21}" type="presParOf" srcId="{F15FD211-EDED-534E-AF26-7E01BC600A67}" destId="{826D5615-F26D-014C-9839-2C076235C187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7DBE3B1-3EA4-3743-96BF-E5121C9D1E58}">
      <dsp:nvSpPr>
        <dsp:cNvPr id="0" name=""/>
        <dsp:cNvSpPr/>
      </dsp:nvSpPr>
      <dsp:spPr>
        <a:xfrm>
          <a:off x="3840691" y="2324660"/>
          <a:ext cx="2717317" cy="47160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35800"/>
              </a:lnTo>
              <a:lnTo>
                <a:pt x="2717317" y="235800"/>
              </a:lnTo>
              <a:lnTo>
                <a:pt x="2717317" y="471600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7783E8A-80BE-A84E-B973-28B597E0F047}">
      <dsp:nvSpPr>
        <dsp:cNvPr id="0" name=""/>
        <dsp:cNvSpPr/>
      </dsp:nvSpPr>
      <dsp:spPr>
        <a:xfrm>
          <a:off x="3794971" y="2324660"/>
          <a:ext cx="91440" cy="471600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71600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2570AB-6AF5-8F45-9560-4280460C9978}">
      <dsp:nvSpPr>
        <dsp:cNvPr id="0" name=""/>
        <dsp:cNvSpPr/>
      </dsp:nvSpPr>
      <dsp:spPr>
        <a:xfrm>
          <a:off x="1123374" y="2324660"/>
          <a:ext cx="2717317" cy="471600"/>
        </a:xfrm>
        <a:custGeom>
          <a:avLst/>
          <a:gdLst/>
          <a:ahLst/>
          <a:cxnLst/>
          <a:rect l="0" t="0" r="0" b="0"/>
          <a:pathLst>
            <a:path>
              <a:moveTo>
                <a:pt x="2717317" y="0"/>
              </a:moveTo>
              <a:lnTo>
                <a:pt x="2717317" y="235800"/>
              </a:lnTo>
              <a:lnTo>
                <a:pt x="0" y="235800"/>
              </a:lnTo>
              <a:lnTo>
                <a:pt x="0" y="471600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B7C661C-1942-3846-B133-FBDEBF3E4A71}">
      <dsp:nvSpPr>
        <dsp:cNvPr id="0" name=""/>
        <dsp:cNvSpPr/>
      </dsp:nvSpPr>
      <dsp:spPr>
        <a:xfrm>
          <a:off x="2717833" y="1201802"/>
          <a:ext cx="2245716" cy="1122858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800" kern="1200" dirty="0" smtClean="0"/>
            <a:t>Objective</a:t>
          </a:r>
          <a:endParaRPr lang="zh-CN" altLang="en-US" sz="1800" kern="1200" dirty="0" smtClean="0"/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800" kern="1200" dirty="0" smtClean="0"/>
            <a:t>提升每位用户的平均观看</a:t>
          </a:r>
          <a:r>
            <a:rPr lang="en-US" altLang="zh-CN" sz="1800" kern="1200" dirty="0" err="1" smtClean="0"/>
            <a:t>youtube</a:t>
          </a:r>
          <a:r>
            <a:rPr lang="zh-CN" altLang="en-US" sz="1800" kern="1200" dirty="0" smtClean="0"/>
            <a:t>时间</a:t>
          </a:r>
          <a:endParaRPr lang="zh-CN" altLang="en-US" sz="1800" kern="1200" dirty="0"/>
        </a:p>
      </dsp:txBody>
      <dsp:txXfrm>
        <a:off x="2717833" y="1201802"/>
        <a:ext cx="2245716" cy="1122858"/>
      </dsp:txXfrm>
    </dsp:sp>
    <dsp:sp modelId="{5E70361A-0968-6C4A-81D9-357A8EBD0B85}">
      <dsp:nvSpPr>
        <dsp:cNvPr id="0" name=""/>
        <dsp:cNvSpPr/>
      </dsp:nvSpPr>
      <dsp:spPr>
        <a:xfrm>
          <a:off x="515" y="2796261"/>
          <a:ext cx="2245716" cy="1122858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800" kern="1200" dirty="0" smtClean="0"/>
            <a:t>KR1</a:t>
          </a:r>
          <a:endParaRPr lang="zh-CN" altLang="en-US" sz="1800" kern="1200" dirty="0" smtClean="0"/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800" kern="1200" dirty="0" smtClean="0"/>
            <a:t>提升每天</a:t>
          </a:r>
          <a:r>
            <a:rPr lang="en-US" altLang="zh-CN" sz="1800" kern="1200" dirty="0" smtClean="0"/>
            <a:t>30</a:t>
          </a:r>
          <a:r>
            <a:rPr lang="zh-CN" altLang="en-US" sz="1800" kern="1200" dirty="0" smtClean="0"/>
            <a:t>分钟的观看时间</a:t>
          </a:r>
          <a:endParaRPr lang="zh-CN" altLang="en-US" sz="1800" kern="1200" dirty="0"/>
        </a:p>
      </dsp:txBody>
      <dsp:txXfrm>
        <a:off x="515" y="2796261"/>
        <a:ext cx="2245716" cy="1122858"/>
      </dsp:txXfrm>
    </dsp:sp>
    <dsp:sp modelId="{60C9AD33-A102-FE42-B35F-C8437630EF10}">
      <dsp:nvSpPr>
        <dsp:cNvPr id="0" name=""/>
        <dsp:cNvSpPr/>
      </dsp:nvSpPr>
      <dsp:spPr>
        <a:xfrm>
          <a:off x="2717833" y="2796261"/>
          <a:ext cx="2245716" cy="1122858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800" kern="1200" dirty="0" smtClean="0"/>
            <a:t>KR2</a:t>
          </a:r>
          <a:endParaRPr lang="zh-CN" altLang="en-US" sz="1800" kern="1200" dirty="0" smtClean="0"/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800" kern="1200" dirty="0" smtClean="0"/>
            <a:t>推出适应三大操作系统，五个主流浏览器的</a:t>
          </a:r>
          <a:r>
            <a:rPr lang="en-US" altLang="zh-CN" sz="1800" kern="1200" dirty="0" err="1" smtClean="0"/>
            <a:t>youtube</a:t>
          </a:r>
          <a:r>
            <a:rPr lang="zh-CN" altLang="en-US" sz="1800" kern="1200" dirty="0" smtClean="0"/>
            <a:t>客户端</a:t>
          </a:r>
          <a:endParaRPr lang="zh-CN" altLang="en-US" sz="1800" kern="1200" dirty="0"/>
        </a:p>
      </dsp:txBody>
      <dsp:txXfrm>
        <a:off x="2717833" y="2796261"/>
        <a:ext cx="2245716" cy="1122858"/>
      </dsp:txXfrm>
    </dsp:sp>
    <dsp:sp modelId="{443F1702-96C4-C64C-8C81-4EA64E606DB6}">
      <dsp:nvSpPr>
        <dsp:cNvPr id="0" name=""/>
        <dsp:cNvSpPr/>
      </dsp:nvSpPr>
      <dsp:spPr>
        <a:xfrm>
          <a:off x="5435150" y="2796261"/>
          <a:ext cx="2245716" cy="1122858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800" kern="1200" dirty="0" smtClean="0"/>
            <a:t>KR3</a:t>
          </a:r>
          <a:endParaRPr lang="zh-CN" altLang="en-US" sz="1800" kern="1200" dirty="0" smtClean="0"/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800" kern="1200" dirty="0" smtClean="0"/>
            <a:t>降低</a:t>
          </a:r>
          <a:r>
            <a:rPr lang="en-US" altLang="zh-CN" sz="1800" kern="1200" dirty="0" smtClean="0"/>
            <a:t>40%</a:t>
          </a:r>
          <a:r>
            <a:rPr lang="zh-CN" altLang="en-US" sz="1800" kern="1200" dirty="0" smtClean="0"/>
            <a:t>的视频加载时间</a:t>
          </a:r>
          <a:endParaRPr lang="zh-CN" altLang="en-US" sz="1800" kern="1200" dirty="0"/>
        </a:p>
      </dsp:txBody>
      <dsp:txXfrm>
        <a:off x="5435150" y="2796261"/>
        <a:ext cx="2245716" cy="112285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E494444-3282-9449-809F-F23C66F61E96}">
      <dsp:nvSpPr>
        <dsp:cNvPr id="0" name=""/>
        <dsp:cNvSpPr/>
      </dsp:nvSpPr>
      <dsp:spPr>
        <a:xfrm>
          <a:off x="4892044" y="3083216"/>
          <a:ext cx="91440" cy="574317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574317"/>
              </a:lnTo>
            </a:path>
          </a:pathLst>
        </a:custGeom>
        <a:noFill/>
        <a:ln w="952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8DF3526-155F-1B4B-A36B-37F9867E4447}">
      <dsp:nvSpPr>
        <dsp:cNvPr id="0" name=""/>
        <dsp:cNvSpPr/>
      </dsp:nvSpPr>
      <dsp:spPr>
        <a:xfrm>
          <a:off x="3730984" y="1254944"/>
          <a:ext cx="1206779" cy="57431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91380"/>
              </a:lnTo>
              <a:lnTo>
                <a:pt x="1206779" y="391380"/>
              </a:lnTo>
              <a:lnTo>
                <a:pt x="1206779" y="574317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5773B43-76CE-224A-90BD-DB9E76C7FDDE}">
      <dsp:nvSpPr>
        <dsp:cNvPr id="0" name=""/>
        <dsp:cNvSpPr/>
      </dsp:nvSpPr>
      <dsp:spPr>
        <a:xfrm>
          <a:off x="2478484" y="3083216"/>
          <a:ext cx="91440" cy="574317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574317"/>
              </a:lnTo>
            </a:path>
          </a:pathLst>
        </a:custGeom>
        <a:noFill/>
        <a:ln w="952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E03ED3A-2747-1045-BCBA-BF0C8B13CF36}">
      <dsp:nvSpPr>
        <dsp:cNvPr id="0" name=""/>
        <dsp:cNvSpPr/>
      </dsp:nvSpPr>
      <dsp:spPr>
        <a:xfrm>
          <a:off x="2524204" y="1254944"/>
          <a:ext cx="1206779" cy="574317"/>
        </a:xfrm>
        <a:custGeom>
          <a:avLst/>
          <a:gdLst/>
          <a:ahLst/>
          <a:cxnLst/>
          <a:rect l="0" t="0" r="0" b="0"/>
          <a:pathLst>
            <a:path>
              <a:moveTo>
                <a:pt x="1206779" y="0"/>
              </a:moveTo>
              <a:lnTo>
                <a:pt x="1206779" y="391380"/>
              </a:lnTo>
              <a:lnTo>
                <a:pt x="0" y="391380"/>
              </a:lnTo>
              <a:lnTo>
                <a:pt x="0" y="574317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CB6E6CA-7619-5743-A9D8-18E2CDAC1996}">
      <dsp:nvSpPr>
        <dsp:cNvPr id="0" name=""/>
        <dsp:cNvSpPr/>
      </dsp:nvSpPr>
      <dsp:spPr>
        <a:xfrm>
          <a:off x="2743618" y="990"/>
          <a:ext cx="1974730" cy="1253953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F5C7DC03-A269-A744-B45C-D6E00D011183}">
      <dsp:nvSpPr>
        <dsp:cNvPr id="0" name=""/>
        <dsp:cNvSpPr/>
      </dsp:nvSpPr>
      <dsp:spPr>
        <a:xfrm>
          <a:off x="2963033" y="209434"/>
          <a:ext cx="1974730" cy="125395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400" kern="1200" dirty="0" smtClean="0"/>
            <a:t>O</a:t>
          </a:r>
          <a:r>
            <a:rPr lang="zh-CN" altLang="en-US" sz="1400" kern="1200" dirty="0" smtClean="0"/>
            <a:t>：显著提升今年的团队活动收入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400" kern="1200" dirty="0" smtClean="0"/>
            <a:t>KR1</a:t>
          </a:r>
          <a:r>
            <a:rPr lang="zh-CN" altLang="en-US" sz="1400" kern="1200" dirty="0" smtClean="0"/>
            <a:t>：团队活动年收入比去年提升</a:t>
          </a:r>
          <a:r>
            <a:rPr lang="en-US" altLang="zh-CN" sz="1400" kern="1200" dirty="0" smtClean="0"/>
            <a:t>50%</a:t>
          </a:r>
          <a:r>
            <a:rPr lang="zh-CN" altLang="en-US" sz="1400" kern="1200" dirty="0" smtClean="0"/>
            <a:t>，达到</a:t>
          </a:r>
          <a:r>
            <a:rPr lang="en-US" altLang="zh-CN" sz="1400" kern="1200" dirty="0" smtClean="0"/>
            <a:t>3000</a:t>
          </a:r>
          <a:r>
            <a:rPr lang="zh-CN" altLang="en-US" sz="1400" kern="1200" dirty="0" smtClean="0"/>
            <a:t>万美元</a:t>
          </a:r>
        </a:p>
      </dsp:txBody>
      <dsp:txXfrm>
        <a:off x="2999760" y="246161"/>
        <a:ext cx="1901276" cy="1180499"/>
      </dsp:txXfrm>
    </dsp:sp>
    <dsp:sp modelId="{ADDE1B6C-5F04-A342-B4D8-195381EFA6D4}">
      <dsp:nvSpPr>
        <dsp:cNvPr id="0" name=""/>
        <dsp:cNvSpPr/>
      </dsp:nvSpPr>
      <dsp:spPr>
        <a:xfrm>
          <a:off x="1536839" y="1829262"/>
          <a:ext cx="1974730" cy="1253953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ADDD85BD-FDB7-FC4D-B4F4-B05BE1E81580}">
      <dsp:nvSpPr>
        <dsp:cNvPr id="0" name=""/>
        <dsp:cNvSpPr/>
      </dsp:nvSpPr>
      <dsp:spPr>
        <a:xfrm>
          <a:off x="1756253" y="2037705"/>
          <a:ext cx="1974730" cy="125395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400" kern="1200" dirty="0" smtClean="0"/>
            <a:t>策略</a:t>
          </a:r>
          <a:r>
            <a:rPr lang="en-US" altLang="zh-CN" sz="1400" kern="1200" dirty="0" smtClean="0"/>
            <a:t>1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400" kern="1200" dirty="0" smtClean="0"/>
            <a:t>新增团队客户数量</a:t>
          </a:r>
        </a:p>
      </dsp:txBody>
      <dsp:txXfrm>
        <a:off x="1792980" y="2074432"/>
        <a:ext cx="1901276" cy="1180499"/>
      </dsp:txXfrm>
    </dsp:sp>
    <dsp:sp modelId="{52F15D47-25A6-CA40-9C46-6170E2C185BB}">
      <dsp:nvSpPr>
        <dsp:cNvPr id="0" name=""/>
        <dsp:cNvSpPr/>
      </dsp:nvSpPr>
      <dsp:spPr>
        <a:xfrm>
          <a:off x="1536839" y="3657533"/>
          <a:ext cx="1974730" cy="1253953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6199CC0-AFE8-BE45-90D3-9DA3CEF2E318}">
      <dsp:nvSpPr>
        <dsp:cNvPr id="0" name=""/>
        <dsp:cNvSpPr/>
      </dsp:nvSpPr>
      <dsp:spPr>
        <a:xfrm>
          <a:off x="1756253" y="3865977"/>
          <a:ext cx="1974730" cy="125395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400" kern="1200" dirty="0" smtClean="0"/>
            <a:t>KR2:</a:t>
          </a:r>
          <a:r>
            <a:rPr lang="zh-CN" altLang="en-US" sz="1400" kern="1200" dirty="0" smtClean="0"/>
            <a:t>全年新增</a:t>
          </a:r>
          <a:r>
            <a:rPr lang="en-US" altLang="zh-CN" sz="1400" kern="1200" dirty="0" smtClean="0"/>
            <a:t>50</a:t>
          </a:r>
          <a:r>
            <a:rPr lang="zh-CN" altLang="en-US" sz="1400" kern="1200" dirty="0" smtClean="0"/>
            <a:t>个团体客户</a:t>
          </a:r>
        </a:p>
      </dsp:txBody>
      <dsp:txXfrm>
        <a:off x="1792980" y="3902704"/>
        <a:ext cx="1901276" cy="1180499"/>
      </dsp:txXfrm>
    </dsp:sp>
    <dsp:sp modelId="{58293A09-A60B-6A40-9C0F-A57DDCA9D22D}">
      <dsp:nvSpPr>
        <dsp:cNvPr id="0" name=""/>
        <dsp:cNvSpPr/>
      </dsp:nvSpPr>
      <dsp:spPr>
        <a:xfrm>
          <a:off x="3950398" y="1829262"/>
          <a:ext cx="1974730" cy="1253953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27067B9D-DF0B-B740-A14E-9229AF6DA90A}">
      <dsp:nvSpPr>
        <dsp:cNvPr id="0" name=""/>
        <dsp:cNvSpPr/>
      </dsp:nvSpPr>
      <dsp:spPr>
        <a:xfrm>
          <a:off x="4169813" y="2037705"/>
          <a:ext cx="1974730" cy="125395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400" kern="1200" dirty="0" smtClean="0"/>
            <a:t>策略</a:t>
          </a:r>
          <a:r>
            <a:rPr lang="en-US" altLang="zh-CN" sz="1400" kern="1200" dirty="0" smtClean="0"/>
            <a:t>2</a:t>
          </a:r>
          <a:endParaRPr lang="zh-CN" altLang="en-US" sz="1400" kern="1200" dirty="0" smtClean="0"/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400" kern="1200" dirty="0" smtClean="0"/>
            <a:t>提升客单价</a:t>
          </a:r>
          <a:endParaRPr lang="zh-CN" altLang="en-US" sz="1400" kern="1200" dirty="0"/>
        </a:p>
      </dsp:txBody>
      <dsp:txXfrm>
        <a:off x="4206540" y="2074432"/>
        <a:ext cx="1901276" cy="1180499"/>
      </dsp:txXfrm>
    </dsp:sp>
    <dsp:sp modelId="{3DE164F7-BF35-4548-AD53-305EE1D135AC}">
      <dsp:nvSpPr>
        <dsp:cNvPr id="0" name=""/>
        <dsp:cNvSpPr/>
      </dsp:nvSpPr>
      <dsp:spPr>
        <a:xfrm>
          <a:off x="3950398" y="3657533"/>
          <a:ext cx="1974730" cy="1253953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D695FCFA-31A9-6E45-AC23-FFBD7110BF39}">
      <dsp:nvSpPr>
        <dsp:cNvPr id="0" name=""/>
        <dsp:cNvSpPr/>
      </dsp:nvSpPr>
      <dsp:spPr>
        <a:xfrm>
          <a:off x="4169813" y="3865977"/>
          <a:ext cx="1974730" cy="125395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400" kern="1200" dirty="0" smtClean="0"/>
            <a:t>KR3:</a:t>
          </a:r>
          <a:r>
            <a:rPr lang="zh-CN" altLang="en-US" sz="1400" kern="1200" dirty="0" smtClean="0"/>
            <a:t>将每单平均成交额比去年提高</a:t>
          </a:r>
          <a:r>
            <a:rPr lang="en-US" altLang="zh-CN" sz="1400" kern="1200" dirty="0" smtClean="0"/>
            <a:t>15%</a:t>
          </a:r>
          <a:endParaRPr lang="zh-CN" altLang="en-US" sz="1400" kern="1200" dirty="0"/>
        </a:p>
      </dsp:txBody>
      <dsp:txXfrm>
        <a:off x="4206540" y="3902704"/>
        <a:ext cx="1901276" cy="118049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E494444-3282-9449-809F-F23C66F61E96}">
      <dsp:nvSpPr>
        <dsp:cNvPr id="0" name=""/>
        <dsp:cNvSpPr/>
      </dsp:nvSpPr>
      <dsp:spPr>
        <a:xfrm>
          <a:off x="4892044" y="3083216"/>
          <a:ext cx="91440" cy="574317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574317"/>
              </a:lnTo>
            </a:path>
          </a:pathLst>
        </a:custGeom>
        <a:noFill/>
        <a:ln w="952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8DF3526-155F-1B4B-A36B-37F9867E4447}">
      <dsp:nvSpPr>
        <dsp:cNvPr id="0" name=""/>
        <dsp:cNvSpPr/>
      </dsp:nvSpPr>
      <dsp:spPr>
        <a:xfrm>
          <a:off x="3730984" y="1254944"/>
          <a:ext cx="1206779" cy="57431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91380"/>
              </a:lnTo>
              <a:lnTo>
                <a:pt x="1206779" y="391380"/>
              </a:lnTo>
              <a:lnTo>
                <a:pt x="1206779" y="574317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5773B43-76CE-224A-90BD-DB9E76C7FDDE}">
      <dsp:nvSpPr>
        <dsp:cNvPr id="0" name=""/>
        <dsp:cNvSpPr/>
      </dsp:nvSpPr>
      <dsp:spPr>
        <a:xfrm>
          <a:off x="2478484" y="3083216"/>
          <a:ext cx="91440" cy="574317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574317"/>
              </a:lnTo>
            </a:path>
          </a:pathLst>
        </a:custGeom>
        <a:noFill/>
        <a:ln w="952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E03ED3A-2747-1045-BCBA-BF0C8B13CF36}">
      <dsp:nvSpPr>
        <dsp:cNvPr id="0" name=""/>
        <dsp:cNvSpPr/>
      </dsp:nvSpPr>
      <dsp:spPr>
        <a:xfrm>
          <a:off x="2524204" y="1254944"/>
          <a:ext cx="1206779" cy="574317"/>
        </a:xfrm>
        <a:custGeom>
          <a:avLst/>
          <a:gdLst/>
          <a:ahLst/>
          <a:cxnLst/>
          <a:rect l="0" t="0" r="0" b="0"/>
          <a:pathLst>
            <a:path>
              <a:moveTo>
                <a:pt x="1206779" y="0"/>
              </a:moveTo>
              <a:lnTo>
                <a:pt x="1206779" y="391380"/>
              </a:lnTo>
              <a:lnTo>
                <a:pt x="0" y="391380"/>
              </a:lnTo>
              <a:lnTo>
                <a:pt x="0" y="574317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CB6E6CA-7619-5743-A9D8-18E2CDAC1996}">
      <dsp:nvSpPr>
        <dsp:cNvPr id="0" name=""/>
        <dsp:cNvSpPr/>
      </dsp:nvSpPr>
      <dsp:spPr>
        <a:xfrm>
          <a:off x="2743618" y="990"/>
          <a:ext cx="1974730" cy="1253953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F5C7DC03-A269-A744-B45C-D6E00D011183}">
      <dsp:nvSpPr>
        <dsp:cNvPr id="0" name=""/>
        <dsp:cNvSpPr/>
      </dsp:nvSpPr>
      <dsp:spPr>
        <a:xfrm>
          <a:off x="2963033" y="209434"/>
          <a:ext cx="1974730" cy="125395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400" kern="1200" dirty="0" smtClean="0"/>
            <a:t>O</a:t>
          </a:r>
          <a:r>
            <a:rPr lang="zh-CN" altLang="en-US" sz="1400" kern="1200" dirty="0" smtClean="0"/>
            <a:t>：显著提升今年的团队活动收入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400" kern="1200" dirty="0" smtClean="0"/>
            <a:t>KR1</a:t>
          </a:r>
          <a:r>
            <a:rPr lang="zh-CN" altLang="en-US" sz="1400" kern="1200" dirty="0" smtClean="0"/>
            <a:t>：团队活动年收入比去年提升</a:t>
          </a:r>
          <a:r>
            <a:rPr lang="en-US" altLang="zh-CN" sz="1400" kern="1200" dirty="0" smtClean="0"/>
            <a:t>50%</a:t>
          </a:r>
          <a:r>
            <a:rPr lang="zh-CN" altLang="en-US" sz="1400" kern="1200" dirty="0" smtClean="0"/>
            <a:t>，达到</a:t>
          </a:r>
          <a:r>
            <a:rPr lang="en-US" altLang="zh-CN" sz="1400" kern="1200" dirty="0" smtClean="0"/>
            <a:t>3000</a:t>
          </a:r>
          <a:r>
            <a:rPr lang="zh-CN" altLang="en-US" sz="1400" kern="1200" dirty="0" smtClean="0"/>
            <a:t>万美元</a:t>
          </a:r>
        </a:p>
      </dsp:txBody>
      <dsp:txXfrm>
        <a:off x="2999760" y="246161"/>
        <a:ext cx="1901276" cy="1180499"/>
      </dsp:txXfrm>
    </dsp:sp>
    <dsp:sp modelId="{ADDE1B6C-5F04-A342-B4D8-195381EFA6D4}">
      <dsp:nvSpPr>
        <dsp:cNvPr id="0" name=""/>
        <dsp:cNvSpPr/>
      </dsp:nvSpPr>
      <dsp:spPr>
        <a:xfrm>
          <a:off x="1536839" y="1829262"/>
          <a:ext cx="1974730" cy="1253953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ADDD85BD-FDB7-FC4D-B4F4-B05BE1E81580}">
      <dsp:nvSpPr>
        <dsp:cNvPr id="0" name=""/>
        <dsp:cNvSpPr/>
      </dsp:nvSpPr>
      <dsp:spPr>
        <a:xfrm>
          <a:off x="1756253" y="2037705"/>
          <a:ext cx="1974730" cy="125395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400" kern="1200" dirty="0" smtClean="0"/>
            <a:t>KR2:</a:t>
          </a:r>
          <a:r>
            <a:rPr lang="zh-CN" altLang="en-US" sz="1400" kern="1200" dirty="0" smtClean="0"/>
            <a:t>全年新增</a:t>
          </a:r>
          <a:r>
            <a:rPr lang="en-US" altLang="zh-CN" sz="1400" kern="1200" dirty="0" smtClean="0"/>
            <a:t>50</a:t>
          </a:r>
          <a:r>
            <a:rPr lang="zh-CN" altLang="en-US" sz="1400" kern="1200" dirty="0" smtClean="0"/>
            <a:t>个团体客户</a:t>
          </a:r>
        </a:p>
      </dsp:txBody>
      <dsp:txXfrm>
        <a:off x="1792980" y="2074432"/>
        <a:ext cx="1901276" cy="1180499"/>
      </dsp:txXfrm>
    </dsp:sp>
    <dsp:sp modelId="{52F15D47-25A6-CA40-9C46-6170E2C185BB}">
      <dsp:nvSpPr>
        <dsp:cNvPr id="0" name=""/>
        <dsp:cNvSpPr/>
      </dsp:nvSpPr>
      <dsp:spPr>
        <a:xfrm>
          <a:off x="1536839" y="3657533"/>
          <a:ext cx="1974730" cy="1253953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6199CC0-AFE8-BE45-90D3-9DA3CEF2E318}">
      <dsp:nvSpPr>
        <dsp:cNvPr id="0" name=""/>
        <dsp:cNvSpPr/>
      </dsp:nvSpPr>
      <dsp:spPr>
        <a:xfrm>
          <a:off x="1756253" y="3865977"/>
          <a:ext cx="1974730" cy="125395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400" kern="1200" dirty="0" smtClean="0"/>
            <a:t>KA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400" kern="1200" dirty="0" smtClean="0"/>
            <a:t>每个客户经理每周完成两次有成效的客户现场参观</a:t>
          </a:r>
        </a:p>
      </dsp:txBody>
      <dsp:txXfrm>
        <a:off x="1792980" y="3902704"/>
        <a:ext cx="1901276" cy="1180499"/>
      </dsp:txXfrm>
    </dsp:sp>
    <dsp:sp modelId="{58293A09-A60B-6A40-9C0F-A57DDCA9D22D}">
      <dsp:nvSpPr>
        <dsp:cNvPr id="0" name=""/>
        <dsp:cNvSpPr/>
      </dsp:nvSpPr>
      <dsp:spPr>
        <a:xfrm>
          <a:off x="3950398" y="1829262"/>
          <a:ext cx="1974730" cy="1253953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27067B9D-DF0B-B740-A14E-9229AF6DA90A}">
      <dsp:nvSpPr>
        <dsp:cNvPr id="0" name=""/>
        <dsp:cNvSpPr/>
      </dsp:nvSpPr>
      <dsp:spPr>
        <a:xfrm>
          <a:off x="4169813" y="2037705"/>
          <a:ext cx="1974730" cy="125395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400" kern="1200" dirty="0" smtClean="0"/>
            <a:t>KR3:</a:t>
          </a:r>
          <a:r>
            <a:rPr lang="zh-CN" altLang="en-US" sz="1400" kern="1200" dirty="0" smtClean="0"/>
            <a:t>将每单平均成交额比去年提高</a:t>
          </a:r>
          <a:r>
            <a:rPr lang="en-US" altLang="zh-CN" sz="1400" kern="1200" dirty="0" smtClean="0"/>
            <a:t>15%</a:t>
          </a:r>
          <a:endParaRPr lang="zh-CN" altLang="en-US" sz="1400" kern="1200" dirty="0"/>
        </a:p>
      </dsp:txBody>
      <dsp:txXfrm>
        <a:off x="4206540" y="2074432"/>
        <a:ext cx="1901276" cy="1180499"/>
      </dsp:txXfrm>
    </dsp:sp>
    <dsp:sp modelId="{3DE164F7-BF35-4548-AD53-305EE1D135AC}">
      <dsp:nvSpPr>
        <dsp:cNvPr id="0" name=""/>
        <dsp:cNvSpPr/>
      </dsp:nvSpPr>
      <dsp:spPr>
        <a:xfrm>
          <a:off x="3950398" y="3657533"/>
          <a:ext cx="1974730" cy="1253953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D695FCFA-31A9-6E45-AC23-FFBD7110BF39}">
      <dsp:nvSpPr>
        <dsp:cNvPr id="0" name=""/>
        <dsp:cNvSpPr/>
      </dsp:nvSpPr>
      <dsp:spPr>
        <a:xfrm>
          <a:off x="4169813" y="3865977"/>
          <a:ext cx="1974730" cy="125395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400" kern="1200" dirty="0" smtClean="0"/>
            <a:t>KA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400" kern="1200" dirty="0" smtClean="0"/>
            <a:t>在</a:t>
          </a:r>
          <a:r>
            <a:rPr lang="en-US" altLang="zh-CN" sz="1400" kern="1200" dirty="0" smtClean="0"/>
            <a:t>90%</a:t>
          </a:r>
          <a:r>
            <a:rPr lang="zh-CN" altLang="en-US" sz="1400" kern="1200" dirty="0" smtClean="0"/>
            <a:t>的业务中推广我们的酒吧增值服务</a:t>
          </a:r>
        </a:p>
      </dsp:txBody>
      <dsp:txXfrm>
        <a:off x="4206540" y="3902704"/>
        <a:ext cx="1901276" cy="118049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5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6B751A1-F057-4CD7-B3D0-663A5894C4B0}" type="datetimeFigureOut">
              <a:rPr lang="zh-CN" altLang="en-US" smtClean="0"/>
              <a:t>19/11/2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C3829-85C2-4C78-A748-3A4999477BD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373902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C3829-85C2-4C78-A748-3A4999477BD2}" type="slidenum">
              <a:rPr lang="zh-CN" altLang="en-US" smtClean="0"/>
              <a:t>1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C3829-85C2-4C78-A748-3A4999477BD2}" type="slidenum">
              <a:rPr lang="zh-CN" altLang="en-US" smtClean="0">
                <a:solidFill>
                  <a:prstClr val="black"/>
                </a:solidFill>
              </a:rPr>
              <a:t>10</a:t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C3829-85C2-4C78-A748-3A4999477BD2}" type="slidenum">
              <a:rPr lang="zh-CN" altLang="en-US" smtClean="0">
                <a:solidFill>
                  <a:prstClr val="black"/>
                </a:solidFill>
              </a:rPr>
              <a:t>11</a:t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C3829-85C2-4C78-A748-3A4999477BD2}" type="slidenum">
              <a:rPr lang="zh-CN" altLang="en-US" smtClean="0">
                <a:solidFill>
                  <a:prstClr val="black"/>
                </a:solidFill>
              </a:rPr>
              <a:t>12</a:t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C3829-85C2-4C78-A748-3A4999477BD2}" type="slidenum">
              <a:rPr lang="zh-CN" altLang="en-US" smtClean="0"/>
              <a:t>13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9</a:t>
            </a:r>
            <a:r>
              <a:rPr lang="zh-CN" altLang="en-US" dirty="0"/>
              <a:t>月</a:t>
            </a:r>
            <a:r>
              <a:rPr lang="en-US" altLang="zh-CN" dirty="0"/>
              <a:t>30</a:t>
            </a:r>
            <a:r>
              <a:rPr lang="zh-CN" altLang="en-US" dirty="0"/>
              <a:t>日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C3829-85C2-4C78-A748-3A4999477BD2}" type="slidenum">
              <a:rPr lang="zh-CN" altLang="en-US" smtClean="0">
                <a:solidFill>
                  <a:prstClr val="black"/>
                </a:solidFill>
              </a:rPr>
              <a:t>2</a:t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C3829-85C2-4C78-A748-3A4999477BD2}" type="slidenum">
              <a:rPr lang="zh-CN" altLang="en-US" smtClean="0">
                <a:solidFill>
                  <a:prstClr val="black"/>
                </a:solidFill>
              </a:rPr>
              <a:t>3</a:t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C3829-85C2-4C78-A748-3A4999477BD2}" type="slidenum">
              <a:rPr lang="zh-CN" altLang="en-US" smtClean="0">
                <a:solidFill>
                  <a:prstClr val="black"/>
                </a:solidFill>
              </a:rPr>
              <a:t>4</a:t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C3829-85C2-4C78-A748-3A4999477BD2}" type="slidenum">
              <a:rPr lang="zh-CN" altLang="en-US" smtClean="0">
                <a:solidFill>
                  <a:prstClr val="black"/>
                </a:solidFill>
              </a:rPr>
              <a:t>5</a:t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C3829-85C2-4C78-A748-3A4999477BD2}" type="slidenum">
              <a:rPr lang="zh-CN" altLang="en-US" smtClean="0">
                <a:solidFill>
                  <a:prstClr val="black"/>
                </a:solidFill>
              </a:rPr>
              <a:t>6</a:t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C3829-85C2-4C78-A748-3A4999477BD2}" type="slidenum">
              <a:rPr lang="zh-CN" altLang="en-US" smtClean="0">
                <a:solidFill>
                  <a:prstClr val="black"/>
                </a:solidFill>
              </a:rPr>
              <a:t>7</a:t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C3829-85C2-4C78-A748-3A4999477BD2}" type="slidenum">
              <a:rPr lang="zh-CN" altLang="en-US" smtClean="0">
                <a:solidFill>
                  <a:prstClr val="black"/>
                </a:solidFill>
              </a:rPr>
              <a:t>8</a:t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C3829-85C2-4C78-A748-3A4999477BD2}" type="slidenum">
              <a:rPr lang="zh-CN" altLang="en-US" smtClean="0">
                <a:solidFill>
                  <a:prstClr val="black"/>
                </a:solidFill>
              </a:rPr>
              <a:t>9</a:t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6.png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Relationship Id="rId2" Type="http://schemas.openxmlformats.org/officeDocument/2006/relationships/image" Target="../media/image23.png"/><Relationship Id="rId3" Type="http://schemas.openxmlformats.org/officeDocument/2006/relationships/image" Target="../media/image24.jpeg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Relationship Id="rId2" Type="http://schemas.openxmlformats.org/officeDocument/2006/relationships/image" Target="../media/image25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Relationship Id="rId2" Type="http://schemas.openxmlformats.org/officeDocument/2006/relationships/image" Target="../media/image26.jpeg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Relationship Id="rId2" Type="http://schemas.openxmlformats.org/officeDocument/2006/relationships/image" Target="../media/image27.jpeg"/><Relationship Id="rId3" Type="http://schemas.openxmlformats.org/officeDocument/2006/relationships/image" Target="../media/image28.wmf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Relationship Id="rId2" Type="http://schemas.openxmlformats.org/officeDocument/2006/relationships/image" Target="../media/image29.jpeg"/><Relationship Id="rId3" Type="http://schemas.openxmlformats.org/officeDocument/2006/relationships/image" Target="../media/image28.wmf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Relationship Id="rId2" Type="http://schemas.openxmlformats.org/officeDocument/2006/relationships/image" Target="../media/image28.wmf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Relationship Id="rId2" Type="http://schemas.openxmlformats.org/officeDocument/2006/relationships/image" Target="../media/image30.png"/><Relationship Id="rId3" Type="http://schemas.openxmlformats.org/officeDocument/2006/relationships/image" Target="../media/image28.wmf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Relationship Id="rId2" Type="http://schemas.openxmlformats.org/officeDocument/2006/relationships/image" Target="../media/image31.jpeg"/><Relationship Id="rId3" Type="http://schemas.openxmlformats.org/officeDocument/2006/relationships/image" Target="../media/image28.wmf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Relationship Id="rId2" Type="http://schemas.openxmlformats.org/officeDocument/2006/relationships/image" Target="../media/image32.jpeg"/><Relationship Id="rId3" Type="http://schemas.openxmlformats.org/officeDocument/2006/relationships/image" Target="../media/image28.wmf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Relationship Id="rId2" Type="http://schemas.openxmlformats.org/officeDocument/2006/relationships/image" Target="../media/image33.jpeg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Relationship Id="rId2" Type="http://schemas.openxmlformats.org/officeDocument/2006/relationships/image" Target="../media/image29.jpe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Relationship Id="rId2" Type="http://schemas.openxmlformats.org/officeDocument/2006/relationships/image" Target="../media/image34.jpeg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Relationship Id="rId2" Type="http://schemas.openxmlformats.org/officeDocument/2006/relationships/image" Target="../media/image26.jpeg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Relationship Id="rId2" Type="http://schemas.openxmlformats.org/officeDocument/2006/relationships/image" Target="../media/image35.png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Relationship Id="rId2" Type="http://schemas.openxmlformats.org/officeDocument/2006/relationships/image" Target="../media/image29.jpeg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Relationship Id="rId2" Type="http://schemas.openxmlformats.org/officeDocument/2006/relationships/image" Target="../media/image36.jpeg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Relationship Id="rId2" Type="http://schemas.openxmlformats.org/officeDocument/2006/relationships/image" Target="../media/image33.jpeg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Relationship Id="rId2" Type="http://schemas.openxmlformats.org/officeDocument/2006/relationships/image" Target="../media/image37.jpeg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4" Type="http://schemas.openxmlformats.org/officeDocument/2006/relationships/image" Target="../media/image39.png"/><Relationship Id="rId5" Type="http://schemas.openxmlformats.org/officeDocument/2006/relationships/image" Target="../media/image40.png"/><Relationship Id="rId1" Type="http://schemas.openxmlformats.org/officeDocument/2006/relationships/tags" Target="../tags/tag2.xml"/><Relationship Id="rId2" Type="http://schemas.openxmlformats.org/officeDocument/2006/relationships/slideMaster" Target="../slideMasters/slideMaster10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Relationship Id="rId2" Type="http://schemas.openxmlformats.org/officeDocument/2006/relationships/image" Target="../media/image41.png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Relationship Id="rId2" Type="http://schemas.openxmlformats.org/officeDocument/2006/relationships/image" Target="../media/image36.jpeg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Relationship Id="rId2" Type="http://schemas.openxmlformats.org/officeDocument/2006/relationships/image" Target="../media/image42.png"/><Relationship Id="rId3" Type="http://schemas.openxmlformats.org/officeDocument/2006/relationships/image" Target="../media/image43.png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Relationship Id="rId2" Type="http://schemas.openxmlformats.org/officeDocument/2006/relationships/image" Target="../media/image44.png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4" Type="http://schemas.openxmlformats.org/officeDocument/2006/relationships/tags" Target="../tags/tag5.xml"/><Relationship Id="rId5" Type="http://schemas.openxmlformats.org/officeDocument/2006/relationships/tags" Target="../tags/tag6.xml"/><Relationship Id="rId6" Type="http://schemas.openxmlformats.org/officeDocument/2006/relationships/tags" Target="../tags/tag7.xml"/><Relationship Id="rId7" Type="http://schemas.openxmlformats.org/officeDocument/2006/relationships/tags" Target="../tags/tag8.xml"/><Relationship Id="rId8" Type="http://schemas.openxmlformats.org/officeDocument/2006/relationships/tags" Target="../tags/tag9.xml"/><Relationship Id="rId9" Type="http://schemas.openxmlformats.org/officeDocument/2006/relationships/slideMaster" Target="../slideMasters/slideMaster10.xml"/><Relationship Id="rId10" Type="http://schemas.openxmlformats.org/officeDocument/2006/relationships/oleObject" Target="../embeddings/oleObject1.bin"/><Relationship Id="rId11" Type="http://schemas.openxmlformats.org/officeDocument/2006/relationships/image" Target="../media/image45.emf"/><Relationship Id="rId1" Type="http://schemas.openxmlformats.org/officeDocument/2006/relationships/vmlDrawing" Target="../drawings/vmlDrawing1.vml"/><Relationship Id="rId2" Type="http://schemas.openxmlformats.org/officeDocument/2006/relationships/tags" Target="../tags/tag3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4" Type="http://schemas.openxmlformats.org/officeDocument/2006/relationships/slideMaster" Target="../slideMasters/slideMaster10.xml"/><Relationship Id="rId5" Type="http://schemas.openxmlformats.org/officeDocument/2006/relationships/oleObject" Target="../embeddings/oleObject2.bin"/><Relationship Id="rId6" Type="http://schemas.openxmlformats.org/officeDocument/2006/relationships/image" Target="../media/image45.emf"/><Relationship Id="rId1" Type="http://schemas.openxmlformats.org/officeDocument/2006/relationships/vmlDrawing" Target="../drawings/vmlDrawing2.vml"/><Relationship Id="rId2" Type="http://schemas.openxmlformats.org/officeDocument/2006/relationships/tags" Target="../tags/tag10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45.emf"/><Relationship Id="rId1" Type="http://schemas.openxmlformats.org/officeDocument/2006/relationships/vmlDrawing" Target="../drawings/vmlDrawing3.vml"/><Relationship Id="rId2" Type="http://schemas.openxmlformats.org/officeDocument/2006/relationships/tags" Target="../tags/tag12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image" Target="../media/image46.jpeg"/><Relationship Id="rId1" Type="http://schemas.openxmlformats.org/officeDocument/2006/relationships/tags" Target="../tags/tag13.xml"/><Relationship Id="rId2" Type="http://schemas.openxmlformats.org/officeDocument/2006/relationships/tags" Target="../tags/tag1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4" Type="http://schemas.openxmlformats.org/officeDocument/2006/relationships/tags" Target="../tags/tag17.xml"/><Relationship Id="rId5" Type="http://schemas.openxmlformats.org/officeDocument/2006/relationships/slideMaster" Target="../slideMasters/slideMaster10.xml"/><Relationship Id="rId6" Type="http://schemas.openxmlformats.org/officeDocument/2006/relationships/oleObject" Target="../embeddings/oleObject4.bin"/><Relationship Id="rId7" Type="http://schemas.openxmlformats.org/officeDocument/2006/relationships/image" Target="../media/image45.emf"/><Relationship Id="rId1" Type="http://schemas.openxmlformats.org/officeDocument/2006/relationships/vmlDrawing" Target="../drawings/vmlDrawing4.vml"/><Relationship Id="rId2" Type="http://schemas.openxmlformats.org/officeDocument/2006/relationships/tags" Target="../tags/tag15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4" Type="http://schemas.openxmlformats.org/officeDocument/2006/relationships/tags" Target="../tags/tag20.xml"/><Relationship Id="rId5" Type="http://schemas.openxmlformats.org/officeDocument/2006/relationships/slideMaster" Target="../slideMasters/slideMaster10.xml"/><Relationship Id="rId6" Type="http://schemas.openxmlformats.org/officeDocument/2006/relationships/oleObject" Target="../embeddings/oleObject5.bin"/><Relationship Id="rId7" Type="http://schemas.openxmlformats.org/officeDocument/2006/relationships/image" Target="../media/image45.emf"/><Relationship Id="rId1" Type="http://schemas.openxmlformats.org/officeDocument/2006/relationships/vmlDrawing" Target="../drawings/vmlDrawing5.vml"/><Relationship Id="rId2" Type="http://schemas.openxmlformats.org/officeDocument/2006/relationships/tags" Target="../tags/tag18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4" Type="http://schemas.openxmlformats.org/officeDocument/2006/relationships/tags" Target="../tags/tag25.xml"/><Relationship Id="rId5" Type="http://schemas.openxmlformats.org/officeDocument/2006/relationships/tags" Target="../tags/tag26.xml"/><Relationship Id="rId6" Type="http://schemas.openxmlformats.org/officeDocument/2006/relationships/slideMaster" Target="../slideMasters/slideMaster11.xml"/><Relationship Id="rId7" Type="http://schemas.openxmlformats.org/officeDocument/2006/relationships/image" Target="../media/image49.jpeg"/><Relationship Id="rId8" Type="http://schemas.openxmlformats.org/officeDocument/2006/relationships/image" Target="../media/image50.png"/><Relationship Id="rId9" Type="http://schemas.openxmlformats.org/officeDocument/2006/relationships/image" Target="../media/image51.emf"/><Relationship Id="rId10" Type="http://schemas.openxmlformats.org/officeDocument/2006/relationships/image" Target="../media/image52.jpeg"/><Relationship Id="rId1" Type="http://schemas.openxmlformats.org/officeDocument/2006/relationships/tags" Target="../tags/tag22.xml"/><Relationship Id="rId2" Type="http://schemas.openxmlformats.org/officeDocument/2006/relationships/tags" Target="../tags/tag23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image" Target="../media/image53.jpeg"/><Relationship Id="rId5" Type="http://schemas.openxmlformats.org/officeDocument/2006/relationships/image" Target="../media/image46.jpeg"/><Relationship Id="rId6" Type="http://schemas.openxmlformats.org/officeDocument/2006/relationships/image" Target="../media/image47.jpeg"/><Relationship Id="rId7" Type="http://schemas.openxmlformats.org/officeDocument/2006/relationships/image" Target="../media/image48.png"/><Relationship Id="rId1" Type="http://schemas.openxmlformats.org/officeDocument/2006/relationships/tags" Target="../tags/tag27.xml"/><Relationship Id="rId2" Type="http://schemas.openxmlformats.org/officeDocument/2006/relationships/tags" Target="../tags/tag28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7.xml.rels><?xml version="1.0" encoding="UTF-8" standalone="yes"?>
<Relationships xmlns="http://schemas.openxmlformats.org/package/2006/relationships"><Relationship Id="rId11" Type="http://schemas.openxmlformats.org/officeDocument/2006/relationships/image" Target="../media/image55.png"/><Relationship Id="rId12" Type="http://schemas.openxmlformats.org/officeDocument/2006/relationships/image" Target="../media/image56.png"/><Relationship Id="rId1" Type="http://schemas.openxmlformats.org/officeDocument/2006/relationships/vmlDrawing" Target="../drawings/vmlDrawing6.vml"/><Relationship Id="rId2" Type="http://schemas.openxmlformats.org/officeDocument/2006/relationships/tags" Target="../tags/tag29.xml"/><Relationship Id="rId3" Type="http://schemas.openxmlformats.org/officeDocument/2006/relationships/tags" Target="../tags/tag30.xml"/><Relationship Id="rId4" Type="http://schemas.openxmlformats.org/officeDocument/2006/relationships/tags" Target="../tags/tag31.xml"/><Relationship Id="rId5" Type="http://schemas.openxmlformats.org/officeDocument/2006/relationships/tags" Target="../tags/tag32.xml"/><Relationship Id="rId6" Type="http://schemas.openxmlformats.org/officeDocument/2006/relationships/tags" Target="../tags/tag33.xml"/><Relationship Id="rId7" Type="http://schemas.openxmlformats.org/officeDocument/2006/relationships/slideMaster" Target="../slideMasters/slideMaster11.xml"/><Relationship Id="rId8" Type="http://schemas.openxmlformats.org/officeDocument/2006/relationships/image" Target="../media/image54.jpeg"/><Relationship Id="rId9" Type="http://schemas.openxmlformats.org/officeDocument/2006/relationships/oleObject" Target="../embeddings/oleObject6.bin"/><Relationship Id="rId10" Type="http://schemas.openxmlformats.org/officeDocument/2006/relationships/image" Target="../media/image45.emf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4" Type="http://schemas.openxmlformats.org/officeDocument/2006/relationships/tags" Target="../tags/tag36.xml"/><Relationship Id="rId5" Type="http://schemas.openxmlformats.org/officeDocument/2006/relationships/slideMaster" Target="../slideMasters/slideMaster11.xml"/><Relationship Id="rId6" Type="http://schemas.openxmlformats.org/officeDocument/2006/relationships/oleObject" Target="../embeddings/oleObject7.bin"/><Relationship Id="rId7" Type="http://schemas.openxmlformats.org/officeDocument/2006/relationships/image" Target="../media/image45.emf"/><Relationship Id="rId1" Type="http://schemas.openxmlformats.org/officeDocument/2006/relationships/vmlDrawing" Target="../drawings/vmlDrawing7.vml"/><Relationship Id="rId2" Type="http://schemas.openxmlformats.org/officeDocument/2006/relationships/tags" Target="../tags/tag34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4" Type="http://schemas.openxmlformats.org/officeDocument/2006/relationships/tags" Target="../tags/tag39.xml"/><Relationship Id="rId5" Type="http://schemas.openxmlformats.org/officeDocument/2006/relationships/tags" Target="../tags/tag40.xml"/><Relationship Id="rId6" Type="http://schemas.openxmlformats.org/officeDocument/2006/relationships/slideMaster" Target="../slideMasters/slideMaster11.xml"/><Relationship Id="rId7" Type="http://schemas.openxmlformats.org/officeDocument/2006/relationships/oleObject" Target="../embeddings/oleObject8.bin"/><Relationship Id="rId8" Type="http://schemas.openxmlformats.org/officeDocument/2006/relationships/image" Target="../media/image45.emf"/><Relationship Id="rId1" Type="http://schemas.openxmlformats.org/officeDocument/2006/relationships/vmlDrawing" Target="../drawings/vmlDrawing8.vml"/><Relationship Id="rId2" Type="http://schemas.openxmlformats.org/officeDocument/2006/relationships/tags" Target="../tags/tag37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4" Type="http://schemas.openxmlformats.org/officeDocument/2006/relationships/tags" Target="../tags/tag45.xml"/><Relationship Id="rId5" Type="http://schemas.openxmlformats.org/officeDocument/2006/relationships/tags" Target="../tags/tag46.xml"/><Relationship Id="rId6" Type="http://schemas.openxmlformats.org/officeDocument/2006/relationships/slideMaster" Target="../slideMasters/slideMaster12.xml"/><Relationship Id="rId7" Type="http://schemas.openxmlformats.org/officeDocument/2006/relationships/image" Target="../media/image49.jpeg"/><Relationship Id="rId8" Type="http://schemas.openxmlformats.org/officeDocument/2006/relationships/image" Target="../media/image50.png"/><Relationship Id="rId9" Type="http://schemas.openxmlformats.org/officeDocument/2006/relationships/image" Target="../media/image51.emf"/><Relationship Id="rId10" Type="http://schemas.openxmlformats.org/officeDocument/2006/relationships/image" Target="../media/image52.jpeg"/><Relationship Id="rId1" Type="http://schemas.openxmlformats.org/officeDocument/2006/relationships/tags" Target="../tags/tag42.xml"/><Relationship Id="rId2" Type="http://schemas.openxmlformats.org/officeDocument/2006/relationships/tags" Target="../tags/tag43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image" Target="../media/image53.jpeg"/><Relationship Id="rId5" Type="http://schemas.openxmlformats.org/officeDocument/2006/relationships/image" Target="../media/image46.jpeg"/><Relationship Id="rId6" Type="http://schemas.openxmlformats.org/officeDocument/2006/relationships/image" Target="../media/image47.jpeg"/><Relationship Id="rId7" Type="http://schemas.openxmlformats.org/officeDocument/2006/relationships/image" Target="../media/image48.png"/><Relationship Id="rId1" Type="http://schemas.openxmlformats.org/officeDocument/2006/relationships/tags" Target="../tags/tag47.xml"/><Relationship Id="rId2" Type="http://schemas.openxmlformats.org/officeDocument/2006/relationships/tags" Target="../tags/tag48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4" Type="http://schemas.openxmlformats.org/officeDocument/2006/relationships/tags" Target="../tags/tag51.xml"/><Relationship Id="rId5" Type="http://schemas.openxmlformats.org/officeDocument/2006/relationships/slideMaster" Target="../slideMasters/slideMaster12.xml"/><Relationship Id="rId6" Type="http://schemas.openxmlformats.org/officeDocument/2006/relationships/oleObject" Target="../embeddings/oleObject9.bin"/><Relationship Id="rId7" Type="http://schemas.openxmlformats.org/officeDocument/2006/relationships/image" Target="../media/image45.emf"/><Relationship Id="rId1" Type="http://schemas.openxmlformats.org/officeDocument/2006/relationships/vmlDrawing" Target="../drawings/vmlDrawing9.vml"/><Relationship Id="rId2" Type="http://schemas.openxmlformats.org/officeDocument/2006/relationships/tags" Target="../tags/tag49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45.emf"/><Relationship Id="rId1" Type="http://schemas.openxmlformats.org/officeDocument/2006/relationships/vmlDrawing" Target="../drawings/vmlDrawing10.vml"/><Relationship Id="rId2" Type="http://schemas.openxmlformats.org/officeDocument/2006/relationships/tags" Target="../tags/tag52.xml"/></Relationships>
</file>

<file path=ppt/slideLayouts/_rels/slideLayout189.xml.rels><?xml version="1.0" encoding="UTF-8" standalone="yes"?>
<Relationships xmlns="http://schemas.openxmlformats.org/package/2006/relationships"><Relationship Id="rId11" Type="http://schemas.openxmlformats.org/officeDocument/2006/relationships/image" Target="../media/image57.png"/><Relationship Id="rId12" Type="http://schemas.openxmlformats.org/officeDocument/2006/relationships/oleObject" Target="../embeddings/oleObject12.bin"/><Relationship Id="rId1" Type="http://schemas.openxmlformats.org/officeDocument/2006/relationships/vmlDrawing" Target="../drawings/vmlDrawing11.vml"/><Relationship Id="rId2" Type="http://schemas.openxmlformats.org/officeDocument/2006/relationships/tags" Target="../tags/tag53.xml"/><Relationship Id="rId3" Type="http://schemas.openxmlformats.org/officeDocument/2006/relationships/tags" Target="../tags/tag54.xml"/><Relationship Id="rId4" Type="http://schemas.openxmlformats.org/officeDocument/2006/relationships/tags" Target="../tags/tag55.xml"/><Relationship Id="rId5" Type="http://schemas.openxmlformats.org/officeDocument/2006/relationships/tags" Target="../tags/tag56.xml"/><Relationship Id="rId6" Type="http://schemas.openxmlformats.org/officeDocument/2006/relationships/tags" Target="../tags/tag57.xml"/><Relationship Id="rId7" Type="http://schemas.openxmlformats.org/officeDocument/2006/relationships/tags" Target="../tags/tag58.xml"/><Relationship Id="rId8" Type="http://schemas.openxmlformats.org/officeDocument/2006/relationships/slideMaster" Target="../slideMasters/slideMaster12.xml"/><Relationship Id="rId9" Type="http://schemas.openxmlformats.org/officeDocument/2006/relationships/oleObject" Target="../embeddings/oleObject11.bin"/><Relationship Id="rId10" Type="http://schemas.openxmlformats.org/officeDocument/2006/relationships/image" Target="../media/image45.emf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4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jpe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6.pn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Relationship Id="rId3" Type="http://schemas.openxmlformats.org/officeDocument/2006/relationships/image" Target="../media/image5.pn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6.png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6.png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8.jpeg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9.jpe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4" Type="http://schemas.openxmlformats.org/officeDocument/2006/relationships/image" Target="../media/image12.png"/><Relationship Id="rId5" Type="http://schemas.openxmlformats.org/officeDocument/2006/relationships/image" Target="../media/image13.png"/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10.jpeg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4" Type="http://schemas.openxmlformats.org/officeDocument/2006/relationships/image" Target="../media/image16.png"/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14.jpe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8.png"/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14.jpe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4" Type="http://schemas.openxmlformats.org/officeDocument/2006/relationships/image" Target="../media/image20.png"/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14.jpeg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6.png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864493" y="989120"/>
            <a:ext cx="7993062" cy="720080"/>
          </a:xfrm>
          <a:prstGeom prst="rect">
            <a:avLst/>
          </a:prstGeom>
        </p:spPr>
        <p:txBody>
          <a:bodyPr/>
          <a:lstStyle>
            <a:lvl1pPr marL="385445" marR="0" indent="-385445" algn="l" defTabSz="102806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4000" b="1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pPr marL="385445" marR="0" lvl="0" indent="-385445" algn="l" defTabSz="102806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kumimoji="1" lang="zh-CN" altLang="en-US" dirty="0"/>
              <a:t>单</a:t>
            </a:r>
            <a:r>
              <a:rPr kumimoji="1" lang="zh-CN" alt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雪球</a:t>
            </a:r>
          </a:p>
          <a:p>
            <a:pPr marL="385445" marR="0" lvl="0" indent="-385445" algn="l" defTabSz="102806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kumimoji="1" lang="zh-CN" altLang="en-US" dirty="0"/>
              <a:t>击此处添加标题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1" hasCustomPrompt="1"/>
          </p:nvPr>
        </p:nvSpPr>
        <p:spPr>
          <a:xfrm>
            <a:off x="864493" y="1727919"/>
            <a:ext cx="7343775" cy="50375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800" baseline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pPr marL="385445" marR="0" lvl="0" indent="-385445" algn="l" defTabSz="102806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kumimoji="1" lang="zh-CN" altLang="en-US" dirty="0"/>
              <a:t>单击此处编辑文字</a:t>
            </a:r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2" hasCustomPrompt="1"/>
          </p:nvPr>
        </p:nvSpPr>
        <p:spPr>
          <a:xfrm>
            <a:off x="864493" y="2827356"/>
            <a:ext cx="3167062" cy="28835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pPr marL="385445" marR="0" lvl="0" indent="-385445" algn="l" defTabSz="102806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kumimoji="1" lang="zh-CN" altLang="en-US" dirty="0"/>
              <a:t>年／月／日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93643" y="345009"/>
            <a:ext cx="9937790" cy="1252534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93643" y="1588543"/>
            <a:ext cx="4874378" cy="778521"/>
          </a:xfrm>
        </p:spPr>
        <p:txBody>
          <a:bodyPr anchor="b"/>
          <a:lstStyle>
            <a:lvl1pPr marL="0" indent="0">
              <a:buNone/>
              <a:defRPr sz="1135" b="1"/>
            </a:lvl1pPr>
            <a:lvl2pPr marL="215900" indent="0">
              <a:buNone/>
              <a:defRPr sz="945" b="1"/>
            </a:lvl2pPr>
            <a:lvl3pPr marL="431800" indent="0">
              <a:buNone/>
              <a:defRPr sz="850" b="1"/>
            </a:lvl3pPr>
            <a:lvl4pPr marL="648335" indent="0">
              <a:buNone/>
              <a:defRPr sz="755" b="1"/>
            </a:lvl4pPr>
            <a:lvl5pPr marL="864235" indent="0">
              <a:buNone/>
              <a:defRPr sz="755" b="1"/>
            </a:lvl5pPr>
            <a:lvl6pPr marL="1080135" indent="0">
              <a:buNone/>
              <a:defRPr sz="755" b="1"/>
            </a:lvl6pPr>
            <a:lvl7pPr marL="1296035" indent="0">
              <a:buNone/>
              <a:defRPr sz="755" b="1"/>
            </a:lvl7pPr>
            <a:lvl8pPr marL="1511935" indent="0">
              <a:buNone/>
              <a:defRPr sz="755" b="1"/>
            </a:lvl8pPr>
            <a:lvl9pPr marL="1728470" indent="0">
              <a:buNone/>
              <a:defRPr sz="755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793643" y="2367064"/>
            <a:ext cx="4874378" cy="3481594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5833051" y="1588543"/>
            <a:ext cx="4898382" cy="778521"/>
          </a:xfrm>
        </p:spPr>
        <p:txBody>
          <a:bodyPr anchor="b"/>
          <a:lstStyle>
            <a:lvl1pPr marL="0" indent="0">
              <a:buNone/>
              <a:defRPr sz="1135" b="1"/>
            </a:lvl1pPr>
            <a:lvl2pPr marL="215900" indent="0">
              <a:buNone/>
              <a:defRPr sz="945" b="1"/>
            </a:lvl2pPr>
            <a:lvl3pPr marL="431800" indent="0">
              <a:buNone/>
              <a:defRPr sz="850" b="1"/>
            </a:lvl3pPr>
            <a:lvl4pPr marL="648335" indent="0">
              <a:buNone/>
              <a:defRPr sz="755" b="1"/>
            </a:lvl4pPr>
            <a:lvl5pPr marL="864235" indent="0">
              <a:buNone/>
              <a:defRPr sz="755" b="1"/>
            </a:lvl5pPr>
            <a:lvl6pPr marL="1080135" indent="0">
              <a:buNone/>
              <a:defRPr sz="755" b="1"/>
            </a:lvl6pPr>
            <a:lvl7pPr marL="1296035" indent="0">
              <a:buNone/>
              <a:defRPr sz="755" b="1"/>
            </a:lvl7pPr>
            <a:lvl8pPr marL="1511935" indent="0">
              <a:buNone/>
              <a:defRPr sz="755" b="1"/>
            </a:lvl8pPr>
            <a:lvl9pPr marL="1728470" indent="0">
              <a:buNone/>
              <a:defRPr sz="755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5833051" y="2367064"/>
            <a:ext cx="4898382" cy="3481594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algn="ctr" defTabSz="387350" fontAlgn="base" hangingPunct="0">
              <a:spcBef>
                <a:spcPct val="0"/>
              </a:spcBef>
              <a:spcAft>
                <a:spcPct val="0"/>
              </a:spcAft>
            </a:pPr>
            <a:fld id="{52164DD9-A56A-4E5E-B5EC-2C23E3578251}" type="slidenum">
              <a:rPr lang="zh-CN" altLang="zh-CN" smtClean="0">
                <a:solidFill>
                  <a:srgbClr val="000000"/>
                </a:solidFill>
              </a:rPr>
              <a:t>‹#›</a:t>
            </a:fld>
            <a:endParaRPr lang="zh-CN" altLang="zh-CN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488027" y="388195"/>
            <a:ext cx="10522965" cy="1014002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88027" y="1402197"/>
            <a:ext cx="5068547" cy="4081289"/>
          </a:xfrm>
          <a:noFill/>
        </p:spPr>
        <p:txBody>
          <a:bodyPr/>
          <a:lstStyle>
            <a:lvl1pPr>
              <a:defRPr sz="2140"/>
            </a:lvl1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5941561" y="388195"/>
            <a:ext cx="5069356" cy="1014002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941531" y="1402197"/>
            <a:ext cx="5068547" cy="4081289"/>
          </a:xfrm>
          <a:noFill/>
        </p:spPr>
        <p:txBody>
          <a:bodyPr/>
          <a:lstStyle>
            <a:lvl1pPr>
              <a:defRPr sz="2140"/>
            </a:lvl1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488027" y="388195"/>
            <a:ext cx="10522965" cy="1014002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87951" y="1402197"/>
            <a:ext cx="2882696" cy="4081289"/>
          </a:xfrm>
          <a:noFill/>
        </p:spPr>
        <p:txBody>
          <a:bodyPr/>
          <a:lstStyle>
            <a:lvl1pPr>
              <a:defRPr sz="1890"/>
            </a:lvl1pPr>
            <a:lvl2pPr>
              <a:defRPr sz="1765"/>
            </a:lvl2pPr>
            <a:lvl3pPr>
              <a:defRPr sz="1510"/>
            </a:lvl3pPr>
            <a:lvl4pPr>
              <a:defRPr sz="1385"/>
            </a:lvl4pPr>
            <a:lvl5pPr>
              <a:defRPr sz="1385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488027" y="388195"/>
            <a:ext cx="10522965" cy="1014002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8293347" y="1402197"/>
            <a:ext cx="2706629" cy="4081289"/>
          </a:xfrm>
          <a:noFill/>
        </p:spPr>
        <p:txBody>
          <a:bodyPr/>
          <a:lstStyle>
            <a:lvl1pPr>
              <a:defRPr sz="1890"/>
            </a:lvl1pPr>
            <a:lvl2pPr>
              <a:defRPr sz="1765"/>
            </a:lvl2pPr>
            <a:lvl3pPr>
              <a:defRPr sz="1510"/>
            </a:lvl3pPr>
            <a:lvl4pPr>
              <a:defRPr sz="1385"/>
            </a:lvl4pPr>
            <a:lvl5pPr>
              <a:defRPr sz="1385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ellenplatzhalter 3"/>
          <p:cNvSpPr>
            <a:spLocks noGrp="1"/>
          </p:cNvSpPr>
          <p:nvPr>
            <p:ph type="tbl" sz="quarter" idx="14"/>
          </p:nvPr>
        </p:nvSpPr>
        <p:spPr>
          <a:xfrm>
            <a:off x="510159" y="1470091"/>
            <a:ext cx="10500257" cy="4014109"/>
          </a:xfrm>
          <a:noFill/>
        </p:spPr>
        <p:txBody>
          <a:bodyPr/>
          <a:lstStyle/>
          <a:p>
            <a:endParaRPr lang="de-DE" dirty="0"/>
          </a:p>
        </p:txBody>
      </p:sp>
      <p:sp>
        <p:nvSpPr>
          <p:cNvPr id="38" name="Titel 1"/>
          <p:cNvSpPr>
            <a:spLocks noGrp="1"/>
          </p:cNvSpPr>
          <p:nvPr>
            <p:ph type="title"/>
          </p:nvPr>
        </p:nvSpPr>
        <p:spPr>
          <a:xfrm>
            <a:off x="488027" y="388195"/>
            <a:ext cx="10522965" cy="1014002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11522075" cy="6480175"/>
          </a:xfrm>
          <a:prstGeom prst="rect">
            <a:avLst/>
          </a:prstGeom>
          <a:solidFill>
            <a:srgbClr val="D9D9D9"/>
          </a:solidFill>
          <a:ln w="12700">
            <a:noFill/>
            <a:round/>
          </a:ln>
        </p:spPr>
        <p:txBody>
          <a:bodyPr rot="0" spcFirstLastPara="0" vert="horz" wrap="square" lIns="85948" tIns="42973" rIns="85948" bIns="42973" numCol="1" spcCol="0" rtlCol="0" fromWordArt="0" anchor="ctr" anchorCtr="0" forceAA="0" compatLnSpc="1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270" dirty="0">
              <a:solidFill>
                <a:prstClr val="black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5" name="Inhaltsplatzhalter 2"/>
          <p:cNvSpPr>
            <a:spLocks noGrp="1"/>
          </p:cNvSpPr>
          <p:nvPr>
            <p:ph idx="1" hasCustomPrompt="1"/>
          </p:nvPr>
        </p:nvSpPr>
        <p:spPr>
          <a:xfrm>
            <a:off x="488027" y="1402197"/>
            <a:ext cx="10522965" cy="4081289"/>
          </a:xfrm>
          <a:noFill/>
        </p:spPr>
        <p:txBody>
          <a:bodyPr/>
          <a:lstStyle>
            <a:lvl1pPr>
              <a:defRPr sz="2140"/>
            </a:lvl1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11522075" cy="6480175"/>
          </a:xfrm>
          <a:prstGeom prst="rect">
            <a:avLst/>
          </a:prstGeom>
          <a:solidFill>
            <a:srgbClr val="262626"/>
          </a:solidFill>
          <a:ln w="12700">
            <a:noFill/>
            <a:round/>
          </a:ln>
        </p:spPr>
        <p:txBody>
          <a:bodyPr rot="0" spcFirstLastPara="0" vert="horz" wrap="square" lIns="85948" tIns="42973" rIns="85948" bIns="42973" numCol="1" spcCol="0" rtlCol="0" fromWordArt="0" anchor="ctr" anchorCtr="0" forceAA="0" compatLnSpc="1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270" dirty="0">
              <a:solidFill>
                <a:prstClr val="black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 hasCustomPrompt="1"/>
          </p:nvPr>
        </p:nvSpPr>
        <p:spPr>
          <a:xfrm>
            <a:off x="488027" y="1402197"/>
            <a:ext cx="10522965" cy="4081289"/>
          </a:xfrm>
          <a:noFill/>
        </p:spPr>
        <p:txBody>
          <a:bodyPr/>
          <a:lstStyle>
            <a:lvl1pPr>
              <a:defRPr sz="2140">
                <a:solidFill>
                  <a:srgbClr val="D9D9D9"/>
                </a:solidFill>
              </a:defRPr>
            </a:lvl1pPr>
            <a:lvl2pPr>
              <a:defRPr>
                <a:solidFill>
                  <a:srgbClr val="D9D9D9"/>
                </a:solidFill>
              </a:defRPr>
            </a:lvl2pPr>
            <a:lvl3pPr>
              <a:defRPr>
                <a:solidFill>
                  <a:srgbClr val="D9D9D9"/>
                </a:solidFill>
              </a:defRPr>
            </a:lvl3pPr>
            <a:lvl4pPr>
              <a:defRPr>
                <a:solidFill>
                  <a:srgbClr val="D9D9D9"/>
                </a:solidFill>
              </a:defRPr>
            </a:lvl4pPr>
            <a:lvl5pPr>
              <a:defRPr>
                <a:solidFill>
                  <a:srgbClr val="D9D9D9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0" y="0"/>
            <a:ext cx="11522075" cy="6480175"/>
          </a:xfrm>
          <a:prstGeom prst="rect">
            <a:avLst/>
          </a:prstGeom>
          <a:solidFill>
            <a:srgbClr val="C8303F"/>
          </a:solidFill>
          <a:ln w="15875" cap="flat">
            <a:noFill/>
            <a:prstDash val="solid"/>
            <a:miter lim="800000"/>
          </a:ln>
        </p:spPr>
        <p:txBody>
          <a:bodyPr vert="horz" wrap="square" lIns="85948" tIns="42973" rIns="85948" bIns="42973" numCol="1" anchor="t" anchorCtr="0" compatLnSpc="1"/>
          <a:lstStyle/>
          <a:p>
            <a:pPr defTabSz="858520"/>
            <a:endParaRPr lang="en-US" sz="1765" dirty="0">
              <a:solidFill>
                <a:prstClr val="black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 hasCustomPrompt="1"/>
          </p:nvPr>
        </p:nvSpPr>
        <p:spPr>
          <a:xfrm>
            <a:off x="488027" y="1402197"/>
            <a:ext cx="10522965" cy="4081289"/>
          </a:xfrm>
          <a:noFill/>
        </p:spPr>
        <p:txBody>
          <a:bodyPr/>
          <a:lstStyle>
            <a:lvl1pPr>
              <a:defRPr sz="2140">
                <a:solidFill>
                  <a:srgbClr val="DDDDDD"/>
                </a:solidFill>
              </a:defRPr>
            </a:lvl1pPr>
            <a:lvl2pPr>
              <a:defRPr>
                <a:solidFill>
                  <a:srgbClr val="DDDDDD"/>
                </a:solidFill>
              </a:defRPr>
            </a:lvl2pPr>
            <a:lvl3pPr>
              <a:defRPr>
                <a:solidFill>
                  <a:srgbClr val="DDDDDD"/>
                </a:solidFill>
              </a:defRPr>
            </a:lvl3pPr>
            <a:lvl4pPr>
              <a:defRPr>
                <a:solidFill>
                  <a:srgbClr val="DDDDDD"/>
                </a:solidFill>
              </a:defRPr>
            </a:lvl4pPr>
            <a:lvl5pPr>
              <a:defRPr>
                <a:solidFill>
                  <a:srgbClr val="DDDDDD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algn="ctr" defTabSz="387350" fontAlgn="base" hangingPunct="0">
              <a:spcBef>
                <a:spcPct val="0"/>
              </a:spcBef>
              <a:spcAft>
                <a:spcPct val="0"/>
              </a:spcAft>
            </a:pPr>
            <a:fld id="{4193BA03-628E-4226-A3EB-5B927830F402}" type="slidenum">
              <a:rPr lang="zh-CN" altLang="zh-CN" smtClean="0">
                <a:solidFill>
                  <a:srgbClr val="000000"/>
                </a:solidFill>
              </a:rPr>
              <a:t>‹#›</a:t>
            </a:fld>
            <a:endParaRPr lang="zh-CN" altLang="zh-CN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87949" y="890554"/>
            <a:ext cx="10522764" cy="511643"/>
          </a:xfrm>
        </p:spPr>
        <p:txBody>
          <a:bodyPr lIns="8099" anchor="t" anchorCtr="0"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2" y="0"/>
            <a:ext cx="11522072" cy="5483487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5875" cap="flat">
            <a:noFill/>
            <a:prstDash val="solid"/>
            <a:miter lim="800000"/>
          </a:ln>
        </p:spPr>
        <p:txBody>
          <a:bodyPr vert="horz" wrap="square" lIns="86220" tIns="43109" rIns="86220" bIns="43109" numCol="1" anchor="t" anchorCtr="0" compatLnSpc="1"/>
          <a:lstStyle/>
          <a:p>
            <a:pPr defTabSz="861695"/>
            <a:endParaRPr lang="de-DE" sz="1765" dirty="0">
              <a:solidFill>
                <a:prstClr val="black"/>
              </a:solidFill>
            </a:endParaRPr>
          </a:p>
        </p:txBody>
      </p:sp>
      <p:sp>
        <p:nvSpPr>
          <p:cNvPr id="9" name="Rechteck 8"/>
          <p:cNvSpPr/>
          <p:nvPr userDrawn="1"/>
        </p:nvSpPr>
        <p:spPr bwMode="auto">
          <a:xfrm flipV="1">
            <a:off x="2" y="5483487"/>
            <a:ext cx="11522072" cy="996688"/>
          </a:xfrm>
          <a:prstGeom prst="rect">
            <a:avLst/>
          </a:prstGeom>
          <a:solidFill>
            <a:srgbClr val="EAEAEA"/>
          </a:solidFill>
          <a:ln w="15875" cap="flat">
            <a:noFill/>
            <a:prstDash val="solid"/>
            <a:miter lim="800000"/>
          </a:ln>
        </p:spPr>
        <p:txBody>
          <a:bodyPr vert="horz" wrap="square" lIns="86220" tIns="43109" rIns="86220" bIns="43109" numCol="1" anchor="t" anchorCtr="0" compatLnSpc="1"/>
          <a:lstStyle/>
          <a:p>
            <a:pPr defTabSz="861695"/>
            <a:endParaRPr lang="de-DE" sz="1765" dirty="0">
              <a:solidFill>
                <a:prstClr val="black"/>
              </a:solidFill>
            </a:endParaRPr>
          </a:p>
        </p:txBody>
      </p:sp>
      <p:sp>
        <p:nvSpPr>
          <p:cNvPr id="6" name="Textfeld 5"/>
          <p:cNvSpPr txBox="1"/>
          <p:nvPr userDrawn="1"/>
        </p:nvSpPr>
        <p:spPr>
          <a:xfrm>
            <a:off x="-98746" y="-2011936"/>
            <a:ext cx="174203" cy="358553"/>
          </a:xfrm>
          <a:prstGeom prst="rect">
            <a:avLst/>
          </a:prstGeom>
          <a:noFill/>
        </p:spPr>
        <p:txBody>
          <a:bodyPr wrap="none" lIns="86227" tIns="43113" rIns="86227" bIns="43113" rtlCol="0">
            <a:spAutoFit/>
          </a:bodyPr>
          <a:lstStyle/>
          <a:p>
            <a:pPr defTabSz="861695"/>
            <a:endParaRPr lang="en-US" sz="1765" dirty="0">
              <a:solidFill>
                <a:prstClr val="black"/>
              </a:solidFill>
            </a:endParaRP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987118" y="29"/>
            <a:ext cx="9547841" cy="3535316"/>
          </a:xfrm>
        </p:spPr>
        <p:txBody>
          <a:bodyPr anchor="b" anchorCtr="0">
            <a:noAutofit/>
          </a:bodyPr>
          <a:lstStyle>
            <a:lvl1pPr algn="l">
              <a:lnSpc>
                <a:spcPct val="80000"/>
              </a:lnSpc>
              <a:defRPr sz="8315" b="0" cap="all">
                <a:solidFill>
                  <a:schemeClr val="bg1"/>
                </a:solidFill>
                <a:latin typeface="Bebas Neue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987118" y="3535347"/>
            <a:ext cx="9547841" cy="1948171"/>
          </a:xfrm>
        </p:spPr>
        <p:txBody>
          <a:bodyPr anchor="t" anchorCtr="0"/>
          <a:lstStyle>
            <a:lvl1pPr marL="0" indent="0">
              <a:lnSpc>
                <a:spcPct val="80000"/>
              </a:lnSpc>
              <a:buNone/>
              <a:defRPr sz="4160">
                <a:solidFill>
                  <a:srgbClr val="B2B2B2"/>
                </a:solidFill>
              </a:defRPr>
            </a:lvl1pPr>
            <a:lvl2pPr marL="431165" indent="0">
              <a:buNone/>
              <a:defRPr sz="1765">
                <a:solidFill>
                  <a:schemeClr val="tx1">
                    <a:tint val="75000"/>
                  </a:schemeClr>
                </a:solidFill>
              </a:defRPr>
            </a:lvl2pPr>
            <a:lvl3pPr marL="862330" indent="0">
              <a:buNone/>
              <a:defRPr sz="1510">
                <a:solidFill>
                  <a:schemeClr val="tx1">
                    <a:tint val="75000"/>
                  </a:schemeClr>
                </a:solidFill>
              </a:defRPr>
            </a:lvl3pPr>
            <a:lvl4pPr marL="129286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4pPr>
            <a:lvl5pPr marL="1724025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5pPr>
            <a:lvl6pPr marL="215519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6pPr>
            <a:lvl7pPr marL="2586355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7pPr>
            <a:lvl8pPr marL="3016885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8pPr>
            <a:lvl9pPr marL="344805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682564" y="5813601"/>
            <a:ext cx="6454429" cy="34016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487949" y="5813601"/>
            <a:ext cx="864181" cy="340167"/>
          </a:xfrm>
        </p:spPr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 flipV="1">
            <a:off x="2" y="5483487"/>
            <a:ext cx="11522072" cy="996688"/>
          </a:xfrm>
          <a:prstGeom prst="rect">
            <a:avLst/>
          </a:prstGeom>
          <a:solidFill>
            <a:srgbClr val="EAEAEA"/>
          </a:solidFill>
          <a:ln w="15875" cap="flat">
            <a:noFill/>
            <a:prstDash val="solid"/>
            <a:miter lim="800000"/>
          </a:ln>
        </p:spPr>
        <p:txBody>
          <a:bodyPr vert="horz" wrap="square" lIns="86220" tIns="43109" rIns="86220" bIns="43109" numCol="1" anchor="t" anchorCtr="0" compatLnSpc="1"/>
          <a:lstStyle/>
          <a:p>
            <a:pPr defTabSz="861695"/>
            <a:endParaRPr lang="de-DE" sz="1765" dirty="0">
              <a:solidFill>
                <a:prstClr val="black"/>
              </a:solidFill>
            </a:endParaRPr>
          </a:p>
        </p:txBody>
      </p:sp>
      <p:sp>
        <p:nvSpPr>
          <p:cNvPr id="9" name="Rechteck 8"/>
          <p:cNvSpPr/>
          <p:nvPr userDrawn="1"/>
        </p:nvSpPr>
        <p:spPr bwMode="auto">
          <a:xfrm>
            <a:off x="2" y="0"/>
            <a:ext cx="11522072" cy="5483487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5875" cap="flat">
            <a:noFill/>
            <a:prstDash val="solid"/>
            <a:miter lim="800000"/>
          </a:ln>
        </p:spPr>
        <p:txBody>
          <a:bodyPr vert="horz" wrap="square" lIns="86220" tIns="43109" rIns="86220" bIns="43109" numCol="1" anchor="t" anchorCtr="0" compatLnSpc="1"/>
          <a:lstStyle/>
          <a:p>
            <a:pPr defTabSz="861695"/>
            <a:endParaRPr lang="de-DE" sz="1765" dirty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>
          <a:xfrm>
            <a:off x="987118" y="29"/>
            <a:ext cx="9547841" cy="3535316"/>
          </a:xfrm>
        </p:spPr>
        <p:txBody>
          <a:bodyPr anchor="b" anchorCtr="0">
            <a:noAutofit/>
          </a:bodyPr>
          <a:lstStyle>
            <a:lvl1pPr algn="ctr">
              <a:lnSpc>
                <a:spcPct val="80000"/>
              </a:lnSpc>
              <a:defRPr sz="8315" b="0" cap="all">
                <a:solidFill>
                  <a:schemeClr val="bg1"/>
                </a:solidFill>
                <a:latin typeface="Bebas Neue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987118" y="3535347"/>
            <a:ext cx="9547841" cy="1948171"/>
          </a:xfrm>
        </p:spPr>
        <p:txBody>
          <a:bodyPr anchor="t" anchorCtr="0"/>
          <a:lstStyle>
            <a:lvl1pPr marL="0" indent="0" algn="ctr">
              <a:lnSpc>
                <a:spcPct val="80000"/>
              </a:lnSpc>
              <a:buNone/>
              <a:defRPr sz="4160">
                <a:solidFill>
                  <a:srgbClr val="B2B2B2"/>
                </a:solidFill>
              </a:defRPr>
            </a:lvl1pPr>
            <a:lvl2pPr marL="431165" indent="0">
              <a:buNone/>
              <a:defRPr sz="1765">
                <a:solidFill>
                  <a:schemeClr val="tx1">
                    <a:tint val="75000"/>
                  </a:schemeClr>
                </a:solidFill>
              </a:defRPr>
            </a:lvl2pPr>
            <a:lvl3pPr marL="862330" indent="0">
              <a:buNone/>
              <a:defRPr sz="1510">
                <a:solidFill>
                  <a:schemeClr val="tx1">
                    <a:tint val="75000"/>
                  </a:schemeClr>
                </a:solidFill>
              </a:defRPr>
            </a:lvl3pPr>
            <a:lvl4pPr marL="129286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4pPr>
            <a:lvl5pPr marL="1724025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5pPr>
            <a:lvl6pPr marL="215519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6pPr>
            <a:lvl7pPr marL="2586355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7pPr>
            <a:lvl8pPr marL="3016885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8pPr>
            <a:lvl9pPr marL="344805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 flipV="1">
            <a:off x="2" y="5483487"/>
            <a:ext cx="11522072" cy="996688"/>
          </a:xfrm>
          <a:prstGeom prst="rect">
            <a:avLst/>
          </a:prstGeom>
          <a:solidFill>
            <a:srgbClr val="EAEAEA"/>
          </a:solidFill>
          <a:ln w="15875" cap="flat">
            <a:noFill/>
            <a:prstDash val="solid"/>
            <a:miter lim="800000"/>
          </a:ln>
        </p:spPr>
        <p:txBody>
          <a:bodyPr vert="horz" wrap="square" lIns="86220" tIns="43109" rIns="86220" bIns="43109" numCol="1" anchor="t" anchorCtr="0" compatLnSpc="1"/>
          <a:lstStyle/>
          <a:p>
            <a:pPr defTabSz="861695"/>
            <a:endParaRPr lang="de-DE" sz="1765" dirty="0">
              <a:solidFill>
                <a:prstClr val="black"/>
              </a:solidFill>
            </a:endParaRPr>
          </a:p>
        </p:txBody>
      </p:sp>
      <p:sp>
        <p:nvSpPr>
          <p:cNvPr id="9" name="Rechteck 8"/>
          <p:cNvSpPr/>
          <p:nvPr userDrawn="1"/>
        </p:nvSpPr>
        <p:spPr bwMode="auto">
          <a:xfrm>
            <a:off x="2" y="0"/>
            <a:ext cx="11522072" cy="5483487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5875" cap="flat">
            <a:noFill/>
            <a:prstDash val="solid"/>
            <a:miter lim="800000"/>
          </a:ln>
        </p:spPr>
        <p:txBody>
          <a:bodyPr vert="horz" wrap="square" lIns="86220" tIns="43109" rIns="86220" bIns="43109" numCol="1" anchor="t" anchorCtr="0" compatLnSpc="1"/>
          <a:lstStyle/>
          <a:p>
            <a:pPr defTabSz="861695"/>
            <a:endParaRPr lang="de-DE" sz="1765" dirty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>
          <a:xfrm>
            <a:off x="987118" y="19"/>
            <a:ext cx="9547841" cy="3069406"/>
          </a:xfrm>
        </p:spPr>
        <p:txBody>
          <a:bodyPr anchor="b" anchorCtr="0">
            <a:noAutofit/>
          </a:bodyPr>
          <a:lstStyle>
            <a:lvl1pPr algn="ctr">
              <a:lnSpc>
                <a:spcPct val="80000"/>
              </a:lnSpc>
              <a:defRPr sz="8315" b="0" cap="all">
                <a:solidFill>
                  <a:schemeClr val="bg1"/>
                </a:solidFill>
                <a:latin typeface="Bebas Neue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987118" y="3069405"/>
            <a:ext cx="9547841" cy="2414082"/>
          </a:xfrm>
        </p:spPr>
        <p:txBody>
          <a:bodyPr anchor="t" anchorCtr="0"/>
          <a:lstStyle>
            <a:lvl1pPr marL="0" indent="0" algn="ctr">
              <a:lnSpc>
                <a:spcPct val="80000"/>
              </a:lnSpc>
              <a:buNone/>
              <a:defRPr sz="4160">
                <a:solidFill>
                  <a:srgbClr val="B2B2B2"/>
                </a:solidFill>
              </a:defRPr>
            </a:lvl1pPr>
            <a:lvl2pPr marL="431165" indent="0">
              <a:buNone/>
              <a:defRPr sz="1765">
                <a:solidFill>
                  <a:schemeClr val="tx1">
                    <a:tint val="75000"/>
                  </a:schemeClr>
                </a:solidFill>
              </a:defRPr>
            </a:lvl2pPr>
            <a:lvl3pPr marL="862330" indent="0">
              <a:buNone/>
              <a:defRPr sz="1510">
                <a:solidFill>
                  <a:schemeClr val="tx1">
                    <a:tint val="75000"/>
                  </a:schemeClr>
                </a:solidFill>
              </a:defRPr>
            </a:lvl3pPr>
            <a:lvl4pPr marL="129286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4pPr>
            <a:lvl5pPr marL="1724025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5pPr>
            <a:lvl6pPr marL="215519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6pPr>
            <a:lvl7pPr marL="2586355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7pPr>
            <a:lvl8pPr marL="3016885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8pPr>
            <a:lvl9pPr marL="344805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87981" y="1402197"/>
            <a:ext cx="10522965" cy="4081289"/>
          </a:xfrm>
          <a:noFill/>
        </p:spPr>
        <p:txBody>
          <a:bodyPr/>
          <a:lstStyle>
            <a:lvl1pPr>
              <a:defRPr sz="2140"/>
            </a:lvl1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38" name="Titel 1"/>
          <p:cNvSpPr>
            <a:spLocks noGrp="1"/>
          </p:cNvSpPr>
          <p:nvPr>
            <p:ph type="title"/>
          </p:nvPr>
        </p:nvSpPr>
        <p:spPr>
          <a:xfrm>
            <a:off x="487981" y="388195"/>
            <a:ext cx="10522965" cy="1014002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487981" y="388195"/>
            <a:ext cx="10522965" cy="1014002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87949" y="1402197"/>
            <a:ext cx="6886685" cy="4081289"/>
          </a:xfrm>
          <a:noFill/>
        </p:spPr>
        <p:txBody>
          <a:bodyPr/>
          <a:lstStyle>
            <a:lvl1pPr>
              <a:defRPr sz="2140"/>
            </a:lvl1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487981" y="388195"/>
            <a:ext cx="10522965" cy="1014002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87982" y="1402197"/>
            <a:ext cx="5068547" cy="4081289"/>
          </a:xfrm>
          <a:noFill/>
        </p:spPr>
        <p:txBody>
          <a:bodyPr/>
          <a:lstStyle>
            <a:lvl1pPr>
              <a:defRPr sz="2140"/>
            </a:lvl1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5941561" y="388195"/>
            <a:ext cx="5069356" cy="1014002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941485" y="1402197"/>
            <a:ext cx="5068547" cy="4081289"/>
          </a:xfrm>
          <a:noFill/>
        </p:spPr>
        <p:txBody>
          <a:bodyPr/>
          <a:lstStyle>
            <a:lvl1pPr>
              <a:defRPr sz="2140"/>
            </a:lvl1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487981" y="388195"/>
            <a:ext cx="10522965" cy="1014002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87951" y="1402197"/>
            <a:ext cx="2882696" cy="4081289"/>
          </a:xfrm>
          <a:noFill/>
        </p:spPr>
        <p:txBody>
          <a:bodyPr/>
          <a:lstStyle>
            <a:lvl1pPr>
              <a:defRPr sz="1890"/>
            </a:lvl1pPr>
            <a:lvl2pPr>
              <a:defRPr sz="1765"/>
            </a:lvl2pPr>
            <a:lvl3pPr>
              <a:defRPr sz="1510"/>
            </a:lvl3pPr>
            <a:lvl4pPr>
              <a:defRPr sz="1385"/>
            </a:lvl4pPr>
            <a:lvl5pPr>
              <a:defRPr sz="1385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487981" y="388195"/>
            <a:ext cx="10522965" cy="1014002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8293347" y="1402197"/>
            <a:ext cx="2706629" cy="4081289"/>
          </a:xfrm>
          <a:noFill/>
        </p:spPr>
        <p:txBody>
          <a:bodyPr/>
          <a:lstStyle>
            <a:lvl1pPr>
              <a:defRPr sz="1890"/>
            </a:lvl1pPr>
            <a:lvl2pPr>
              <a:defRPr sz="1765"/>
            </a:lvl2pPr>
            <a:lvl3pPr>
              <a:defRPr sz="1510"/>
            </a:lvl3pPr>
            <a:lvl4pPr>
              <a:defRPr sz="1385"/>
            </a:lvl4pPr>
            <a:lvl5pPr>
              <a:defRPr sz="1385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algn="ctr" defTabSz="387350" fontAlgn="base" hangingPunct="0">
              <a:spcBef>
                <a:spcPct val="0"/>
              </a:spcBef>
              <a:spcAft>
                <a:spcPct val="0"/>
              </a:spcAft>
            </a:pPr>
            <a:fld id="{C038645F-7D43-47C0-BDAA-D3EC6ECB806B}" type="slidenum">
              <a:rPr lang="zh-CN" altLang="zh-CN" smtClean="0">
                <a:solidFill>
                  <a:srgbClr val="000000"/>
                </a:solidFill>
              </a:rPr>
              <a:t>‹#›</a:t>
            </a:fld>
            <a:endParaRPr lang="zh-CN" altLang="zh-CN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2662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5601" y="5304143"/>
            <a:ext cx="4212759" cy="11760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ellenplatzhalter 3"/>
          <p:cNvSpPr>
            <a:spLocks noGrp="1"/>
          </p:cNvSpPr>
          <p:nvPr>
            <p:ph type="tbl" sz="quarter" idx="14"/>
          </p:nvPr>
        </p:nvSpPr>
        <p:spPr>
          <a:xfrm>
            <a:off x="510159" y="1470070"/>
            <a:ext cx="10500257" cy="4014109"/>
          </a:xfrm>
          <a:noFill/>
        </p:spPr>
        <p:txBody>
          <a:bodyPr/>
          <a:lstStyle/>
          <a:p>
            <a:endParaRPr lang="de-DE" dirty="0"/>
          </a:p>
        </p:txBody>
      </p:sp>
      <p:sp>
        <p:nvSpPr>
          <p:cNvPr id="38" name="Titel 1"/>
          <p:cNvSpPr>
            <a:spLocks noGrp="1"/>
          </p:cNvSpPr>
          <p:nvPr>
            <p:ph type="title"/>
          </p:nvPr>
        </p:nvSpPr>
        <p:spPr>
          <a:xfrm>
            <a:off x="487981" y="388195"/>
            <a:ext cx="10522965" cy="1014002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11522075" cy="6480175"/>
          </a:xfrm>
          <a:prstGeom prst="rect">
            <a:avLst/>
          </a:prstGeom>
          <a:solidFill>
            <a:srgbClr val="D9D9D9"/>
          </a:solidFill>
          <a:ln w="12700">
            <a:noFill/>
            <a:round/>
          </a:ln>
        </p:spPr>
        <p:txBody>
          <a:bodyPr rot="0" spcFirstLastPara="0" vert="horz" wrap="square" lIns="86220" tIns="43109" rIns="86220" bIns="43109" numCol="1" spcCol="0" rtlCol="0" fromWordArt="0" anchor="ctr" anchorCtr="0" forceAA="0" compatLnSpc="1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270" dirty="0">
              <a:solidFill>
                <a:prstClr val="black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5" name="Inhaltsplatzhalter 2"/>
          <p:cNvSpPr>
            <a:spLocks noGrp="1"/>
          </p:cNvSpPr>
          <p:nvPr>
            <p:ph idx="1" hasCustomPrompt="1"/>
          </p:nvPr>
        </p:nvSpPr>
        <p:spPr>
          <a:xfrm>
            <a:off x="487981" y="1402197"/>
            <a:ext cx="10522965" cy="4081289"/>
          </a:xfrm>
          <a:noFill/>
        </p:spPr>
        <p:txBody>
          <a:bodyPr/>
          <a:lstStyle>
            <a:lvl1pPr>
              <a:defRPr sz="2140"/>
            </a:lvl1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11522075" cy="6480175"/>
          </a:xfrm>
          <a:prstGeom prst="rect">
            <a:avLst/>
          </a:prstGeom>
          <a:solidFill>
            <a:srgbClr val="262626"/>
          </a:solidFill>
          <a:ln w="12700">
            <a:noFill/>
            <a:round/>
          </a:ln>
        </p:spPr>
        <p:txBody>
          <a:bodyPr rot="0" spcFirstLastPara="0" vert="horz" wrap="square" lIns="86220" tIns="43109" rIns="86220" bIns="43109" numCol="1" spcCol="0" rtlCol="0" fromWordArt="0" anchor="ctr" anchorCtr="0" forceAA="0" compatLnSpc="1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270" dirty="0">
              <a:solidFill>
                <a:prstClr val="black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 hasCustomPrompt="1"/>
          </p:nvPr>
        </p:nvSpPr>
        <p:spPr>
          <a:xfrm>
            <a:off x="487981" y="1402197"/>
            <a:ext cx="10522965" cy="4081289"/>
          </a:xfrm>
          <a:noFill/>
        </p:spPr>
        <p:txBody>
          <a:bodyPr/>
          <a:lstStyle>
            <a:lvl1pPr>
              <a:defRPr sz="2140">
                <a:solidFill>
                  <a:srgbClr val="D9D9D9"/>
                </a:solidFill>
              </a:defRPr>
            </a:lvl1pPr>
            <a:lvl2pPr>
              <a:defRPr>
                <a:solidFill>
                  <a:srgbClr val="D9D9D9"/>
                </a:solidFill>
              </a:defRPr>
            </a:lvl2pPr>
            <a:lvl3pPr>
              <a:defRPr>
                <a:solidFill>
                  <a:srgbClr val="D9D9D9"/>
                </a:solidFill>
              </a:defRPr>
            </a:lvl3pPr>
            <a:lvl4pPr>
              <a:defRPr>
                <a:solidFill>
                  <a:srgbClr val="D9D9D9"/>
                </a:solidFill>
              </a:defRPr>
            </a:lvl4pPr>
            <a:lvl5pPr>
              <a:defRPr>
                <a:solidFill>
                  <a:srgbClr val="D9D9D9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0" y="0"/>
            <a:ext cx="11522075" cy="6480175"/>
          </a:xfrm>
          <a:prstGeom prst="rect">
            <a:avLst/>
          </a:prstGeom>
          <a:solidFill>
            <a:srgbClr val="C8303F"/>
          </a:solidFill>
          <a:ln w="15875" cap="flat">
            <a:noFill/>
            <a:prstDash val="solid"/>
            <a:miter lim="800000"/>
          </a:ln>
        </p:spPr>
        <p:txBody>
          <a:bodyPr vert="horz" wrap="square" lIns="86220" tIns="43109" rIns="86220" bIns="43109" numCol="1" anchor="t" anchorCtr="0" compatLnSpc="1"/>
          <a:lstStyle/>
          <a:p>
            <a:pPr defTabSz="861695"/>
            <a:endParaRPr lang="en-US" sz="1765" dirty="0">
              <a:solidFill>
                <a:prstClr val="black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 hasCustomPrompt="1"/>
          </p:nvPr>
        </p:nvSpPr>
        <p:spPr>
          <a:xfrm>
            <a:off x="487981" y="1402197"/>
            <a:ext cx="10522965" cy="4081289"/>
          </a:xfrm>
          <a:noFill/>
        </p:spPr>
        <p:txBody>
          <a:bodyPr/>
          <a:lstStyle>
            <a:lvl1pPr>
              <a:defRPr sz="2140">
                <a:solidFill>
                  <a:srgbClr val="DDDDDD"/>
                </a:solidFill>
              </a:defRPr>
            </a:lvl1pPr>
            <a:lvl2pPr>
              <a:defRPr>
                <a:solidFill>
                  <a:srgbClr val="DDDDDD"/>
                </a:solidFill>
              </a:defRPr>
            </a:lvl2pPr>
            <a:lvl3pPr>
              <a:defRPr>
                <a:solidFill>
                  <a:srgbClr val="DDDDDD"/>
                </a:solidFill>
              </a:defRPr>
            </a:lvl3pPr>
            <a:lvl4pPr>
              <a:defRPr>
                <a:solidFill>
                  <a:srgbClr val="DDDDDD"/>
                </a:solidFill>
              </a:defRPr>
            </a:lvl4pPr>
            <a:lvl5pPr>
              <a:defRPr>
                <a:solidFill>
                  <a:srgbClr val="DDDDDD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87949" y="890554"/>
            <a:ext cx="10522764" cy="511643"/>
          </a:xfrm>
        </p:spPr>
        <p:txBody>
          <a:bodyPr lIns="8099" anchor="t" anchorCtr="0"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-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9" descr="Cyan swoosh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246537"/>
            <a:ext cx="11522075" cy="48811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5"/>
          <p:cNvSpPr/>
          <p:nvPr/>
        </p:nvSpPr>
        <p:spPr>
          <a:xfrm>
            <a:off x="9089637" y="5643157"/>
            <a:ext cx="2432438" cy="220506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8176" tIns="49089" rIns="98176" bIns="49089" anchor="ctr"/>
          <a:lstStyle/>
          <a:p>
            <a:pPr algn="ctr" defTabSz="1151890">
              <a:defRPr/>
            </a:pPr>
            <a:endParaRPr lang="en-US" sz="2270" dirty="0">
              <a:solidFill>
                <a:srgbClr val="FFFFFF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9143647" y="5631152"/>
            <a:ext cx="2446440" cy="254244"/>
          </a:xfrm>
          <a:prstGeom prst="rect">
            <a:avLst/>
          </a:prstGeom>
          <a:noFill/>
        </p:spPr>
        <p:txBody>
          <a:bodyPr lIns="98176" tIns="49089" rIns="98176" bIns="49089">
            <a:spAutoFit/>
          </a:bodyPr>
          <a:lstStyle/>
          <a:p>
            <a:pPr defTabSz="1151890">
              <a:defRPr/>
            </a:pPr>
            <a:r>
              <a:rPr lang="en-US" sz="1010" dirty="0">
                <a:solidFill>
                  <a:srgbClr val="FFFFFF"/>
                </a:solidFill>
              </a:rPr>
              <a:t>Transform to the power of digital</a:t>
            </a:r>
          </a:p>
        </p:txBody>
      </p:sp>
      <p:pic>
        <p:nvPicPr>
          <p:cNvPr id="8" name="Picture 4" descr="capgemini_rgb-[Converted]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gray">
          <a:xfrm>
            <a:off x="444083" y="5758661"/>
            <a:ext cx="2724491" cy="477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96492" y="1455039"/>
            <a:ext cx="8317376" cy="340204"/>
          </a:xfrm>
        </p:spPr>
        <p:txBody>
          <a:bodyPr>
            <a:noAutofit/>
          </a:bodyPr>
          <a:lstStyle>
            <a:lvl1pPr algn="l">
              <a:defRPr sz="3400" b="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96492" y="1995053"/>
            <a:ext cx="8317376" cy="272164"/>
          </a:xfrm>
        </p:spPr>
        <p:txBody>
          <a:bodyPr>
            <a:noAutofit/>
          </a:bodyPr>
          <a:lstStyle>
            <a:lvl1pPr marL="0" indent="0" algn="l">
              <a:buNone/>
              <a:defRPr sz="1890">
                <a:solidFill>
                  <a:schemeClr val="accent6">
                    <a:lumMod val="50000"/>
                  </a:schemeClr>
                </a:solidFill>
                <a:latin typeface="Calibri" pitchFamily="34" charset="0"/>
                <a:cs typeface="Calibri" pitchFamily="34" charset="0"/>
              </a:defRPr>
            </a:lvl1pPr>
            <a:lvl2pPr marL="490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817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725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634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542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45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35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26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7795378" y="462013"/>
            <a:ext cx="2698245" cy="624017"/>
          </a:xfrm>
        </p:spPr>
        <p:txBody>
          <a:bodyPr rtlCol="0">
            <a:normAutofit/>
          </a:bodyPr>
          <a:lstStyle>
            <a:lvl1pPr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</p:spTree>
  </p:cSld>
  <p:clrMapOvr>
    <a:masterClrMapping/>
  </p:clrMapOvr>
  <p:transition xmlns:p14="http://schemas.microsoft.com/office/powerpoint/2010/main" spd="med"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7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661076"/>
            <a:ext cx="11522075" cy="36630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496492" y="2110870"/>
            <a:ext cx="8317376" cy="340204"/>
          </a:xfrm>
        </p:spPr>
        <p:txBody>
          <a:bodyPr>
            <a:noAutofit/>
          </a:bodyPr>
          <a:lstStyle>
            <a:lvl1pPr algn="l">
              <a:defRPr sz="3025" b="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1496492" y="2657037"/>
            <a:ext cx="8317376" cy="272164"/>
          </a:xfrm>
        </p:spPr>
        <p:txBody>
          <a:bodyPr>
            <a:noAutofit/>
          </a:bodyPr>
          <a:lstStyle>
            <a:lvl1pPr marL="0" indent="0" algn="l">
              <a:buNone/>
              <a:defRPr sz="1765">
                <a:solidFill>
                  <a:schemeClr val="accent6">
                    <a:lumMod val="50000"/>
                  </a:schemeClr>
                </a:solidFill>
                <a:latin typeface="Calibri" pitchFamily="34" charset="0"/>
                <a:cs typeface="Calibri" pitchFamily="34" charset="0"/>
              </a:defRPr>
            </a:lvl1pPr>
            <a:lvl2pPr marL="490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817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725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634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542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45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35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26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</p:cSld>
  <p:clrMapOvr>
    <a:masterClrMapping/>
  </p:clrMapOvr>
  <p:transition xmlns:p14="http://schemas.microsoft.com/office/powerpoint/2010/main"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93643" y="432012"/>
            <a:ext cx="3716169" cy="1512041"/>
          </a:xfrm>
        </p:spPr>
        <p:txBody>
          <a:bodyPr anchor="b"/>
          <a:lstStyle>
            <a:lvl1pPr>
              <a:defRPr sz="151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898382" y="933025"/>
            <a:ext cx="5833050" cy="4605124"/>
          </a:xfrm>
        </p:spPr>
        <p:txBody>
          <a:bodyPr/>
          <a:lstStyle>
            <a:lvl1pPr>
              <a:defRPr sz="1510"/>
            </a:lvl1pPr>
            <a:lvl2pPr>
              <a:defRPr sz="1325"/>
            </a:lvl2pPr>
            <a:lvl3pPr>
              <a:defRPr sz="1135"/>
            </a:lvl3pPr>
            <a:lvl4pPr>
              <a:defRPr sz="945"/>
            </a:lvl4pPr>
            <a:lvl5pPr>
              <a:defRPr sz="945"/>
            </a:lvl5pPr>
            <a:lvl6pPr>
              <a:defRPr sz="945"/>
            </a:lvl6pPr>
            <a:lvl7pPr>
              <a:defRPr sz="945"/>
            </a:lvl7pPr>
            <a:lvl8pPr>
              <a:defRPr sz="945"/>
            </a:lvl8pPr>
            <a:lvl9pPr>
              <a:defRPr sz="945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793643" y="1944053"/>
            <a:ext cx="3716169" cy="3601597"/>
          </a:xfrm>
        </p:spPr>
        <p:txBody>
          <a:bodyPr/>
          <a:lstStyle>
            <a:lvl1pPr marL="0" indent="0">
              <a:buNone/>
              <a:defRPr sz="755"/>
            </a:lvl1pPr>
            <a:lvl2pPr marL="215900" indent="0">
              <a:buNone/>
              <a:defRPr sz="660"/>
            </a:lvl2pPr>
            <a:lvl3pPr marL="431800" indent="0">
              <a:buNone/>
              <a:defRPr sz="565"/>
            </a:lvl3pPr>
            <a:lvl4pPr marL="648335" indent="0">
              <a:buNone/>
              <a:defRPr sz="470"/>
            </a:lvl4pPr>
            <a:lvl5pPr marL="864235" indent="0">
              <a:buNone/>
              <a:defRPr sz="470"/>
            </a:lvl5pPr>
            <a:lvl6pPr marL="1080135" indent="0">
              <a:buNone/>
              <a:defRPr sz="470"/>
            </a:lvl6pPr>
            <a:lvl7pPr marL="1296035" indent="0">
              <a:buNone/>
              <a:defRPr sz="470"/>
            </a:lvl7pPr>
            <a:lvl8pPr marL="1511935" indent="0">
              <a:buNone/>
              <a:defRPr sz="470"/>
            </a:lvl8pPr>
            <a:lvl9pPr marL="1728470" indent="0">
              <a:buNone/>
              <a:defRPr sz="47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algn="ctr" defTabSz="387350" fontAlgn="base" hangingPunct="0">
              <a:spcBef>
                <a:spcPct val="0"/>
              </a:spcBef>
              <a:spcAft>
                <a:spcPct val="0"/>
              </a:spcAft>
            </a:pPr>
            <a:fld id="{06BA3423-221D-4993-8D20-2DEFD8D758B4}" type="slidenum">
              <a:rPr lang="zh-CN" altLang="zh-CN" smtClean="0">
                <a:solidFill>
                  <a:srgbClr val="000000"/>
                </a:solidFill>
              </a:rPr>
              <a:t>‹#›</a:t>
            </a:fld>
            <a:endParaRPr lang="zh-CN" altLang="zh-CN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7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524819" y="1977055"/>
            <a:ext cx="6997260" cy="4312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496492" y="2110870"/>
            <a:ext cx="8317376" cy="340204"/>
          </a:xfrm>
        </p:spPr>
        <p:txBody>
          <a:bodyPr>
            <a:noAutofit/>
          </a:bodyPr>
          <a:lstStyle>
            <a:lvl1pPr algn="l">
              <a:defRPr sz="3025" b="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1496492" y="2657037"/>
            <a:ext cx="8317376" cy="272164"/>
          </a:xfrm>
        </p:spPr>
        <p:txBody>
          <a:bodyPr>
            <a:noAutofit/>
          </a:bodyPr>
          <a:lstStyle>
            <a:lvl1pPr marL="0" indent="0" algn="l">
              <a:buNone/>
              <a:defRPr sz="1765">
                <a:solidFill>
                  <a:schemeClr val="accent6">
                    <a:lumMod val="50000"/>
                  </a:schemeClr>
                </a:solidFill>
                <a:latin typeface="Calibri" pitchFamily="34" charset="0"/>
                <a:cs typeface="Calibri" pitchFamily="34" charset="0"/>
              </a:defRPr>
            </a:lvl1pPr>
            <a:lvl2pPr marL="490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817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725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634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542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45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35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26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</p:cSld>
  <p:clrMapOvr>
    <a:masterClrMapping/>
  </p:clrMapOvr>
  <p:transition xmlns:p14="http://schemas.microsoft.com/office/powerpoint/2010/main" spd="med"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9"/>
          <p:cNvPicPr>
            <a:picLocks noChangeAspect="1"/>
          </p:cNvPicPr>
          <p:nvPr/>
        </p:nvPicPr>
        <p:blipFill>
          <a:blip r:embed="rId2" cstate="print"/>
          <a:srcRect b="8685"/>
          <a:stretch>
            <a:fillRect/>
          </a:stretch>
        </p:blipFill>
        <p:spPr bwMode="auto">
          <a:xfrm>
            <a:off x="6" y="2190064"/>
            <a:ext cx="6997260" cy="3939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7210057" y="1778281"/>
            <a:ext cx="2852157" cy="2832844"/>
          </a:xfrm>
        </p:spPr>
        <p:txBody>
          <a:bodyPr/>
          <a:lstStyle>
            <a:lvl1pPr marL="306705" marR="0" indent="-231775" algn="l" defTabSz="98171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325"/>
              </a:spcAft>
              <a:buClr>
                <a:schemeClr val="accent2"/>
              </a:buClr>
              <a:buSzPct val="100000"/>
              <a:buFontTx/>
              <a:buBlip>
                <a:blip r:embed="rId3"/>
              </a:buBlip>
              <a:defRPr lang="en-US" sz="1510" u="none" kern="1200" baseline="0" dirty="0" smtClean="0">
                <a:solidFill>
                  <a:schemeClr val="accent6">
                    <a:lumMod val="50000"/>
                  </a:schemeClr>
                </a:solidFill>
                <a:uFill>
                  <a:solidFill>
                    <a:schemeClr val="tx1">
                      <a:lumMod val="65000"/>
                      <a:lumOff val="35000"/>
                    </a:schemeClr>
                  </a:solidFill>
                </a:uFill>
                <a:latin typeface="Arial" panose="020B0604020202090204" pitchFamily="34" charset="0"/>
                <a:ea typeface="+mn-ea"/>
                <a:cs typeface="Arial" panose="020B060402020209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5267509" y="6078935"/>
            <a:ext cx="1002641" cy="351009"/>
          </a:xfrm>
        </p:spPr>
        <p:txBody>
          <a:bodyPr/>
          <a:lstStyle>
            <a:lvl1pPr marL="0" indent="0" algn="ctr">
              <a:buNone/>
              <a:defRPr sz="88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3"/>
          </p:nvPr>
        </p:nvSpPr>
        <p:spPr>
          <a:xfrm>
            <a:off x="8833591" y="6343677"/>
            <a:ext cx="2688484" cy="14100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9CE626-3159-4274-8158-4292551456C4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</p:spTree>
  </p:cSld>
  <p:clrMapOvr>
    <a:masterClrMapping/>
  </p:clrMapOvr>
  <p:transition xmlns:p14="http://schemas.microsoft.com/office/powerpoint/2010/main" spd="med">
    <p:fade/>
  </p:transition>
  <p:hf hdr="0" ftr="0" dt="0"/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9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" y="2722580"/>
            <a:ext cx="6839232" cy="3757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6907177" y="1778281"/>
            <a:ext cx="3155039" cy="2832844"/>
          </a:xfrm>
        </p:spPr>
        <p:txBody>
          <a:bodyPr/>
          <a:lstStyle>
            <a:lvl1pPr marL="306705" marR="0" indent="-231775" algn="l" defTabSz="98171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325"/>
              </a:spcAft>
              <a:buClr>
                <a:schemeClr val="accent2"/>
              </a:buClr>
              <a:buSzPct val="100000"/>
              <a:buFontTx/>
              <a:buBlip>
                <a:blip r:embed="rId3"/>
              </a:buBlip>
              <a:defRPr lang="en-US" sz="1510" u="none" kern="1200" baseline="0" dirty="0" smtClean="0">
                <a:solidFill>
                  <a:schemeClr val="accent6">
                    <a:lumMod val="50000"/>
                  </a:schemeClr>
                </a:solidFill>
                <a:uFill>
                  <a:solidFill>
                    <a:schemeClr val="tx1">
                      <a:lumMod val="65000"/>
                      <a:lumOff val="35000"/>
                    </a:schemeClr>
                  </a:solidFill>
                </a:uFill>
                <a:latin typeface="Arial" panose="020B0604020202090204" pitchFamily="34" charset="0"/>
                <a:ea typeface="+mn-ea"/>
                <a:cs typeface="Arial" panose="020B0604020202090204" pitchFamily="34" charset="0"/>
              </a:defRPr>
            </a:lvl1pPr>
            <a:lvl2pPr>
              <a:defRPr>
                <a:solidFill>
                  <a:schemeClr val="accent6">
                    <a:lumMod val="5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5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5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5267509" y="6078935"/>
            <a:ext cx="1002641" cy="351009"/>
          </a:xfrm>
        </p:spPr>
        <p:txBody>
          <a:bodyPr/>
          <a:lstStyle>
            <a:lvl1pPr marL="0" indent="0" algn="ctr">
              <a:buNone/>
              <a:defRPr sz="88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3"/>
          </p:nvPr>
        </p:nvSpPr>
        <p:spPr>
          <a:xfrm>
            <a:off x="8833591" y="6343677"/>
            <a:ext cx="2688484" cy="14100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9CE626-3159-4274-8158-4292551456C4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</p:spTree>
  </p:cSld>
  <p:clrMapOvr>
    <a:masterClrMapping/>
  </p:clrMapOvr>
  <p:transition xmlns:p14="http://schemas.microsoft.com/office/powerpoint/2010/main" spd="med">
    <p:fade/>
  </p:transition>
  <p:hf hdr="0" ftr="0" dt="0"/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lain contents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6907177" y="1778281"/>
            <a:ext cx="3155039" cy="2832844"/>
          </a:xfrm>
        </p:spPr>
        <p:txBody>
          <a:bodyPr/>
          <a:lstStyle>
            <a:lvl1pPr marL="306705" marR="0" indent="-231775" algn="l" defTabSz="98171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325"/>
              </a:spcAft>
              <a:buClr>
                <a:schemeClr val="accent2"/>
              </a:buClr>
              <a:buSzPct val="100000"/>
              <a:buFontTx/>
              <a:buBlip>
                <a:blip r:embed="rId2"/>
              </a:buBlip>
              <a:defRPr lang="en-US" sz="1510" u="none" kern="1200" baseline="0" dirty="0" smtClean="0">
                <a:solidFill>
                  <a:schemeClr val="accent6">
                    <a:lumMod val="50000"/>
                  </a:schemeClr>
                </a:solidFill>
                <a:uFill>
                  <a:solidFill>
                    <a:schemeClr val="tx1">
                      <a:lumMod val="65000"/>
                      <a:lumOff val="35000"/>
                    </a:schemeClr>
                  </a:solidFill>
                </a:uFill>
                <a:latin typeface="Arial" panose="020B0604020202090204" pitchFamily="34" charset="0"/>
                <a:ea typeface="+mn-ea"/>
                <a:cs typeface="Arial" panose="020B0604020202090204" pitchFamily="34" charset="0"/>
              </a:defRPr>
            </a:lvl1pPr>
            <a:lvl2pPr>
              <a:defRPr>
                <a:solidFill>
                  <a:schemeClr val="accent6">
                    <a:lumMod val="5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5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5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5267509" y="6078935"/>
            <a:ext cx="1002641" cy="351009"/>
          </a:xfrm>
        </p:spPr>
        <p:txBody>
          <a:bodyPr/>
          <a:lstStyle>
            <a:lvl1pPr marL="0" indent="0" algn="ctr">
              <a:buNone/>
              <a:defRPr sz="88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3"/>
          </p:nvPr>
        </p:nvSpPr>
        <p:spPr>
          <a:xfrm>
            <a:off x="8833591" y="6343677"/>
            <a:ext cx="2688484" cy="14100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9CE626-3159-4274-8158-4292551456C4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</p:spTree>
  </p:cSld>
  <p:clrMapOvr>
    <a:masterClrMapping/>
  </p:clrMapOvr>
  <p:transition xmlns:p14="http://schemas.microsoft.com/office/powerpoint/2010/main" spd="med">
    <p:fade/>
  </p:transition>
  <p:hf hdr="0" ftr="0" dt="0"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Plain contents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Cyan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76011" y="0"/>
            <a:ext cx="4570824" cy="6480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4"/>
          <p:cNvSpPr/>
          <p:nvPr/>
        </p:nvSpPr>
        <p:spPr>
          <a:xfrm>
            <a:off x="2064378" y="5893661"/>
            <a:ext cx="2430438" cy="220506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8176" tIns="49089" rIns="98176" bIns="49089" anchor="ctr"/>
          <a:lstStyle/>
          <a:p>
            <a:pPr algn="ctr" defTabSz="1151890">
              <a:defRPr/>
            </a:pPr>
            <a:endParaRPr lang="en-US" sz="2270" dirty="0">
              <a:solidFill>
                <a:srgbClr val="FFFFFF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100384" y="5881659"/>
            <a:ext cx="2446441" cy="254244"/>
          </a:xfrm>
          <a:prstGeom prst="rect">
            <a:avLst/>
          </a:prstGeom>
          <a:noFill/>
        </p:spPr>
        <p:txBody>
          <a:bodyPr lIns="98176" tIns="49089" rIns="98176" bIns="49089">
            <a:spAutoFit/>
          </a:bodyPr>
          <a:lstStyle/>
          <a:p>
            <a:pPr defTabSz="1151890">
              <a:defRPr/>
            </a:pPr>
            <a:r>
              <a:rPr lang="en-US" sz="1010" dirty="0">
                <a:solidFill>
                  <a:srgbClr val="FFFFFF"/>
                </a:solidFill>
              </a:rPr>
              <a:t>Transform to the power of digita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61037" y="1690381"/>
            <a:ext cx="5761038" cy="72301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5761043" y="2413399"/>
            <a:ext cx="3155039" cy="2832844"/>
          </a:xfrm>
        </p:spPr>
        <p:txBody>
          <a:bodyPr/>
          <a:lstStyle>
            <a:lvl1pPr marL="306705" marR="0" indent="-231775" algn="l" defTabSz="98171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325"/>
              </a:spcAft>
              <a:buClr>
                <a:schemeClr val="accent2"/>
              </a:buClr>
              <a:buSzPct val="100000"/>
              <a:buFontTx/>
              <a:buBlip>
                <a:blip r:embed="rId3"/>
              </a:buBlip>
              <a:defRPr lang="en-US" sz="1510" u="none" kern="1200" baseline="0" dirty="0" smtClean="0">
                <a:solidFill>
                  <a:schemeClr val="accent6">
                    <a:lumMod val="50000"/>
                  </a:schemeClr>
                </a:solidFill>
                <a:uFill>
                  <a:solidFill>
                    <a:schemeClr val="tx1">
                      <a:lumMod val="65000"/>
                      <a:lumOff val="35000"/>
                    </a:schemeClr>
                  </a:solidFill>
                </a:uFill>
                <a:latin typeface="Arial" panose="020B0604020202090204" pitchFamily="34" charset="0"/>
                <a:ea typeface="+mn-ea"/>
                <a:cs typeface="Arial" panose="020B0604020202090204" pitchFamily="34" charset="0"/>
              </a:defRPr>
            </a:lvl1pPr>
            <a:lvl2pPr>
              <a:defRPr>
                <a:solidFill>
                  <a:schemeClr val="accent6">
                    <a:lumMod val="5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5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5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8833591" y="6343677"/>
            <a:ext cx="2688484" cy="14100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804C83-6CCE-492C-AB08-7B13B14AF6CD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</p:spTree>
  </p:cSld>
  <p:clrMapOvr>
    <a:masterClrMapping/>
  </p:clrMapOvr>
  <p:transition xmlns:p14="http://schemas.microsoft.com/office/powerpoint/2010/main" spd="med">
    <p:fad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" y="4782134"/>
            <a:ext cx="3214580" cy="1354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6907177" y="1778281"/>
            <a:ext cx="3155039" cy="2832844"/>
          </a:xfrm>
        </p:spPr>
        <p:txBody>
          <a:bodyPr/>
          <a:lstStyle>
            <a:lvl1pPr marL="306705" marR="0" indent="-231775" algn="l" defTabSz="98171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325"/>
              </a:spcAft>
              <a:buClr>
                <a:schemeClr val="accent2"/>
              </a:buClr>
              <a:buSzPct val="100000"/>
              <a:buFontTx/>
              <a:buBlip>
                <a:blip r:embed="rId3"/>
              </a:buBlip>
              <a:defRPr lang="en-US" sz="1510" u="none" kern="1200" baseline="0" dirty="0" smtClean="0">
                <a:solidFill>
                  <a:schemeClr val="accent6">
                    <a:lumMod val="50000"/>
                  </a:schemeClr>
                </a:solidFill>
                <a:uFill>
                  <a:solidFill>
                    <a:schemeClr val="tx1">
                      <a:lumMod val="65000"/>
                      <a:lumOff val="35000"/>
                    </a:schemeClr>
                  </a:solidFill>
                </a:uFill>
                <a:latin typeface="Arial" panose="020B0604020202090204" pitchFamily="34" charset="0"/>
                <a:ea typeface="+mn-ea"/>
                <a:cs typeface="Arial" panose="020B0604020202090204" pitchFamily="34" charset="0"/>
              </a:defRPr>
            </a:lvl1pPr>
            <a:lvl2pPr>
              <a:defRPr>
                <a:solidFill>
                  <a:schemeClr val="accent6">
                    <a:lumMod val="5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5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5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5267509" y="6078935"/>
            <a:ext cx="1002641" cy="351009"/>
          </a:xfrm>
        </p:spPr>
        <p:txBody>
          <a:bodyPr/>
          <a:lstStyle>
            <a:lvl1pPr marL="0" indent="0" algn="ctr">
              <a:buNone/>
              <a:defRPr sz="88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3"/>
          </p:nvPr>
        </p:nvSpPr>
        <p:spPr>
          <a:xfrm>
            <a:off x="8833591" y="6343677"/>
            <a:ext cx="2688484" cy="14100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9CE626-3159-4274-8158-4292551456C4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</p:spTree>
  </p:cSld>
  <p:clrMapOvr>
    <a:masterClrMapping/>
  </p:clrMapOvr>
  <p:transition xmlns:p14="http://schemas.microsoft.com/office/powerpoint/2010/main" spd="med">
    <p:fade/>
  </p:transition>
  <p:hf hdr="0" ftr="0" dt="0"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p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" y="3580599"/>
            <a:ext cx="3254587" cy="1854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6907177" y="1778281"/>
            <a:ext cx="3155039" cy="2832844"/>
          </a:xfrm>
        </p:spPr>
        <p:txBody>
          <a:bodyPr/>
          <a:lstStyle>
            <a:lvl1pPr marL="306705" marR="0" indent="-231775" algn="l" defTabSz="98171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325"/>
              </a:spcAft>
              <a:buClr>
                <a:schemeClr val="accent2"/>
              </a:buClr>
              <a:buSzPct val="100000"/>
              <a:buFontTx/>
              <a:buBlip>
                <a:blip r:embed="rId3"/>
              </a:buBlip>
              <a:defRPr lang="en-US" sz="1510" u="none" kern="1200" baseline="0" dirty="0" smtClean="0">
                <a:solidFill>
                  <a:schemeClr val="accent6">
                    <a:lumMod val="50000"/>
                  </a:schemeClr>
                </a:solidFill>
                <a:uFill>
                  <a:solidFill>
                    <a:schemeClr val="tx1">
                      <a:lumMod val="65000"/>
                      <a:lumOff val="35000"/>
                    </a:schemeClr>
                  </a:solidFill>
                </a:uFill>
                <a:latin typeface="Arial" panose="020B0604020202090204" pitchFamily="34" charset="0"/>
                <a:ea typeface="+mn-ea"/>
                <a:cs typeface="Arial" panose="020B0604020202090204" pitchFamily="34" charset="0"/>
              </a:defRPr>
            </a:lvl1pPr>
            <a:lvl2pPr>
              <a:defRPr>
                <a:solidFill>
                  <a:schemeClr val="accent6">
                    <a:lumMod val="5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5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5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5267509" y="6078935"/>
            <a:ext cx="1002641" cy="351009"/>
          </a:xfrm>
        </p:spPr>
        <p:txBody>
          <a:bodyPr/>
          <a:lstStyle>
            <a:lvl1pPr marL="0" indent="0" algn="ctr">
              <a:buNone/>
              <a:defRPr sz="88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3"/>
          </p:nvPr>
        </p:nvSpPr>
        <p:spPr>
          <a:xfrm>
            <a:off x="8833591" y="6343677"/>
            <a:ext cx="2688484" cy="14100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9CE626-3159-4274-8158-4292551456C4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</p:spTree>
  </p:cSld>
  <p:clrMapOvr>
    <a:masterClrMapping/>
  </p:clrMapOvr>
  <p:transition xmlns:p14="http://schemas.microsoft.com/office/powerpoint/2010/main" spd="med">
    <p:fade/>
  </p:transition>
  <p:hf hdr="0" ftr="0" dt="0"/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ust Title Sub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950138" y="975181"/>
            <a:ext cx="9616501" cy="373511"/>
          </a:xfrm>
        </p:spPr>
        <p:txBody>
          <a:bodyPr/>
          <a:lstStyle>
            <a:lvl1pPr algn="ctr">
              <a:buNone/>
              <a:defRPr lang="en-US" sz="1765" dirty="0" smtClean="0"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5267509" y="6078935"/>
            <a:ext cx="1002641" cy="351009"/>
          </a:xfrm>
        </p:spPr>
        <p:txBody>
          <a:bodyPr/>
          <a:lstStyle>
            <a:lvl1pPr marL="0" indent="0" algn="ctr">
              <a:buNone/>
              <a:defRPr sz="88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3"/>
          </p:nvPr>
        </p:nvSpPr>
        <p:spPr>
          <a:xfrm>
            <a:off x="8833591" y="6343677"/>
            <a:ext cx="2688484" cy="14100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9CE626-3159-4274-8158-4292551456C4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</p:spTree>
  </p:cSld>
  <p:clrMapOvr>
    <a:masterClrMapping/>
  </p:clrMapOvr>
  <p:transition xmlns:p14="http://schemas.microsoft.com/office/powerpoint/2010/main" spd="med">
    <p:fade/>
  </p:transition>
  <p:hf hdr="0" ftr="0" dt="0"/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ub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9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" y="1186533"/>
            <a:ext cx="4124743" cy="4110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950138" y="975181"/>
            <a:ext cx="9616501" cy="373511"/>
          </a:xfrm>
        </p:spPr>
        <p:txBody>
          <a:bodyPr/>
          <a:lstStyle>
            <a:lvl1pPr algn="ctr">
              <a:buNone/>
              <a:defRPr lang="en-US" sz="1765" dirty="0" smtClean="0"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5267509" y="6078935"/>
            <a:ext cx="1002641" cy="351009"/>
          </a:xfrm>
        </p:spPr>
        <p:txBody>
          <a:bodyPr/>
          <a:lstStyle>
            <a:lvl1pPr marL="0" indent="0" algn="ctr">
              <a:buNone/>
              <a:defRPr sz="88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3"/>
          </p:nvPr>
        </p:nvSpPr>
        <p:spPr>
          <a:xfrm>
            <a:off x="8833591" y="6343677"/>
            <a:ext cx="2688484" cy="14100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9CE626-3159-4274-8158-4292551456C4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</p:spTree>
  </p:cSld>
  <p:clrMapOvr>
    <a:masterClrMapping/>
  </p:clrMapOvr>
  <p:transition xmlns:p14="http://schemas.microsoft.com/office/powerpoint/2010/main" spd="med">
    <p:fade/>
  </p:transition>
  <p:hf hdr="0" ftr="0" dt="0"/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ust Title sub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9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" y="3921112"/>
            <a:ext cx="3676662" cy="2019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Content Placeholder 6"/>
          <p:cNvSpPr>
            <a:spLocks noGrp="1"/>
          </p:cNvSpPr>
          <p:nvPr>
            <p:ph sz="quarter" idx="11"/>
          </p:nvPr>
        </p:nvSpPr>
        <p:spPr>
          <a:xfrm>
            <a:off x="950138" y="975181"/>
            <a:ext cx="9616501" cy="373511"/>
          </a:xfrm>
        </p:spPr>
        <p:txBody>
          <a:bodyPr/>
          <a:lstStyle>
            <a:lvl1pPr algn="ctr">
              <a:buNone/>
              <a:defRPr lang="en-US" sz="1765" dirty="0" smtClean="0"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5267509" y="6078935"/>
            <a:ext cx="1002641" cy="351009"/>
          </a:xfrm>
        </p:spPr>
        <p:txBody>
          <a:bodyPr/>
          <a:lstStyle>
            <a:lvl1pPr marL="0" indent="0" algn="ctr">
              <a:buNone/>
              <a:defRPr sz="88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3"/>
          </p:nvPr>
        </p:nvSpPr>
        <p:spPr>
          <a:xfrm>
            <a:off x="8833591" y="6343677"/>
            <a:ext cx="2688484" cy="14100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9CE626-3159-4274-8158-4292551456C4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</p:spTree>
  </p:cSld>
  <p:clrMapOvr>
    <a:masterClrMapping/>
  </p:clrMapOvr>
  <p:transition xmlns:p14="http://schemas.microsoft.com/office/powerpoint/2010/main" spd="med">
    <p:fade/>
  </p:transition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93643" y="432012"/>
            <a:ext cx="3716169" cy="1512041"/>
          </a:xfrm>
        </p:spPr>
        <p:txBody>
          <a:bodyPr anchor="b"/>
          <a:lstStyle>
            <a:lvl1pPr>
              <a:defRPr sz="151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4898382" y="933025"/>
            <a:ext cx="5833050" cy="4605124"/>
          </a:xfrm>
        </p:spPr>
        <p:txBody>
          <a:bodyPr/>
          <a:lstStyle>
            <a:lvl1pPr marL="0" indent="0">
              <a:buNone/>
              <a:defRPr sz="1510"/>
            </a:lvl1pPr>
            <a:lvl2pPr marL="215900" indent="0">
              <a:buNone/>
              <a:defRPr sz="1325"/>
            </a:lvl2pPr>
            <a:lvl3pPr marL="431800" indent="0">
              <a:buNone/>
              <a:defRPr sz="1135"/>
            </a:lvl3pPr>
            <a:lvl4pPr marL="648335" indent="0">
              <a:buNone/>
              <a:defRPr sz="945"/>
            </a:lvl4pPr>
            <a:lvl5pPr marL="864235" indent="0">
              <a:buNone/>
              <a:defRPr sz="945"/>
            </a:lvl5pPr>
            <a:lvl6pPr marL="1080135" indent="0">
              <a:buNone/>
              <a:defRPr sz="945"/>
            </a:lvl6pPr>
            <a:lvl7pPr marL="1296035" indent="0">
              <a:buNone/>
              <a:defRPr sz="945"/>
            </a:lvl7pPr>
            <a:lvl8pPr marL="1511935" indent="0">
              <a:buNone/>
              <a:defRPr sz="945"/>
            </a:lvl8pPr>
            <a:lvl9pPr marL="1728470" indent="0">
              <a:buNone/>
              <a:defRPr sz="945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793643" y="1944053"/>
            <a:ext cx="3716169" cy="3601597"/>
          </a:xfrm>
        </p:spPr>
        <p:txBody>
          <a:bodyPr/>
          <a:lstStyle>
            <a:lvl1pPr marL="0" indent="0">
              <a:buNone/>
              <a:defRPr sz="755"/>
            </a:lvl1pPr>
            <a:lvl2pPr marL="215900" indent="0">
              <a:buNone/>
              <a:defRPr sz="660"/>
            </a:lvl2pPr>
            <a:lvl3pPr marL="431800" indent="0">
              <a:buNone/>
              <a:defRPr sz="565"/>
            </a:lvl3pPr>
            <a:lvl4pPr marL="648335" indent="0">
              <a:buNone/>
              <a:defRPr sz="470"/>
            </a:lvl4pPr>
            <a:lvl5pPr marL="864235" indent="0">
              <a:buNone/>
              <a:defRPr sz="470"/>
            </a:lvl5pPr>
            <a:lvl6pPr marL="1080135" indent="0">
              <a:buNone/>
              <a:defRPr sz="470"/>
            </a:lvl6pPr>
            <a:lvl7pPr marL="1296035" indent="0">
              <a:buNone/>
              <a:defRPr sz="470"/>
            </a:lvl7pPr>
            <a:lvl8pPr marL="1511935" indent="0">
              <a:buNone/>
              <a:defRPr sz="470"/>
            </a:lvl8pPr>
            <a:lvl9pPr marL="1728470" indent="0">
              <a:buNone/>
              <a:defRPr sz="47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algn="ctr" defTabSz="387350" fontAlgn="base" hangingPunct="0">
              <a:spcBef>
                <a:spcPct val="0"/>
              </a:spcBef>
              <a:spcAft>
                <a:spcPct val="0"/>
              </a:spcAft>
            </a:pPr>
            <a:fld id="{1D671321-BCA4-4FBB-BEF8-F25DBB919BE3}" type="slidenum">
              <a:rPr lang="zh-CN" altLang="zh-CN" smtClean="0">
                <a:solidFill>
                  <a:srgbClr val="000000"/>
                </a:solidFill>
              </a:rPr>
              <a:t>‹#›</a:t>
            </a:fld>
            <a:endParaRPr lang="zh-CN" altLang="zh-CN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ust Title sub tit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9"/>
          <p:cNvPicPr>
            <a:picLocks noChangeAspect="1"/>
          </p:cNvPicPr>
          <p:nvPr/>
        </p:nvPicPr>
        <p:blipFill>
          <a:blip r:embed="rId2" cstate="print"/>
          <a:srcRect l="-2" t="-2" r="48473" b="29727"/>
          <a:stretch>
            <a:fillRect/>
          </a:stretch>
        </p:blipFill>
        <p:spPr bwMode="auto">
          <a:xfrm>
            <a:off x="8535541" y="3690103"/>
            <a:ext cx="2986537" cy="22365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950138" y="975181"/>
            <a:ext cx="9616501" cy="373511"/>
          </a:xfrm>
        </p:spPr>
        <p:txBody>
          <a:bodyPr/>
          <a:lstStyle>
            <a:lvl1pPr algn="ctr">
              <a:buNone/>
              <a:defRPr lang="en-US" sz="1765" dirty="0" smtClean="0"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5267509" y="6078935"/>
            <a:ext cx="1002641" cy="351009"/>
          </a:xfrm>
        </p:spPr>
        <p:txBody>
          <a:bodyPr/>
          <a:lstStyle>
            <a:lvl1pPr marL="0" indent="0" algn="ctr">
              <a:buNone/>
              <a:defRPr sz="88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3"/>
          </p:nvPr>
        </p:nvSpPr>
        <p:spPr>
          <a:xfrm>
            <a:off x="8833591" y="6343677"/>
            <a:ext cx="2688484" cy="14100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9CE626-3159-4274-8158-4292551456C4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</p:spTree>
  </p:cSld>
  <p:clrMapOvr>
    <a:masterClrMapping/>
  </p:clrMapOvr>
  <p:transition xmlns:p14="http://schemas.microsoft.com/office/powerpoint/2010/main" spd="med">
    <p:fade/>
  </p:transition>
  <p:hf hdr="0" ftr="0" dt="0"/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lternative title sub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9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496269" y="1396540"/>
            <a:ext cx="10025806" cy="4312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Content Placeholder 6"/>
          <p:cNvSpPr>
            <a:spLocks noGrp="1"/>
          </p:cNvSpPr>
          <p:nvPr>
            <p:ph sz="quarter" idx="11"/>
          </p:nvPr>
        </p:nvSpPr>
        <p:spPr>
          <a:xfrm>
            <a:off x="950138" y="975181"/>
            <a:ext cx="9616501" cy="373511"/>
          </a:xfrm>
        </p:spPr>
        <p:txBody>
          <a:bodyPr/>
          <a:lstStyle>
            <a:lvl1pPr algn="ctr">
              <a:buNone/>
              <a:defRPr lang="en-US" sz="1765" dirty="0" smtClean="0"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5267509" y="6078935"/>
            <a:ext cx="1002641" cy="351009"/>
          </a:xfrm>
        </p:spPr>
        <p:txBody>
          <a:bodyPr/>
          <a:lstStyle>
            <a:lvl1pPr marL="0" indent="0" algn="ctr">
              <a:buNone/>
              <a:defRPr sz="88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3"/>
          </p:nvPr>
        </p:nvSpPr>
        <p:spPr>
          <a:xfrm>
            <a:off x="8833591" y="6343677"/>
            <a:ext cx="2688484" cy="14100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9CE626-3159-4274-8158-4292551456C4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</p:spTree>
  </p:cSld>
  <p:clrMapOvr>
    <a:masterClrMapping/>
  </p:clrMapOvr>
  <p:transition xmlns:p14="http://schemas.microsoft.com/office/powerpoint/2010/main" spd="med">
    <p:fade/>
  </p:transition>
  <p:hf hdr="0" ftr="0" dt="0"/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page with sub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08074" y="1306083"/>
            <a:ext cx="10475030" cy="43355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950138" y="975181"/>
            <a:ext cx="9616501" cy="373511"/>
          </a:xfrm>
        </p:spPr>
        <p:txBody>
          <a:bodyPr/>
          <a:lstStyle>
            <a:lvl1pPr algn="ctr">
              <a:buNone/>
              <a:defRPr lang="en-US" sz="1765" dirty="0" smtClean="0"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5267509" y="6078935"/>
            <a:ext cx="1002641" cy="351009"/>
          </a:xfrm>
        </p:spPr>
        <p:txBody>
          <a:bodyPr/>
          <a:lstStyle>
            <a:lvl1pPr marL="0" indent="0" algn="ctr">
              <a:buNone/>
              <a:defRPr sz="88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4"/>
          </p:nvPr>
        </p:nvSpPr>
        <p:spPr>
          <a:xfrm>
            <a:off x="8833591" y="6343677"/>
            <a:ext cx="2688484" cy="14100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9CE626-3159-4274-8158-4292551456C4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</p:spTree>
  </p:cSld>
  <p:clrMapOvr>
    <a:masterClrMapping/>
  </p:clrMapOvr>
  <p:transition xmlns:p14="http://schemas.microsoft.com/office/powerpoint/2010/main" spd="med">
    <p:fade/>
  </p:transition>
  <p:hf hdr="0" ftr="0" dt="0"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page with ki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9" descr="arrow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22386" y="5038637"/>
            <a:ext cx="818147" cy="606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1986632" y="5032271"/>
            <a:ext cx="7598291" cy="612300"/>
          </a:xfrm>
          <a:prstGeom prst="roundRect">
            <a:avLst/>
          </a:prstGeom>
          <a:gradFill>
            <a:gsLst>
              <a:gs pos="0">
                <a:schemeClr val="bg2">
                  <a:lumMod val="95000"/>
                </a:schemeClr>
              </a:gs>
              <a:gs pos="100000">
                <a:srgbClr val="D9D9D9"/>
              </a:gs>
            </a:gsLst>
            <a:lin ang="5400000" scaled="0"/>
          </a:gradFill>
          <a:ln w="12700">
            <a:noFill/>
          </a:ln>
          <a:effectLst>
            <a:innerShdw blurRad="63500" dist="50800" dir="27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765175" indent="0" algn="ctr" rtl="0" fontAlgn="base">
              <a:spcBef>
                <a:spcPct val="0"/>
              </a:spcBef>
              <a:spcAft>
                <a:spcPct val="0"/>
              </a:spcAft>
              <a:buNone/>
              <a:defRPr lang="en-GB" sz="151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08074" y="1306084"/>
            <a:ext cx="10475030" cy="371905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5267509" y="6078935"/>
            <a:ext cx="1002641" cy="351009"/>
          </a:xfrm>
        </p:spPr>
        <p:txBody>
          <a:bodyPr/>
          <a:lstStyle>
            <a:lvl1pPr marL="0" indent="0" algn="ctr">
              <a:buNone/>
              <a:defRPr sz="88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4"/>
          </p:nvPr>
        </p:nvSpPr>
        <p:spPr>
          <a:xfrm>
            <a:off x="8833591" y="6343677"/>
            <a:ext cx="2688484" cy="14100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9CE626-3159-4274-8158-4292551456C4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</p:spTree>
  </p:cSld>
  <p:clrMapOvr>
    <a:masterClrMapping/>
  </p:clrMapOvr>
  <p:transition xmlns:p14="http://schemas.microsoft.com/office/powerpoint/2010/main" spd="med">
    <p:fade/>
  </p:transition>
  <p:hf hdr="0" ftr="0" dt="0"/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kicker page no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2023735" y="5032271"/>
            <a:ext cx="7598291" cy="612300"/>
          </a:xfrm>
          <a:prstGeom prst="roundRect">
            <a:avLst/>
          </a:prstGeom>
          <a:gradFill>
            <a:gsLst>
              <a:gs pos="0">
                <a:schemeClr val="bg2">
                  <a:lumMod val="95000"/>
                </a:schemeClr>
              </a:gs>
              <a:gs pos="100000">
                <a:srgbClr val="D9D9D9"/>
              </a:gs>
            </a:gsLst>
            <a:lin ang="5400000" scaled="0"/>
          </a:gradFill>
          <a:ln w="12700">
            <a:noFill/>
          </a:ln>
          <a:effectLst>
            <a:innerShdw blurRad="63500" dist="50800" dir="27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 algn="ctr" rtl="0" fontAlgn="base">
              <a:spcBef>
                <a:spcPct val="0"/>
              </a:spcBef>
              <a:spcAft>
                <a:spcPct val="0"/>
              </a:spcAft>
              <a:buNone/>
              <a:defRPr lang="en-GB" sz="151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08074" y="1306084"/>
            <a:ext cx="10475030" cy="371905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5267509" y="6078935"/>
            <a:ext cx="1002641" cy="351009"/>
          </a:xfrm>
        </p:spPr>
        <p:txBody>
          <a:bodyPr/>
          <a:lstStyle>
            <a:lvl1pPr marL="0" indent="0" algn="ctr">
              <a:buNone/>
              <a:defRPr sz="88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4"/>
          </p:nvPr>
        </p:nvSpPr>
        <p:spPr>
          <a:xfrm>
            <a:off x="8833591" y="6343677"/>
            <a:ext cx="2688484" cy="14100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9CE626-3159-4274-8158-4292551456C4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</p:spTree>
  </p:cSld>
  <p:clrMapOvr>
    <a:masterClrMapping/>
  </p:clrMapOvr>
  <p:transition xmlns:p14="http://schemas.microsoft.com/office/powerpoint/2010/main" spd="med">
    <p:fade/>
  </p:transition>
  <p:hf hdr="0" ftr="0" dt="0"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9"/>
          <p:cNvPicPr>
            <a:picLocks noChangeAspect="1"/>
          </p:cNvPicPr>
          <p:nvPr/>
        </p:nvPicPr>
        <p:blipFill>
          <a:blip r:embed="rId2" cstate="print"/>
          <a:srcRect l="48473" t="-2" r="-2" b="29727"/>
          <a:stretch>
            <a:fillRect/>
          </a:stretch>
        </p:blipFill>
        <p:spPr bwMode="auto">
          <a:xfrm>
            <a:off x="0" y="3511597"/>
            <a:ext cx="2986538" cy="2238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08074" y="1306086"/>
            <a:ext cx="10475030" cy="43355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5267509" y="6078935"/>
            <a:ext cx="1002641" cy="351009"/>
          </a:xfrm>
        </p:spPr>
        <p:txBody>
          <a:bodyPr/>
          <a:lstStyle>
            <a:lvl1pPr marL="0" indent="0" algn="ctr">
              <a:buNone/>
              <a:defRPr sz="88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3"/>
          </p:nvPr>
        </p:nvSpPr>
        <p:spPr>
          <a:xfrm>
            <a:off x="8833591" y="6343677"/>
            <a:ext cx="2688484" cy="14100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9CE626-3159-4274-8158-4292551456C4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</p:spTree>
  </p:cSld>
  <p:clrMapOvr>
    <a:masterClrMapping/>
  </p:clrMapOvr>
  <p:transition xmlns:p14="http://schemas.microsoft.com/office/powerpoint/2010/main" spd="med">
    <p:fade/>
  </p:transition>
  <p:hf hdr="0" ftr="0" dt="0"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9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" y="4260120"/>
            <a:ext cx="3710669" cy="16950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08077" y="1308035"/>
            <a:ext cx="10161214" cy="43336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5267509" y="6078935"/>
            <a:ext cx="1002641" cy="351009"/>
          </a:xfrm>
        </p:spPr>
        <p:txBody>
          <a:bodyPr/>
          <a:lstStyle>
            <a:lvl1pPr marL="0" indent="0" algn="ctr">
              <a:buNone/>
              <a:defRPr sz="88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3"/>
          </p:nvPr>
        </p:nvSpPr>
        <p:spPr>
          <a:xfrm>
            <a:off x="8833591" y="6343677"/>
            <a:ext cx="2688484" cy="14100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9CE626-3159-4274-8158-4292551456C4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</p:spTree>
  </p:cSld>
  <p:clrMapOvr>
    <a:masterClrMapping/>
  </p:clrMapOvr>
  <p:transition xmlns:p14="http://schemas.microsoft.com/office/powerpoint/2010/main" spd="med">
    <p:fade/>
  </p:transition>
  <p:hf hdr="0" ftr="0" dt="0"/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9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" y="1186533"/>
            <a:ext cx="4124743" cy="4110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124922" y="1308035"/>
            <a:ext cx="6444366" cy="43336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5267509" y="6078935"/>
            <a:ext cx="1002641" cy="351009"/>
          </a:xfrm>
        </p:spPr>
        <p:txBody>
          <a:bodyPr/>
          <a:lstStyle>
            <a:lvl1pPr marL="0" indent="0" algn="ctr">
              <a:buNone/>
              <a:defRPr sz="88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3"/>
          </p:nvPr>
        </p:nvSpPr>
        <p:spPr>
          <a:xfrm>
            <a:off x="8833591" y="6343677"/>
            <a:ext cx="2688484" cy="14100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9CE626-3159-4274-8158-4292551456C4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</p:spTree>
  </p:cSld>
  <p:clrMapOvr>
    <a:masterClrMapping/>
  </p:clrMapOvr>
  <p:transition xmlns:p14="http://schemas.microsoft.com/office/powerpoint/2010/main" spd="med">
    <p:fade/>
  </p:transition>
  <p:hf hdr="0" ftr="0" dt="0"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page side moti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7" descr="pixel_bg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311323" y="2083559"/>
            <a:ext cx="4210758" cy="2721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08077" y="1308035"/>
            <a:ext cx="6904012" cy="43336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5267509" y="6078935"/>
            <a:ext cx="1002641" cy="351009"/>
          </a:xfrm>
        </p:spPr>
        <p:txBody>
          <a:bodyPr/>
          <a:lstStyle>
            <a:lvl1pPr marL="0" indent="0" algn="ctr">
              <a:buNone/>
              <a:defRPr sz="88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3"/>
          </p:nvPr>
        </p:nvSpPr>
        <p:spPr>
          <a:xfrm>
            <a:off x="8833591" y="6343677"/>
            <a:ext cx="2688484" cy="14100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9CE626-3159-4274-8158-4292551456C4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</p:spTree>
  </p:cSld>
  <p:clrMapOvr>
    <a:masterClrMapping/>
  </p:clrMapOvr>
  <p:transition xmlns:p14="http://schemas.microsoft.com/office/powerpoint/2010/main" spd="med">
    <p:fade/>
  </p:transition>
  <p:hf hdr="0" ftr="0" dt="0"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ust Titl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5267509" y="6078935"/>
            <a:ext cx="1002641" cy="351009"/>
          </a:xfrm>
        </p:spPr>
        <p:txBody>
          <a:bodyPr/>
          <a:lstStyle>
            <a:lvl1pPr marL="0" indent="0" algn="ctr">
              <a:buNone/>
              <a:defRPr sz="88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3"/>
          </p:nvPr>
        </p:nvSpPr>
        <p:spPr>
          <a:xfrm>
            <a:off x="8833591" y="6343677"/>
            <a:ext cx="2688484" cy="14100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9CE626-3159-4274-8158-4292551456C4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</p:spTree>
  </p:cSld>
  <p:clrMapOvr>
    <a:masterClrMapping/>
  </p:clrMapOvr>
  <p:transition xmlns:p14="http://schemas.microsoft.com/office/powerpoint/2010/main" spd="med">
    <p:fade/>
  </p:transition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algn="ctr" defTabSz="387350" fontAlgn="base" hangingPunct="0">
              <a:spcBef>
                <a:spcPct val="0"/>
              </a:spcBef>
              <a:spcAft>
                <a:spcPct val="0"/>
              </a:spcAft>
            </a:pPr>
            <a:fld id="{E5E55724-5325-4524-ADB7-4ADE8447F2B4}" type="slidenum">
              <a:rPr lang="zh-CN" altLang="zh-CN" smtClean="0">
                <a:solidFill>
                  <a:srgbClr val="000000"/>
                </a:solidFill>
              </a:rPr>
              <a:t>‹#›</a:t>
            </a:fld>
            <a:endParaRPr lang="zh-CN" altLang="zh-CN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rap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000000">
                    <a:tint val="75000"/>
                  </a:srgbClr>
                </a:solidFill>
              </a:rPr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6" name="Image 7" descr="Capgemini_Slogan_RGB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170163" y="353124"/>
            <a:ext cx="4050978" cy="340167"/>
          </a:xfrm>
          <a:prstGeom prst="rect">
            <a:avLst/>
          </a:prstGeom>
        </p:spPr>
      </p:pic>
      <p:pic>
        <p:nvPicPr>
          <p:cNvPr id="7" name="Image 8" descr="Capgemini_Slogan_White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6765263" y="4588712"/>
            <a:ext cx="4424486" cy="371531"/>
          </a:xfrm>
          <a:prstGeom prst="rect">
            <a:avLst/>
          </a:prstGeom>
          <a:noFill/>
          <a:ln w="25400" cap="sq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5" name="Kicker_Arrow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51958" y="2763801"/>
            <a:ext cx="680174" cy="510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xmlns:p14="http://schemas.microsoft.com/office/powerpoint/2010/main" spd="med"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ust Title plain with moti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747396" y="3976609"/>
            <a:ext cx="3774679" cy="1996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5267509" y="6078935"/>
            <a:ext cx="1002641" cy="351009"/>
          </a:xfrm>
        </p:spPr>
        <p:txBody>
          <a:bodyPr/>
          <a:lstStyle>
            <a:lvl1pPr marL="0" indent="0" algn="ctr">
              <a:buNone/>
              <a:defRPr sz="88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3"/>
          </p:nvPr>
        </p:nvSpPr>
        <p:spPr>
          <a:xfrm>
            <a:off x="8833591" y="6343677"/>
            <a:ext cx="2688484" cy="14100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9CE626-3159-4274-8158-4292551456C4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</p:spTree>
  </p:cSld>
  <p:clrMapOvr>
    <a:masterClrMapping/>
  </p:clrMapOvr>
  <p:transition xmlns:p14="http://schemas.microsoft.com/office/powerpoint/2010/main" spd="med">
    <p:fade/>
  </p:transition>
  <p:hf hdr="0" ftr="0" dt="0"/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ust Title plain with motif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" y="4497126"/>
            <a:ext cx="3710669" cy="16950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5267509" y="6078935"/>
            <a:ext cx="1002641" cy="351009"/>
          </a:xfrm>
        </p:spPr>
        <p:txBody>
          <a:bodyPr/>
          <a:lstStyle>
            <a:lvl1pPr marL="0" indent="0" algn="ctr">
              <a:buNone/>
              <a:defRPr sz="88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3"/>
          </p:nvPr>
        </p:nvSpPr>
        <p:spPr>
          <a:xfrm>
            <a:off x="8833591" y="6343677"/>
            <a:ext cx="2688484" cy="14100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9CE626-3159-4274-8158-4292551456C4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</p:spTree>
  </p:cSld>
  <p:clrMapOvr>
    <a:masterClrMapping/>
  </p:clrMapOvr>
  <p:transition xmlns:p14="http://schemas.microsoft.com/office/powerpoint/2010/main" spd="med">
    <p:fade/>
  </p:transition>
  <p:hf hdr="0" ftr="0" dt="0"/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9" descr="Original.pdf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805045" y="1548044"/>
            <a:ext cx="5761038" cy="38836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0" descr="Original.pdf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-44008" y="1548044"/>
            <a:ext cx="5761038" cy="38836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5267509" y="6078935"/>
            <a:ext cx="1002641" cy="351009"/>
          </a:xfrm>
        </p:spPr>
        <p:txBody>
          <a:bodyPr/>
          <a:lstStyle>
            <a:lvl1pPr marL="0" indent="0" algn="ctr">
              <a:buNone/>
              <a:defRPr sz="88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  <p:transition xmlns:p14="http://schemas.microsoft.com/office/powerpoint/2010/main" spd="med">
    <p:fade/>
  </p:transition>
  <p:hf hdr="0" ftr="0" dt="0"/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-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9" descr="Cyan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81003"/>
            <a:ext cx="11522075" cy="6642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xmlns:p14="http://schemas.microsoft.com/office/powerpoint/2010/main" spd="med"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"/>
          <a:ext cx="184648" cy="1500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64" name="think-cell Slide" r:id="rId10" imgW="0" imgH="0" progId="">
                  <p:embed/>
                </p:oleObj>
              </mc:Choice>
              <mc:Fallback>
                <p:oleObj name="think-cell Slide" r:id="rId10" imgW="0" imgH="0" progId="">
                  <p:embed/>
                  <p:pic>
                    <p:nvPicPr>
                      <p:cNvPr id="0" name="图片 1949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184648" cy="15000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47153" y="1697278"/>
            <a:ext cx="5236622" cy="4198479"/>
          </a:xfrm>
        </p:spPr>
        <p:txBody>
          <a:bodyPr/>
          <a:lstStyle>
            <a:lvl1pPr marL="0" indent="0">
              <a:buNone/>
              <a:defRPr sz="1260">
                <a:latin typeface="Calibri" pitchFamily="34" charset="0"/>
              </a:defRPr>
            </a:lvl1pPr>
            <a:lvl2pPr marL="227965" indent="-227965">
              <a:spcBef>
                <a:spcPts val="755"/>
              </a:spcBef>
              <a:buClr>
                <a:srgbClr val="00B0F0"/>
              </a:buClr>
              <a:buFont typeface="Wingdings" panose="05000000000000000000" pitchFamily="2" charset="2"/>
              <a:buChar char="§"/>
              <a:defRPr sz="1135">
                <a:latin typeface="Calibri" pitchFamily="34" charset="0"/>
              </a:defRPr>
            </a:lvl2pPr>
            <a:lvl3pPr marL="452120" indent="-224155">
              <a:spcBef>
                <a:spcPts val="755"/>
              </a:spcBef>
              <a:buClr>
                <a:schemeClr val="accent2"/>
              </a:buClr>
              <a:buSzPct val="110000"/>
              <a:buFont typeface="Arial" panose="020B0604020202090204" pitchFamily="34" charset="0"/>
              <a:buChar char="•"/>
              <a:defRPr sz="1135">
                <a:latin typeface="Calibri" pitchFamily="34" charset="0"/>
              </a:defRPr>
            </a:lvl3pPr>
            <a:lvl4pPr marL="681990" indent="-227965">
              <a:spcBef>
                <a:spcPts val="755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010">
                <a:latin typeface="Calibri" pitchFamily="34" charset="0"/>
              </a:defRPr>
            </a:lvl4pPr>
          </a:lstStyle>
          <a:p>
            <a:pPr lvl="0"/>
            <a:r>
              <a:rPr lang="en-GB" noProof="0"/>
              <a:t>Click to edit Master text style</a:t>
            </a:r>
          </a:p>
          <a:p>
            <a:pPr lvl="1"/>
            <a:r>
              <a:rPr lang="en-GB" noProof="0"/>
              <a:t>Text style level 2</a:t>
            </a:r>
          </a:p>
          <a:p>
            <a:pPr lvl="2"/>
            <a:r>
              <a:rPr lang="en-GB" noProof="0"/>
              <a:t>Text style level 3</a:t>
            </a:r>
          </a:p>
          <a:p>
            <a:pPr lvl="3"/>
            <a:r>
              <a:rPr lang="en-GB" noProof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938316" y="1697828"/>
            <a:ext cx="5229249" cy="4207453"/>
          </a:xfrm>
        </p:spPr>
        <p:txBody>
          <a:bodyPr/>
          <a:lstStyle>
            <a:lvl1pPr marL="0" indent="0">
              <a:buNone/>
              <a:defRPr sz="1260">
                <a:latin typeface="Calibri" pitchFamily="34" charset="0"/>
              </a:defRPr>
            </a:lvl1pPr>
            <a:lvl2pPr marL="227965" indent="-227965">
              <a:spcBef>
                <a:spcPts val="755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en-US" sz="1135" kern="1200" noProof="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454025" indent="-226060">
              <a:spcBef>
                <a:spcPts val="755"/>
              </a:spcBef>
              <a:buClr>
                <a:schemeClr val="accent2"/>
              </a:buClr>
              <a:buSzPct val="110000"/>
              <a:buFont typeface="Arial" panose="020B0604020202090204" pitchFamily="34" charset="0"/>
              <a:buChar char="•"/>
              <a:defRPr lang="en-US" sz="1135" kern="1200" noProof="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681990" indent="-227965">
              <a:spcBef>
                <a:spcPts val="755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en-US" sz="1010" kern="1200" noProof="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</a:lstStyle>
          <a:p>
            <a:pPr lvl="0"/>
            <a:r>
              <a:rPr lang="en-GB" noProof="0"/>
              <a:t>Click to edit Master text style</a:t>
            </a:r>
          </a:p>
          <a:p>
            <a:pPr lvl="1"/>
            <a:r>
              <a:rPr lang="en-GB" noProof="0"/>
              <a:t>Text style level 2</a:t>
            </a:r>
          </a:p>
          <a:p>
            <a:pPr lvl="2"/>
            <a:r>
              <a:rPr lang="en-GB" noProof="0"/>
              <a:t>Text style level 3</a:t>
            </a:r>
          </a:p>
          <a:p>
            <a:pPr lvl="3"/>
            <a:r>
              <a:rPr lang="en-GB" noProof="0"/>
              <a:t>Text style level 4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354526" y="6"/>
            <a:ext cx="10813024" cy="427727"/>
          </a:xfrm>
        </p:spPr>
        <p:txBody>
          <a:bodyPr/>
          <a:lstStyle>
            <a:lvl1pPr>
              <a:defRPr sz="1765" b="1">
                <a:latin typeface="Calibri" pitchFamily="34" charset="0"/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54527" y="427730"/>
            <a:ext cx="10813024" cy="362885"/>
          </a:xfrm>
        </p:spPr>
        <p:txBody>
          <a:bodyPr/>
          <a:lstStyle>
            <a:lvl1pPr marL="0" indent="0">
              <a:buNone/>
              <a:defRPr sz="1510" b="0">
                <a:solidFill>
                  <a:schemeClr val="accent2"/>
                </a:solidFill>
                <a:latin typeface="Calibri" pitchFamily="34" charset="0"/>
              </a:defRPr>
            </a:lvl1pPr>
          </a:lstStyle>
          <a:p>
            <a:pPr lvl="0"/>
            <a:r>
              <a:rPr lang="en-GB" noProof="0"/>
              <a:t>Click to edit Master text styl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quarter" idx="13" hasCustomPrompt="1"/>
            <p:custDataLst>
              <p:tags r:id="rId7"/>
            </p:custDataLst>
          </p:nvPr>
        </p:nvSpPr>
        <p:spPr>
          <a:xfrm>
            <a:off x="342682" y="1359161"/>
            <a:ext cx="5236622" cy="337944"/>
          </a:xfrm>
        </p:spPr>
        <p:txBody>
          <a:bodyPr/>
          <a:lstStyle>
            <a:lvl1pPr marL="0" indent="0">
              <a:buNone/>
              <a:defRPr sz="1260" b="1">
                <a:solidFill>
                  <a:schemeClr val="accent1"/>
                </a:solidFill>
                <a:latin typeface="Calibri" pitchFamily="34" charset="0"/>
              </a:defRPr>
            </a:lvl1pPr>
            <a:lvl2pPr marL="227965" indent="-227965">
              <a:spcBef>
                <a:spcPts val="755"/>
              </a:spcBef>
              <a:buClr>
                <a:srgbClr val="00B0F0"/>
              </a:buClr>
              <a:buFont typeface="Wingdings" panose="05000000000000000000" pitchFamily="2" charset="2"/>
              <a:buChar char="§"/>
              <a:defRPr sz="1135" b="1">
                <a:solidFill>
                  <a:schemeClr val="accent1"/>
                </a:solidFill>
                <a:latin typeface="Calibri" pitchFamily="34" charset="0"/>
              </a:defRPr>
            </a:lvl2pPr>
            <a:lvl3pPr marL="452120" indent="-224155">
              <a:spcBef>
                <a:spcPts val="755"/>
              </a:spcBef>
              <a:buClr>
                <a:schemeClr val="accent2"/>
              </a:buClr>
              <a:buSzPct val="110000"/>
              <a:buFont typeface="Arial" panose="020B0604020202090204" pitchFamily="34" charset="0"/>
              <a:buChar char="•"/>
              <a:defRPr sz="1135" b="1">
                <a:solidFill>
                  <a:schemeClr val="accent1"/>
                </a:solidFill>
                <a:latin typeface="Calibri" pitchFamily="34" charset="0"/>
              </a:defRPr>
            </a:lvl3pPr>
            <a:lvl4pPr marL="681990" indent="-227965">
              <a:spcBef>
                <a:spcPts val="755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010" b="1">
                <a:solidFill>
                  <a:schemeClr val="accent1"/>
                </a:solidFill>
                <a:latin typeface="Calibri" pitchFamily="34" charset="0"/>
              </a:defRPr>
            </a:lvl4pPr>
          </a:lstStyle>
          <a:p>
            <a:pPr lvl="0"/>
            <a:r>
              <a:rPr lang="en-GB" noProof="0"/>
              <a:t>Click to edit Master text style</a:t>
            </a:r>
          </a:p>
        </p:txBody>
      </p:sp>
      <p:sp>
        <p:nvSpPr>
          <p:cNvPr id="12" name="Espace réservé du contenu 5"/>
          <p:cNvSpPr>
            <a:spLocks noGrp="1"/>
          </p:cNvSpPr>
          <p:nvPr>
            <p:ph sz="quarter" idx="14" hasCustomPrompt="1"/>
            <p:custDataLst>
              <p:tags r:id="rId8"/>
            </p:custDataLst>
          </p:nvPr>
        </p:nvSpPr>
        <p:spPr>
          <a:xfrm>
            <a:off x="5933848" y="1359162"/>
            <a:ext cx="5229249" cy="338666"/>
          </a:xfrm>
        </p:spPr>
        <p:txBody>
          <a:bodyPr/>
          <a:lstStyle>
            <a:lvl1pPr marL="0" indent="0">
              <a:buNone/>
              <a:defRPr sz="1260" b="1">
                <a:solidFill>
                  <a:schemeClr val="accent1"/>
                </a:solidFill>
                <a:latin typeface="Calibri" pitchFamily="34" charset="0"/>
              </a:defRPr>
            </a:lvl1pPr>
            <a:lvl2pPr>
              <a:spcBef>
                <a:spcPts val="755"/>
              </a:spcBef>
              <a:defRPr lang="en-US" sz="1135" b="1" kern="1200" noProof="0" dirty="0" smtClean="0">
                <a:solidFill>
                  <a:schemeClr val="accent1"/>
                </a:solidFill>
                <a:latin typeface="Calibri" pitchFamily="34" charset="0"/>
                <a:ea typeface="+mn-ea"/>
                <a:cs typeface="+mn-cs"/>
              </a:defRPr>
            </a:lvl2pPr>
            <a:lvl3pPr>
              <a:spcBef>
                <a:spcPts val="755"/>
              </a:spcBef>
              <a:defRPr lang="en-US" sz="1135" b="1" kern="1200" noProof="0" dirty="0" smtClean="0">
                <a:solidFill>
                  <a:schemeClr val="accent1"/>
                </a:solidFill>
                <a:latin typeface="Calibri" pitchFamily="34" charset="0"/>
                <a:ea typeface="+mn-ea"/>
                <a:cs typeface="+mn-cs"/>
              </a:defRPr>
            </a:lvl3pPr>
            <a:lvl4pPr>
              <a:spcBef>
                <a:spcPts val="755"/>
              </a:spcBef>
              <a:defRPr lang="en-US" sz="1010" b="1" kern="1200" noProof="0" dirty="0" smtClean="0">
                <a:solidFill>
                  <a:schemeClr val="accent1"/>
                </a:solidFill>
                <a:latin typeface="Calibri" pitchFamily="34" charset="0"/>
                <a:ea typeface="+mn-ea"/>
                <a:cs typeface="+mn-cs"/>
              </a:defRPr>
            </a:lvl4pPr>
          </a:lstStyle>
          <a:p>
            <a:pPr lvl="0"/>
            <a:r>
              <a:rPr lang="en-GB" noProof="0"/>
              <a:t>Click to edit Master text style</a:t>
            </a:r>
          </a:p>
        </p:txBody>
      </p:sp>
    </p:spTree>
  </p:cSld>
  <p:clrMapOvr>
    <a:masterClrMapping/>
  </p:clrMapOvr>
  <p:transition xmlns:p14="http://schemas.microsoft.com/office/powerpoint/2010/main" spd="med">
    <p:fade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000000">
                    <a:tint val="75000"/>
                  </a:srgbClr>
                </a:solidFill>
              </a:rPr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</p:spTree>
  </p:cSld>
  <p:clrMapOvr>
    <a:masterClrMapping/>
  </p:clrMapOvr>
  <p:transition xmlns:p14="http://schemas.microsoft.com/office/powerpoint/2010/main" spd="med">
    <p:fade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4" y="3"/>
          <a:ext cx="171053" cy="13605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图片 205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" y="3"/>
                        <a:ext cx="171053" cy="13605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76151" y="1412418"/>
            <a:ext cx="11145924" cy="4387914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</p:spTree>
  </p:cSld>
  <p:clrMapOvr>
    <a:masterClrMapping/>
  </p:clrMapOvr>
  <p:transition xmlns:p14="http://schemas.microsoft.com/office/powerpoint/2010/main" spd="med"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" y="2"/>
          <a:ext cx="171724" cy="1365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12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图片 215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2"/>
                        <a:ext cx="171724" cy="13650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ransition xmlns:p14="http://schemas.microsoft.com/office/powerpoint/2010/main" spd="med">
    <p:fade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x_Title Sub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408075" y="975181"/>
            <a:ext cx="10797069" cy="373511"/>
          </a:xfrm>
          <a:noFill/>
          <a:ln w="9525">
            <a:noFill/>
            <a:miter lim="800000"/>
          </a:ln>
        </p:spPr>
        <p:txBody>
          <a:bodyPr rtlCol="0">
            <a:noAutofit/>
          </a:bodyPr>
          <a:lstStyle>
            <a:lvl1pPr marL="0" indent="0" algn="ctr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lang="en-GB" sz="1765" kern="1200" baseline="0" dirty="0">
                <a:solidFill>
                  <a:schemeClr val="accent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3"/>
          </p:nvPr>
        </p:nvSpPr>
        <p:spPr>
          <a:xfrm>
            <a:off x="8833591" y="6343676"/>
            <a:ext cx="2688484" cy="14100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C88543-C925-40B9-B26E-E942602C2AE1}" type="slidenum">
              <a:rPr lang="en-GB">
                <a:solidFill>
                  <a:srgbClr val="000000">
                    <a:tint val="75000"/>
                  </a:srgbClr>
                </a:solidFill>
              </a:rPr>
              <a:t>‹#›</a:t>
            </a:fld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</p:cSld>
  <p:clrMapOvr>
    <a:masterClrMapping/>
  </p:clrMapOvr>
  <p:transition xmlns:p14="http://schemas.microsoft.com/office/powerpoint/2010/main"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7604870" y="168755"/>
            <a:ext cx="1843832" cy="5728655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2072624" y="168755"/>
            <a:ext cx="5460233" cy="5728655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algn="ctr" defTabSz="387350" fontAlgn="base" hangingPunct="0">
              <a:spcBef>
                <a:spcPct val="0"/>
              </a:spcBef>
              <a:spcAft>
                <a:spcPct val="0"/>
              </a:spcAft>
            </a:pPr>
            <a:fld id="{56CC1E99-4EB7-4B51-9D1A-C84BB6684E81}" type="slidenum">
              <a:rPr lang="zh-CN" altLang="zh-CN" smtClean="0">
                <a:solidFill>
                  <a:srgbClr val="000000"/>
                </a:solidFill>
              </a:rPr>
              <a:t>‹#›</a:t>
            </a:fld>
            <a:endParaRPr lang="zh-CN" altLang="zh-CN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/>
          <p:nvPr userDrawn="1">
            <p:custDataLst>
              <p:tags r:id="rId1"/>
            </p:custDataLst>
          </p:nvPr>
        </p:nvSpPr>
        <p:spPr bwMode="auto">
          <a:xfrm>
            <a:off x="0" y="544517"/>
            <a:ext cx="11532077" cy="711019"/>
          </a:xfrm>
          <a:custGeom>
            <a:avLst/>
            <a:gdLst>
              <a:gd name="connsiteX0" fmla="*/ 9509 w 10000"/>
              <a:gd name="connsiteY0" fmla="*/ 4537 h 10000"/>
              <a:gd name="connsiteX1" fmla="*/ 972 w 10000"/>
              <a:gd name="connsiteY1" fmla="*/ 4537 h 10000"/>
              <a:gd name="connsiteX2" fmla="*/ 484 w 10000"/>
              <a:gd name="connsiteY2" fmla="*/ 9122 h 10000"/>
              <a:gd name="connsiteX3" fmla="*/ 0 w 10000"/>
              <a:gd name="connsiteY3" fmla="*/ 4537 h 10000"/>
              <a:gd name="connsiteX4" fmla="*/ 0 w 10000"/>
              <a:gd name="connsiteY4" fmla="*/ 5463 h 10000"/>
              <a:gd name="connsiteX5" fmla="*/ 484 w 10000"/>
              <a:gd name="connsiteY5" fmla="*/ 10000 h 10000"/>
              <a:gd name="connsiteX6" fmla="*/ 972 w 10000"/>
              <a:gd name="connsiteY6" fmla="*/ 5463 h 10000"/>
              <a:gd name="connsiteX7" fmla="*/ 8912 w 10000"/>
              <a:gd name="connsiteY7" fmla="*/ 5514 h 10000"/>
              <a:gd name="connsiteX8" fmla="*/ 10000 w 10000"/>
              <a:gd name="connsiteY8" fmla="*/ 927 h 10000"/>
              <a:gd name="connsiteX9" fmla="*/ 10000 w 10000"/>
              <a:gd name="connsiteY9" fmla="*/ 0 h 10000"/>
              <a:gd name="connsiteX10" fmla="*/ 9509 w 10000"/>
              <a:gd name="connsiteY10" fmla="*/ 4537 h 10000"/>
              <a:gd name="connsiteX0-1" fmla="*/ 8912 w 10000"/>
              <a:gd name="connsiteY0-2" fmla="*/ 4577 h 10000"/>
              <a:gd name="connsiteX1-3" fmla="*/ 972 w 10000"/>
              <a:gd name="connsiteY1-4" fmla="*/ 4537 h 10000"/>
              <a:gd name="connsiteX2-5" fmla="*/ 484 w 10000"/>
              <a:gd name="connsiteY2-6" fmla="*/ 9122 h 10000"/>
              <a:gd name="connsiteX3-7" fmla="*/ 0 w 10000"/>
              <a:gd name="connsiteY3-8" fmla="*/ 4537 h 10000"/>
              <a:gd name="connsiteX4-9" fmla="*/ 0 w 10000"/>
              <a:gd name="connsiteY4-10" fmla="*/ 5463 h 10000"/>
              <a:gd name="connsiteX5-11" fmla="*/ 484 w 10000"/>
              <a:gd name="connsiteY5-12" fmla="*/ 10000 h 10000"/>
              <a:gd name="connsiteX6-13" fmla="*/ 972 w 10000"/>
              <a:gd name="connsiteY6-14" fmla="*/ 5463 h 10000"/>
              <a:gd name="connsiteX7-15" fmla="*/ 8912 w 10000"/>
              <a:gd name="connsiteY7-16" fmla="*/ 5514 h 10000"/>
              <a:gd name="connsiteX8-17" fmla="*/ 10000 w 10000"/>
              <a:gd name="connsiteY8-18" fmla="*/ 927 h 10000"/>
              <a:gd name="connsiteX9-19" fmla="*/ 10000 w 10000"/>
              <a:gd name="connsiteY9-20" fmla="*/ 0 h 10000"/>
              <a:gd name="connsiteX10-21" fmla="*/ 8912 w 10000"/>
              <a:gd name="connsiteY10-22" fmla="*/ 4577 h 10000"/>
              <a:gd name="connsiteX0-23" fmla="*/ 8912 w 10000"/>
              <a:gd name="connsiteY0-24" fmla="*/ 4383 h 9806"/>
              <a:gd name="connsiteX1-25" fmla="*/ 972 w 10000"/>
              <a:gd name="connsiteY1-26" fmla="*/ 4343 h 9806"/>
              <a:gd name="connsiteX2-27" fmla="*/ 484 w 10000"/>
              <a:gd name="connsiteY2-28" fmla="*/ 8928 h 9806"/>
              <a:gd name="connsiteX3-29" fmla="*/ 0 w 10000"/>
              <a:gd name="connsiteY3-30" fmla="*/ 4343 h 9806"/>
              <a:gd name="connsiteX4-31" fmla="*/ 0 w 10000"/>
              <a:gd name="connsiteY4-32" fmla="*/ 5269 h 9806"/>
              <a:gd name="connsiteX5-33" fmla="*/ 484 w 10000"/>
              <a:gd name="connsiteY5-34" fmla="*/ 9806 h 9806"/>
              <a:gd name="connsiteX6-35" fmla="*/ 972 w 10000"/>
              <a:gd name="connsiteY6-36" fmla="*/ 5269 h 9806"/>
              <a:gd name="connsiteX7-37" fmla="*/ 8912 w 10000"/>
              <a:gd name="connsiteY7-38" fmla="*/ 5320 h 9806"/>
              <a:gd name="connsiteX8-39" fmla="*/ 10000 w 10000"/>
              <a:gd name="connsiteY8-40" fmla="*/ 733 h 9806"/>
              <a:gd name="connsiteX9-41" fmla="*/ 9231 w 10000"/>
              <a:gd name="connsiteY9-42" fmla="*/ 0 h 9806"/>
              <a:gd name="connsiteX10-43" fmla="*/ 8912 w 10000"/>
              <a:gd name="connsiteY10-44" fmla="*/ 4383 h 9806"/>
              <a:gd name="connsiteX0-45" fmla="*/ 8912 w 9297"/>
              <a:gd name="connsiteY0-46" fmla="*/ 4470 h 10000"/>
              <a:gd name="connsiteX1-47" fmla="*/ 972 w 9297"/>
              <a:gd name="connsiteY1-48" fmla="*/ 4429 h 10000"/>
              <a:gd name="connsiteX2-49" fmla="*/ 484 w 9297"/>
              <a:gd name="connsiteY2-50" fmla="*/ 9105 h 10000"/>
              <a:gd name="connsiteX3-51" fmla="*/ 0 w 9297"/>
              <a:gd name="connsiteY3-52" fmla="*/ 4429 h 10000"/>
              <a:gd name="connsiteX4-53" fmla="*/ 0 w 9297"/>
              <a:gd name="connsiteY4-54" fmla="*/ 5373 h 10000"/>
              <a:gd name="connsiteX5-55" fmla="*/ 484 w 9297"/>
              <a:gd name="connsiteY5-56" fmla="*/ 10000 h 10000"/>
              <a:gd name="connsiteX6-57" fmla="*/ 972 w 9297"/>
              <a:gd name="connsiteY6-58" fmla="*/ 5373 h 10000"/>
              <a:gd name="connsiteX7-59" fmla="*/ 8912 w 9297"/>
              <a:gd name="connsiteY7-60" fmla="*/ 5425 h 10000"/>
              <a:gd name="connsiteX8-61" fmla="*/ 9231 w 9297"/>
              <a:gd name="connsiteY8-62" fmla="*/ 1642 h 10000"/>
              <a:gd name="connsiteX9-63" fmla="*/ 9231 w 9297"/>
              <a:gd name="connsiteY9-64" fmla="*/ 0 h 10000"/>
              <a:gd name="connsiteX10-65" fmla="*/ 8912 w 9297"/>
              <a:gd name="connsiteY10-66" fmla="*/ 4470 h 10000"/>
              <a:gd name="connsiteX0-67" fmla="*/ 9586 w 10000"/>
              <a:gd name="connsiteY0-68" fmla="*/ 4470 h 10000"/>
              <a:gd name="connsiteX1-69" fmla="*/ 1045 w 10000"/>
              <a:gd name="connsiteY1-70" fmla="*/ 4429 h 10000"/>
              <a:gd name="connsiteX2-71" fmla="*/ 521 w 10000"/>
              <a:gd name="connsiteY2-72" fmla="*/ 9105 h 10000"/>
              <a:gd name="connsiteX3-73" fmla="*/ 0 w 10000"/>
              <a:gd name="connsiteY3-74" fmla="*/ 4429 h 10000"/>
              <a:gd name="connsiteX4-75" fmla="*/ 0 w 10000"/>
              <a:gd name="connsiteY4-76" fmla="*/ 5373 h 10000"/>
              <a:gd name="connsiteX5-77" fmla="*/ 521 w 10000"/>
              <a:gd name="connsiteY5-78" fmla="*/ 10000 h 10000"/>
              <a:gd name="connsiteX6-79" fmla="*/ 1045 w 10000"/>
              <a:gd name="connsiteY6-80" fmla="*/ 5373 h 10000"/>
              <a:gd name="connsiteX7-81" fmla="*/ 9281 w 10000"/>
              <a:gd name="connsiteY7-82" fmla="*/ 5426 h 10000"/>
              <a:gd name="connsiteX8-83" fmla="*/ 9929 w 10000"/>
              <a:gd name="connsiteY8-84" fmla="*/ 1642 h 10000"/>
              <a:gd name="connsiteX9-85" fmla="*/ 9929 w 10000"/>
              <a:gd name="connsiteY9-86" fmla="*/ 0 h 10000"/>
              <a:gd name="connsiteX10-87" fmla="*/ 9586 w 10000"/>
              <a:gd name="connsiteY10-88" fmla="*/ 4470 h 10000"/>
              <a:gd name="connsiteX0-89" fmla="*/ 9586 w 10000"/>
              <a:gd name="connsiteY0-90" fmla="*/ 4470 h 10000"/>
              <a:gd name="connsiteX1-91" fmla="*/ 1045 w 10000"/>
              <a:gd name="connsiteY1-92" fmla="*/ 4429 h 10000"/>
              <a:gd name="connsiteX2-93" fmla="*/ 521 w 10000"/>
              <a:gd name="connsiteY2-94" fmla="*/ 9105 h 10000"/>
              <a:gd name="connsiteX3-95" fmla="*/ 0 w 10000"/>
              <a:gd name="connsiteY3-96" fmla="*/ 4429 h 10000"/>
              <a:gd name="connsiteX4-97" fmla="*/ 0 w 10000"/>
              <a:gd name="connsiteY4-98" fmla="*/ 5373 h 10000"/>
              <a:gd name="connsiteX5-99" fmla="*/ 521 w 10000"/>
              <a:gd name="connsiteY5-100" fmla="*/ 10000 h 10000"/>
              <a:gd name="connsiteX6-101" fmla="*/ 1045 w 10000"/>
              <a:gd name="connsiteY6-102" fmla="*/ 5373 h 10000"/>
              <a:gd name="connsiteX7-103" fmla="*/ 9281 w 10000"/>
              <a:gd name="connsiteY7-104" fmla="*/ 5426 h 10000"/>
              <a:gd name="connsiteX8-105" fmla="*/ 9929 w 10000"/>
              <a:gd name="connsiteY8-106" fmla="*/ 1642 h 10000"/>
              <a:gd name="connsiteX9-107" fmla="*/ 9929 w 10000"/>
              <a:gd name="connsiteY9-108" fmla="*/ 0 h 10000"/>
              <a:gd name="connsiteX10-109" fmla="*/ 9586 w 10000"/>
              <a:gd name="connsiteY10-110" fmla="*/ 4470 h 10000"/>
              <a:gd name="connsiteX0-111" fmla="*/ 9586 w 10000"/>
              <a:gd name="connsiteY0-112" fmla="*/ 4470 h 10000"/>
              <a:gd name="connsiteX1-113" fmla="*/ 1045 w 10000"/>
              <a:gd name="connsiteY1-114" fmla="*/ 4429 h 10000"/>
              <a:gd name="connsiteX2-115" fmla="*/ 521 w 10000"/>
              <a:gd name="connsiteY2-116" fmla="*/ 9105 h 10000"/>
              <a:gd name="connsiteX3-117" fmla="*/ 0 w 10000"/>
              <a:gd name="connsiteY3-118" fmla="*/ 4429 h 10000"/>
              <a:gd name="connsiteX4-119" fmla="*/ 0 w 10000"/>
              <a:gd name="connsiteY4-120" fmla="*/ 5373 h 10000"/>
              <a:gd name="connsiteX5-121" fmla="*/ 521 w 10000"/>
              <a:gd name="connsiteY5-122" fmla="*/ 10000 h 10000"/>
              <a:gd name="connsiteX6-123" fmla="*/ 1045 w 10000"/>
              <a:gd name="connsiteY6-124" fmla="*/ 5373 h 10000"/>
              <a:gd name="connsiteX7-125" fmla="*/ 9281 w 10000"/>
              <a:gd name="connsiteY7-126" fmla="*/ 5426 h 10000"/>
              <a:gd name="connsiteX8-127" fmla="*/ 9929 w 10000"/>
              <a:gd name="connsiteY8-128" fmla="*/ 1642 h 10000"/>
              <a:gd name="connsiteX9-129" fmla="*/ 9929 w 10000"/>
              <a:gd name="connsiteY9-130" fmla="*/ 0 h 10000"/>
              <a:gd name="connsiteX10-131" fmla="*/ 9586 w 10000"/>
              <a:gd name="connsiteY10-132" fmla="*/ 4470 h 10000"/>
              <a:gd name="connsiteX0-133" fmla="*/ 9281 w 9929"/>
              <a:gd name="connsiteY0-134" fmla="*/ 4558 h 10000"/>
              <a:gd name="connsiteX1-135" fmla="*/ 1045 w 9929"/>
              <a:gd name="connsiteY1-136" fmla="*/ 4429 h 10000"/>
              <a:gd name="connsiteX2-137" fmla="*/ 521 w 9929"/>
              <a:gd name="connsiteY2-138" fmla="*/ 9105 h 10000"/>
              <a:gd name="connsiteX3-139" fmla="*/ 0 w 9929"/>
              <a:gd name="connsiteY3-140" fmla="*/ 4429 h 10000"/>
              <a:gd name="connsiteX4-141" fmla="*/ 0 w 9929"/>
              <a:gd name="connsiteY4-142" fmla="*/ 5373 h 10000"/>
              <a:gd name="connsiteX5-143" fmla="*/ 521 w 9929"/>
              <a:gd name="connsiteY5-144" fmla="*/ 10000 h 10000"/>
              <a:gd name="connsiteX6-145" fmla="*/ 1045 w 9929"/>
              <a:gd name="connsiteY6-146" fmla="*/ 5373 h 10000"/>
              <a:gd name="connsiteX7-147" fmla="*/ 9281 w 9929"/>
              <a:gd name="connsiteY7-148" fmla="*/ 5426 h 10000"/>
              <a:gd name="connsiteX8-149" fmla="*/ 9929 w 9929"/>
              <a:gd name="connsiteY8-150" fmla="*/ 1642 h 10000"/>
              <a:gd name="connsiteX9-151" fmla="*/ 9929 w 9929"/>
              <a:gd name="connsiteY9-152" fmla="*/ 0 h 10000"/>
              <a:gd name="connsiteX10-153" fmla="*/ 9281 w 9929"/>
              <a:gd name="connsiteY10-154" fmla="*/ 4558 h 10000"/>
              <a:gd name="connsiteX0-155" fmla="*/ 9347 w 10000"/>
              <a:gd name="connsiteY0-156" fmla="*/ 4558 h 10000"/>
              <a:gd name="connsiteX1-157" fmla="*/ 1052 w 10000"/>
              <a:gd name="connsiteY1-158" fmla="*/ 4429 h 10000"/>
              <a:gd name="connsiteX2-159" fmla="*/ 525 w 10000"/>
              <a:gd name="connsiteY2-160" fmla="*/ 9105 h 10000"/>
              <a:gd name="connsiteX3-161" fmla="*/ 0 w 10000"/>
              <a:gd name="connsiteY3-162" fmla="*/ 4429 h 10000"/>
              <a:gd name="connsiteX4-163" fmla="*/ 0 w 10000"/>
              <a:gd name="connsiteY4-164" fmla="*/ 5373 h 10000"/>
              <a:gd name="connsiteX5-165" fmla="*/ 525 w 10000"/>
              <a:gd name="connsiteY5-166" fmla="*/ 10000 h 10000"/>
              <a:gd name="connsiteX6-167" fmla="*/ 1052 w 10000"/>
              <a:gd name="connsiteY6-168" fmla="*/ 5373 h 10000"/>
              <a:gd name="connsiteX7-169" fmla="*/ 9347 w 10000"/>
              <a:gd name="connsiteY7-170" fmla="*/ 5426 h 10000"/>
              <a:gd name="connsiteX8-171" fmla="*/ 10000 w 10000"/>
              <a:gd name="connsiteY8-172" fmla="*/ 0 h 10000"/>
              <a:gd name="connsiteX9-173" fmla="*/ 10000 w 10000"/>
              <a:gd name="connsiteY9-174" fmla="*/ 0 h 10000"/>
              <a:gd name="connsiteX10-175" fmla="*/ 9347 w 10000"/>
              <a:gd name="connsiteY10-176" fmla="*/ 4558 h 10000"/>
              <a:gd name="connsiteX0-177" fmla="*/ 9475 w 10000"/>
              <a:gd name="connsiteY0-178" fmla="*/ 4447 h 10000"/>
              <a:gd name="connsiteX1-179" fmla="*/ 1052 w 10000"/>
              <a:gd name="connsiteY1-180" fmla="*/ 4429 h 10000"/>
              <a:gd name="connsiteX2-181" fmla="*/ 525 w 10000"/>
              <a:gd name="connsiteY2-182" fmla="*/ 9105 h 10000"/>
              <a:gd name="connsiteX3-183" fmla="*/ 0 w 10000"/>
              <a:gd name="connsiteY3-184" fmla="*/ 4429 h 10000"/>
              <a:gd name="connsiteX4-185" fmla="*/ 0 w 10000"/>
              <a:gd name="connsiteY4-186" fmla="*/ 5373 h 10000"/>
              <a:gd name="connsiteX5-187" fmla="*/ 525 w 10000"/>
              <a:gd name="connsiteY5-188" fmla="*/ 10000 h 10000"/>
              <a:gd name="connsiteX6-189" fmla="*/ 1052 w 10000"/>
              <a:gd name="connsiteY6-190" fmla="*/ 5373 h 10000"/>
              <a:gd name="connsiteX7-191" fmla="*/ 9347 w 10000"/>
              <a:gd name="connsiteY7-192" fmla="*/ 5426 h 10000"/>
              <a:gd name="connsiteX8-193" fmla="*/ 10000 w 10000"/>
              <a:gd name="connsiteY8-194" fmla="*/ 0 h 10000"/>
              <a:gd name="connsiteX9-195" fmla="*/ 10000 w 10000"/>
              <a:gd name="connsiteY9-196" fmla="*/ 0 h 10000"/>
              <a:gd name="connsiteX10-197" fmla="*/ 9475 w 10000"/>
              <a:gd name="connsiteY10-198" fmla="*/ 4447 h 10000"/>
              <a:gd name="connsiteX0-199" fmla="*/ 9475 w 10000"/>
              <a:gd name="connsiteY0-200" fmla="*/ 4447 h 10000"/>
              <a:gd name="connsiteX1-201" fmla="*/ 1052 w 10000"/>
              <a:gd name="connsiteY1-202" fmla="*/ 4429 h 10000"/>
              <a:gd name="connsiteX2-203" fmla="*/ 525 w 10000"/>
              <a:gd name="connsiteY2-204" fmla="*/ 9105 h 10000"/>
              <a:gd name="connsiteX3-205" fmla="*/ 0 w 10000"/>
              <a:gd name="connsiteY3-206" fmla="*/ 4429 h 10000"/>
              <a:gd name="connsiteX4-207" fmla="*/ 0 w 10000"/>
              <a:gd name="connsiteY4-208" fmla="*/ 5373 h 10000"/>
              <a:gd name="connsiteX5-209" fmla="*/ 525 w 10000"/>
              <a:gd name="connsiteY5-210" fmla="*/ 10000 h 10000"/>
              <a:gd name="connsiteX6-211" fmla="*/ 1052 w 10000"/>
              <a:gd name="connsiteY6-212" fmla="*/ 5373 h 10000"/>
              <a:gd name="connsiteX7-213" fmla="*/ 9449 w 10000"/>
              <a:gd name="connsiteY7-214" fmla="*/ 5470 h 10000"/>
              <a:gd name="connsiteX8-215" fmla="*/ 10000 w 10000"/>
              <a:gd name="connsiteY8-216" fmla="*/ 0 h 10000"/>
              <a:gd name="connsiteX9-217" fmla="*/ 10000 w 10000"/>
              <a:gd name="connsiteY9-218" fmla="*/ 0 h 10000"/>
              <a:gd name="connsiteX10-219" fmla="*/ 9475 w 10000"/>
              <a:gd name="connsiteY10-220" fmla="*/ 4447 h 10000"/>
              <a:gd name="connsiteX0-221" fmla="*/ 9475 w 10956"/>
              <a:gd name="connsiteY0-222" fmla="*/ 4447 h 10000"/>
              <a:gd name="connsiteX1-223" fmla="*/ 1052 w 10956"/>
              <a:gd name="connsiteY1-224" fmla="*/ 4429 h 10000"/>
              <a:gd name="connsiteX2-225" fmla="*/ 525 w 10956"/>
              <a:gd name="connsiteY2-226" fmla="*/ 9105 h 10000"/>
              <a:gd name="connsiteX3-227" fmla="*/ 0 w 10956"/>
              <a:gd name="connsiteY3-228" fmla="*/ 4429 h 10000"/>
              <a:gd name="connsiteX4-229" fmla="*/ 0 w 10956"/>
              <a:gd name="connsiteY4-230" fmla="*/ 5373 h 10000"/>
              <a:gd name="connsiteX5-231" fmla="*/ 525 w 10956"/>
              <a:gd name="connsiteY5-232" fmla="*/ 10000 h 10000"/>
              <a:gd name="connsiteX6-233" fmla="*/ 1052 w 10956"/>
              <a:gd name="connsiteY6-234" fmla="*/ 5373 h 10000"/>
              <a:gd name="connsiteX7-235" fmla="*/ 9449 w 10956"/>
              <a:gd name="connsiteY7-236" fmla="*/ 5470 h 10000"/>
              <a:gd name="connsiteX8-237" fmla="*/ 10000 w 10956"/>
              <a:gd name="connsiteY8-238" fmla="*/ 0 h 10000"/>
              <a:gd name="connsiteX9-239" fmla="*/ 10000 w 10956"/>
              <a:gd name="connsiteY9-240" fmla="*/ 0 h 10000"/>
              <a:gd name="connsiteX10-241" fmla="*/ 9940 w 10956"/>
              <a:gd name="connsiteY10-242" fmla="*/ 1168 h 10000"/>
              <a:gd name="connsiteX11" fmla="*/ 9475 w 10956"/>
              <a:gd name="connsiteY11" fmla="*/ 4447 h 10000"/>
              <a:gd name="connsiteX0-243" fmla="*/ 9475 w 10956"/>
              <a:gd name="connsiteY0-244" fmla="*/ 4447 h 10000"/>
              <a:gd name="connsiteX1-245" fmla="*/ 1052 w 10956"/>
              <a:gd name="connsiteY1-246" fmla="*/ 4429 h 10000"/>
              <a:gd name="connsiteX2-247" fmla="*/ 525 w 10956"/>
              <a:gd name="connsiteY2-248" fmla="*/ 9105 h 10000"/>
              <a:gd name="connsiteX3-249" fmla="*/ 0 w 10956"/>
              <a:gd name="connsiteY3-250" fmla="*/ 4429 h 10000"/>
              <a:gd name="connsiteX4-251" fmla="*/ 0 w 10956"/>
              <a:gd name="connsiteY4-252" fmla="*/ 5373 h 10000"/>
              <a:gd name="connsiteX5-253" fmla="*/ 525 w 10956"/>
              <a:gd name="connsiteY5-254" fmla="*/ 10000 h 10000"/>
              <a:gd name="connsiteX6-255" fmla="*/ 1052 w 10956"/>
              <a:gd name="connsiteY6-256" fmla="*/ 5373 h 10000"/>
              <a:gd name="connsiteX7-257" fmla="*/ 9449 w 10956"/>
              <a:gd name="connsiteY7-258" fmla="*/ 5470 h 10000"/>
              <a:gd name="connsiteX8-259" fmla="*/ 10000 w 10956"/>
              <a:gd name="connsiteY8-260" fmla="*/ 0 h 10000"/>
              <a:gd name="connsiteX9-261" fmla="*/ 10000 w 10956"/>
              <a:gd name="connsiteY9-262" fmla="*/ 0 h 10000"/>
              <a:gd name="connsiteX10-263" fmla="*/ 10104 w 10956"/>
              <a:gd name="connsiteY10-264" fmla="*/ 1401 h 10000"/>
              <a:gd name="connsiteX11-265" fmla="*/ 9475 w 10956"/>
              <a:gd name="connsiteY11-266" fmla="*/ 4447 h 10000"/>
              <a:gd name="connsiteX0-267" fmla="*/ 9475 w 10966"/>
              <a:gd name="connsiteY0-268" fmla="*/ 4447 h 10000"/>
              <a:gd name="connsiteX1-269" fmla="*/ 1052 w 10966"/>
              <a:gd name="connsiteY1-270" fmla="*/ 4429 h 10000"/>
              <a:gd name="connsiteX2-271" fmla="*/ 525 w 10966"/>
              <a:gd name="connsiteY2-272" fmla="*/ 9105 h 10000"/>
              <a:gd name="connsiteX3-273" fmla="*/ 0 w 10966"/>
              <a:gd name="connsiteY3-274" fmla="*/ 4429 h 10000"/>
              <a:gd name="connsiteX4-275" fmla="*/ 0 w 10966"/>
              <a:gd name="connsiteY4-276" fmla="*/ 5373 h 10000"/>
              <a:gd name="connsiteX5-277" fmla="*/ 525 w 10966"/>
              <a:gd name="connsiteY5-278" fmla="*/ 10000 h 10000"/>
              <a:gd name="connsiteX6-279" fmla="*/ 1052 w 10966"/>
              <a:gd name="connsiteY6-280" fmla="*/ 5373 h 10000"/>
              <a:gd name="connsiteX7-281" fmla="*/ 9449 w 10966"/>
              <a:gd name="connsiteY7-282" fmla="*/ 5470 h 10000"/>
              <a:gd name="connsiteX8-283" fmla="*/ 10000 w 10966"/>
              <a:gd name="connsiteY8-284" fmla="*/ 0 h 10000"/>
              <a:gd name="connsiteX9-285" fmla="*/ 10000 w 10966"/>
              <a:gd name="connsiteY9-286" fmla="*/ 0 h 10000"/>
              <a:gd name="connsiteX10-287" fmla="*/ 9475 w 10966"/>
              <a:gd name="connsiteY10-288" fmla="*/ 4447 h 10000"/>
              <a:gd name="connsiteX0-289" fmla="*/ 9475 w 10966"/>
              <a:gd name="connsiteY0-290" fmla="*/ 4447 h 10000"/>
              <a:gd name="connsiteX1-291" fmla="*/ 1052 w 10966"/>
              <a:gd name="connsiteY1-292" fmla="*/ 4429 h 10000"/>
              <a:gd name="connsiteX2-293" fmla="*/ 525 w 10966"/>
              <a:gd name="connsiteY2-294" fmla="*/ 9105 h 10000"/>
              <a:gd name="connsiteX3-295" fmla="*/ 0 w 10966"/>
              <a:gd name="connsiteY3-296" fmla="*/ 4429 h 10000"/>
              <a:gd name="connsiteX4-297" fmla="*/ 0 w 10966"/>
              <a:gd name="connsiteY4-298" fmla="*/ 5373 h 10000"/>
              <a:gd name="connsiteX5-299" fmla="*/ 525 w 10966"/>
              <a:gd name="connsiteY5-300" fmla="*/ 10000 h 10000"/>
              <a:gd name="connsiteX6-301" fmla="*/ 1052 w 10966"/>
              <a:gd name="connsiteY6-302" fmla="*/ 5373 h 10000"/>
              <a:gd name="connsiteX7-303" fmla="*/ 9449 w 10966"/>
              <a:gd name="connsiteY7-304" fmla="*/ 5470 h 10000"/>
              <a:gd name="connsiteX8-305" fmla="*/ 10000 w 10966"/>
              <a:gd name="connsiteY8-306" fmla="*/ 0 h 10000"/>
              <a:gd name="connsiteX9-307" fmla="*/ 10060 w 10966"/>
              <a:gd name="connsiteY9-308" fmla="*/ 1567 h 10000"/>
              <a:gd name="connsiteX10-309" fmla="*/ 9475 w 10966"/>
              <a:gd name="connsiteY10-310" fmla="*/ 4447 h 10000"/>
              <a:gd name="connsiteX0-311" fmla="*/ 9475 w 10966"/>
              <a:gd name="connsiteY0-312" fmla="*/ 3647 h 9200"/>
              <a:gd name="connsiteX1-313" fmla="*/ 1052 w 10966"/>
              <a:gd name="connsiteY1-314" fmla="*/ 3629 h 9200"/>
              <a:gd name="connsiteX2-315" fmla="*/ 525 w 10966"/>
              <a:gd name="connsiteY2-316" fmla="*/ 8305 h 9200"/>
              <a:gd name="connsiteX3-317" fmla="*/ 0 w 10966"/>
              <a:gd name="connsiteY3-318" fmla="*/ 3629 h 9200"/>
              <a:gd name="connsiteX4-319" fmla="*/ 0 w 10966"/>
              <a:gd name="connsiteY4-320" fmla="*/ 4573 h 9200"/>
              <a:gd name="connsiteX5-321" fmla="*/ 525 w 10966"/>
              <a:gd name="connsiteY5-322" fmla="*/ 9200 h 9200"/>
              <a:gd name="connsiteX6-323" fmla="*/ 1052 w 10966"/>
              <a:gd name="connsiteY6-324" fmla="*/ 4573 h 9200"/>
              <a:gd name="connsiteX7-325" fmla="*/ 9449 w 10966"/>
              <a:gd name="connsiteY7-326" fmla="*/ 4670 h 9200"/>
              <a:gd name="connsiteX8-327" fmla="*/ 10099 w 10966"/>
              <a:gd name="connsiteY8-328" fmla="*/ 0 h 9200"/>
              <a:gd name="connsiteX9-329" fmla="*/ 10060 w 10966"/>
              <a:gd name="connsiteY9-330" fmla="*/ 767 h 9200"/>
              <a:gd name="connsiteX10-331" fmla="*/ 9475 w 10966"/>
              <a:gd name="connsiteY10-332" fmla="*/ 3647 h 9200"/>
              <a:gd name="connsiteX0-333" fmla="*/ 8640 w 10000"/>
              <a:gd name="connsiteY0-334" fmla="*/ 5401 h 11437"/>
              <a:gd name="connsiteX1-335" fmla="*/ 959 w 10000"/>
              <a:gd name="connsiteY1-336" fmla="*/ 5382 h 11437"/>
              <a:gd name="connsiteX2-337" fmla="*/ 479 w 10000"/>
              <a:gd name="connsiteY2-338" fmla="*/ 10464 h 11437"/>
              <a:gd name="connsiteX3-339" fmla="*/ 0 w 10000"/>
              <a:gd name="connsiteY3-340" fmla="*/ 5382 h 11437"/>
              <a:gd name="connsiteX4-341" fmla="*/ 0 w 10000"/>
              <a:gd name="connsiteY4-342" fmla="*/ 6408 h 11437"/>
              <a:gd name="connsiteX5-343" fmla="*/ 479 w 10000"/>
              <a:gd name="connsiteY5-344" fmla="*/ 11437 h 11437"/>
              <a:gd name="connsiteX6-345" fmla="*/ 959 w 10000"/>
              <a:gd name="connsiteY6-346" fmla="*/ 6408 h 11437"/>
              <a:gd name="connsiteX7-347" fmla="*/ 8617 w 10000"/>
              <a:gd name="connsiteY7-348" fmla="*/ 6513 h 11437"/>
              <a:gd name="connsiteX8-349" fmla="*/ 9209 w 10000"/>
              <a:gd name="connsiteY8-350" fmla="*/ 1437 h 11437"/>
              <a:gd name="connsiteX9-351" fmla="*/ 9119 w 10000"/>
              <a:gd name="connsiteY9-352" fmla="*/ 568 h 11437"/>
              <a:gd name="connsiteX10-353" fmla="*/ 8640 w 10000"/>
              <a:gd name="connsiteY10-354" fmla="*/ 5401 h 11437"/>
              <a:gd name="connsiteX0-355" fmla="*/ 8640 w 9228"/>
              <a:gd name="connsiteY0-356" fmla="*/ 5401 h 11437"/>
              <a:gd name="connsiteX1-357" fmla="*/ 959 w 9228"/>
              <a:gd name="connsiteY1-358" fmla="*/ 5382 h 11437"/>
              <a:gd name="connsiteX2-359" fmla="*/ 479 w 9228"/>
              <a:gd name="connsiteY2-360" fmla="*/ 10464 h 11437"/>
              <a:gd name="connsiteX3-361" fmla="*/ 0 w 9228"/>
              <a:gd name="connsiteY3-362" fmla="*/ 5382 h 11437"/>
              <a:gd name="connsiteX4-363" fmla="*/ 0 w 9228"/>
              <a:gd name="connsiteY4-364" fmla="*/ 6408 h 11437"/>
              <a:gd name="connsiteX5-365" fmla="*/ 479 w 9228"/>
              <a:gd name="connsiteY5-366" fmla="*/ 11437 h 11437"/>
              <a:gd name="connsiteX6-367" fmla="*/ 959 w 9228"/>
              <a:gd name="connsiteY6-368" fmla="*/ 6408 h 11437"/>
              <a:gd name="connsiteX7-369" fmla="*/ 8617 w 9228"/>
              <a:gd name="connsiteY7-370" fmla="*/ 6513 h 11437"/>
              <a:gd name="connsiteX8-371" fmla="*/ 9209 w 9228"/>
              <a:gd name="connsiteY8-372" fmla="*/ 1437 h 11437"/>
              <a:gd name="connsiteX9-373" fmla="*/ 9119 w 9228"/>
              <a:gd name="connsiteY9-374" fmla="*/ 568 h 11437"/>
              <a:gd name="connsiteX10-375" fmla="*/ 8640 w 9228"/>
              <a:gd name="connsiteY10-376" fmla="*/ 5401 h 11437"/>
              <a:gd name="connsiteX0-377" fmla="*/ 9363 w 10000"/>
              <a:gd name="connsiteY0-378" fmla="*/ 4722 h 10000"/>
              <a:gd name="connsiteX1-379" fmla="*/ 1039 w 10000"/>
              <a:gd name="connsiteY1-380" fmla="*/ 4706 h 10000"/>
              <a:gd name="connsiteX2-381" fmla="*/ 519 w 10000"/>
              <a:gd name="connsiteY2-382" fmla="*/ 9149 h 10000"/>
              <a:gd name="connsiteX3-383" fmla="*/ 0 w 10000"/>
              <a:gd name="connsiteY3-384" fmla="*/ 4706 h 10000"/>
              <a:gd name="connsiteX4-385" fmla="*/ 0 w 10000"/>
              <a:gd name="connsiteY4-386" fmla="*/ 5603 h 10000"/>
              <a:gd name="connsiteX5-387" fmla="*/ 519 w 10000"/>
              <a:gd name="connsiteY5-388" fmla="*/ 10000 h 10000"/>
              <a:gd name="connsiteX6-389" fmla="*/ 1039 w 10000"/>
              <a:gd name="connsiteY6-390" fmla="*/ 5603 h 10000"/>
              <a:gd name="connsiteX7-391" fmla="*/ 9338 w 10000"/>
              <a:gd name="connsiteY7-392" fmla="*/ 5695 h 10000"/>
              <a:gd name="connsiteX8-393" fmla="*/ 9979 w 10000"/>
              <a:gd name="connsiteY8-394" fmla="*/ 1256 h 10000"/>
              <a:gd name="connsiteX9-395" fmla="*/ 9882 w 10000"/>
              <a:gd name="connsiteY9-396" fmla="*/ 497 h 10000"/>
              <a:gd name="connsiteX10-397" fmla="*/ 9363 w 10000"/>
              <a:gd name="connsiteY10-398" fmla="*/ 4722 h 10000"/>
              <a:gd name="connsiteX0-399" fmla="*/ 9363 w 10000"/>
              <a:gd name="connsiteY0-400" fmla="*/ 4722 h 10000"/>
              <a:gd name="connsiteX1-401" fmla="*/ 1039 w 10000"/>
              <a:gd name="connsiteY1-402" fmla="*/ 4706 h 10000"/>
              <a:gd name="connsiteX2-403" fmla="*/ 519 w 10000"/>
              <a:gd name="connsiteY2-404" fmla="*/ 9149 h 10000"/>
              <a:gd name="connsiteX3-405" fmla="*/ 0 w 10000"/>
              <a:gd name="connsiteY3-406" fmla="*/ 4706 h 10000"/>
              <a:gd name="connsiteX4-407" fmla="*/ 0 w 10000"/>
              <a:gd name="connsiteY4-408" fmla="*/ 5603 h 10000"/>
              <a:gd name="connsiteX5-409" fmla="*/ 519 w 10000"/>
              <a:gd name="connsiteY5-410" fmla="*/ 10000 h 10000"/>
              <a:gd name="connsiteX6-411" fmla="*/ 1039 w 10000"/>
              <a:gd name="connsiteY6-412" fmla="*/ 5603 h 10000"/>
              <a:gd name="connsiteX7-413" fmla="*/ 9338 w 10000"/>
              <a:gd name="connsiteY7-414" fmla="*/ 5695 h 10000"/>
              <a:gd name="connsiteX8-415" fmla="*/ 9979 w 10000"/>
              <a:gd name="connsiteY8-416" fmla="*/ 1256 h 10000"/>
              <a:gd name="connsiteX9-417" fmla="*/ 9882 w 10000"/>
              <a:gd name="connsiteY9-418" fmla="*/ 497 h 10000"/>
              <a:gd name="connsiteX10-419" fmla="*/ 9363 w 10000"/>
              <a:gd name="connsiteY10-420" fmla="*/ 4722 h 10000"/>
              <a:gd name="connsiteX0-421" fmla="*/ 9363 w 10000"/>
              <a:gd name="connsiteY0-422" fmla="*/ 4722 h 10000"/>
              <a:gd name="connsiteX1-423" fmla="*/ 1039 w 10000"/>
              <a:gd name="connsiteY1-424" fmla="*/ 4706 h 10000"/>
              <a:gd name="connsiteX2-425" fmla="*/ 519 w 10000"/>
              <a:gd name="connsiteY2-426" fmla="*/ 9149 h 10000"/>
              <a:gd name="connsiteX3-427" fmla="*/ 0 w 10000"/>
              <a:gd name="connsiteY3-428" fmla="*/ 4706 h 10000"/>
              <a:gd name="connsiteX4-429" fmla="*/ 0 w 10000"/>
              <a:gd name="connsiteY4-430" fmla="*/ 5603 h 10000"/>
              <a:gd name="connsiteX5-431" fmla="*/ 519 w 10000"/>
              <a:gd name="connsiteY5-432" fmla="*/ 10000 h 10000"/>
              <a:gd name="connsiteX6-433" fmla="*/ 1039 w 10000"/>
              <a:gd name="connsiteY6-434" fmla="*/ 5603 h 10000"/>
              <a:gd name="connsiteX7-435" fmla="*/ 9338 w 10000"/>
              <a:gd name="connsiteY7-436" fmla="*/ 5695 h 10000"/>
              <a:gd name="connsiteX8-437" fmla="*/ 9979 w 10000"/>
              <a:gd name="connsiteY8-438" fmla="*/ 1256 h 10000"/>
              <a:gd name="connsiteX9-439" fmla="*/ 9882 w 10000"/>
              <a:gd name="connsiteY9-440" fmla="*/ 497 h 10000"/>
              <a:gd name="connsiteX10-441" fmla="*/ 9363 w 10000"/>
              <a:gd name="connsiteY10-442" fmla="*/ 4722 h 10000"/>
              <a:gd name="connsiteX0-443" fmla="*/ 9363 w 10000"/>
              <a:gd name="connsiteY0-444" fmla="*/ 4722 h 10000"/>
              <a:gd name="connsiteX1-445" fmla="*/ 1039 w 10000"/>
              <a:gd name="connsiteY1-446" fmla="*/ 4706 h 10000"/>
              <a:gd name="connsiteX2-447" fmla="*/ 519 w 10000"/>
              <a:gd name="connsiteY2-448" fmla="*/ 9149 h 10000"/>
              <a:gd name="connsiteX3-449" fmla="*/ 0 w 10000"/>
              <a:gd name="connsiteY3-450" fmla="*/ 4706 h 10000"/>
              <a:gd name="connsiteX4-451" fmla="*/ 0 w 10000"/>
              <a:gd name="connsiteY4-452" fmla="*/ 5603 h 10000"/>
              <a:gd name="connsiteX5-453" fmla="*/ 519 w 10000"/>
              <a:gd name="connsiteY5-454" fmla="*/ 10000 h 10000"/>
              <a:gd name="connsiteX6-455" fmla="*/ 1039 w 10000"/>
              <a:gd name="connsiteY6-456" fmla="*/ 5603 h 10000"/>
              <a:gd name="connsiteX7-457" fmla="*/ 9338 w 10000"/>
              <a:gd name="connsiteY7-458" fmla="*/ 5695 h 10000"/>
              <a:gd name="connsiteX8-459" fmla="*/ 9979 w 10000"/>
              <a:gd name="connsiteY8-460" fmla="*/ 1256 h 10000"/>
              <a:gd name="connsiteX9-461" fmla="*/ 9882 w 10000"/>
              <a:gd name="connsiteY9-462" fmla="*/ 497 h 10000"/>
              <a:gd name="connsiteX10-463" fmla="*/ 9363 w 10000"/>
              <a:gd name="connsiteY10-464" fmla="*/ 4722 h 10000"/>
              <a:gd name="connsiteX0-465" fmla="*/ 9363 w 10000"/>
              <a:gd name="connsiteY0-466" fmla="*/ 4722 h 10000"/>
              <a:gd name="connsiteX1-467" fmla="*/ 1039 w 10000"/>
              <a:gd name="connsiteY1-468" fmla="*/ 4706 h 10000"/>
              <a:gd name="connsiteX2-469" fmla="*/ 519 w 10000"/>
              <a:gd name="connsiteY2-470" fmla="*/ 9149 h 10000"/>
              <a:gd name="connsiteX3-471" fmla="*/ 0 w 10000"/>
              <a:gd name="connsiteY3-472" fmla="*/ 4706 h 10000"/>
              <a:gd name="connsiteX4-473" fmla="*/ 0 w 10000"/>
              <a:gd name="connsiteY4-474" fmla="*/ 5603 h 10000"/>
              <a:gd name="connsiteX5-475" fmla="*/ 519 w 10000"/>
              <a:gd name="connsiteY5-476" fmla="*/ 10000 h 10000"/>
              <a:gd name="connsiteX6-477" fmla="*/ 1039 w 10000"/>
              <a:gd name="connsiteY6-478" fmla="*/ 5603 h 10000"/>
              <a:gd name="connsiteX7-479" fmla="*/ 9338 w 10000"/>
              <a:gd name="connsiteY7-480" fmla="*/ 5695 h 10000"/>
              <a:gd name="connsiteX8-481" fmla="*/ 9979 w 10000"/>
              <a:gd name="connsiteY8-482" fmla="*/ 1256 h 10000"/>
              <a:gd name="connsiteX9-483" fmla="*/ 9882 w 10000"/>
              <a:gd name="connsiteY9-484" fmla="*/ 497 h 10000"/>
              <a:gd name="connsiteX10-485" fmla="*/ 9363 w 10000"/>
              <a:gd name="connsiteY10-486" fmla="*/ 4722 h 10000"/>
              <a:gd name="connsiteX0-487" fmla="*/ 9363 w 10000"/>
              <a:gd name="connsiteY0-488" fmla="*/ 4722 h 10000"/>
              <a:gd name="connsiteX1-489" fmla="*/ 1039 w 10000"/>
              <a:gd name="connsiteY1-490" fmla="*/ 4706 h 10000"/>
              <a:gd name="connsiteX2-491" fmla="*/ 519 w 10000"/>
              <a:gd name="connsiteY2-492" fmla="*/ 9149 h 10000"/>
              <a:gd name="connsiteX3-493" fmla="*/ 0 w 10000"/>
              <a:gd name="connsiteY3-494" fmla="*/ 4706 h 10000"/>
              <a:gd name="connsiteX4-495" fmla="*/ 0 w 10000"/>
              <a:gd name="connsiteY4-496" fmla="*/ 5603 h 10000"/>
              <a:gd name="connsiteX5-497" fmla="*/ 519 w 10000"/>
              <a:gd name="connsiteY5-498" fmla="*/ 10000 h 10000"/>
              <a:gd name="connsiteX6-499" fmla="*/ 1039 w 10000"/>
              <a:gd name="connsiteY6-500" fmla="*/ 5603 h 10000"/>
              <a:gd name="connsiteX7-501" fmla="*/ 9338 w 10000"/>
              <a:gd name="connsiteY7-502" fmla="*/ 5695 h 10000"/>
              <a:gd name="connsiteX8-503" fmla="*/ 9979 w 10000"/>
              <a:gd name="connsiteY8-504" fmla="*/ 1256 h 10000"/>
              <a:gd name="connsiteX9-505" fmla="*/ 9882 w 10000"/>
              <a:gd name="connsiteY9-506" fmla="*/ 497 h 10000"/>
              <a:gd name="connsiteX10-507" fmla="*/ 9363 w 10000"/>
              <a:gd name="connsiteY10-508" fmla="*/ 4722 h 10000"/>
              <a:gd name="connsiteX0-509" fmla="*/ 9363 w 9903"/>
              <a:gd name="connsiteY0-510" fmla="*/ 4722 h 10000"/>
              <a:gd name="connsiteX1-511" fmla="*/ 1039 w 9903"/>
              <a:gd name="connsiteY1-512" fmla="*/ 4706 h 10000"/>
              <a:gd name="connsiteX2-513" fmla="*/ 519 w 9903"/>
              <a:gd name="connsiteY2-514" fmla="*/ 9149 h 10000"/>
              <a:gd name="connsiteX3-515" fmla="*/ 0 w 9903"/>
              <a:gd name="connsiteY3-516" fmla="*/ 4706 h 10000"/>
              <a:gd name="connsiteX4-517" fmla="*/ 0 w 9903"/>
              <a:gd name="connsiteY4-518" fmla="*/ 5603 h 10000"/>
              <a:gd name="connsiteX5-519" fmla="*/ 519 w 9903"/>
              <a:gd name="connsiteY5-520" fmla="*/ 10000 h 10000"/>
              <a:gd name="connsiteX6-521" fmla="*/ 1039 w 9903"/>
              <a:gd name="connsiteY6-522" fmla="*/ 5603 h 10000"/>
              <a:gd name="connsiteX7-523" fmla="*/ 9338 w 9903"/>
              <a:gd name="connsiteY7-524" fmla="*/ 5695 h 10000"/>
              <a:gd name="connsiteX8-525" fmla="*/ 9882 w 9903"/>
              <a:gd name="connsiteY8-526" fmla="*/ 1351 h 10000"/>
              <a:gd name="connsiteX9-527" fmla="*/ 9882 w 9903"/>
              <a:gd name="connsiteY9-528" fmla="*/ 497 h 10000"/>
              <a:gd name="connsiteX10-529" fmla="*/ 9363 w 9903"/>
              <a:gd name="connsiteY10-530" fmla="*/ 4722 h 10000"/>
              <a:gd name="connsiteX0-531" fmla="*/ 9455 w 10003"/>
              <a:gd name="connsiteY0-532" fmla="*/ 4722 h 10000"/>
              <a:gd name="connsiteX1-533" fmla="*/ 1049 w 10003"/>
              <a:gd name="connsiteY1-534" fmla="*/ 4706 h 10000"/>
              <a:gd name="connsiteX2-535" fmla="*/ 524 w 10003"/>
              <a:gd name="connsiteY2-536" fmla="*/ 9149 h 10000"/>
              <a:gd name="connsiteX3-537" fmla="*/ 0 w 10003"/>
              <a:gd name="connsiteY3-538" fmla="*/ 4706 h 10000"/>
              <a:gd name="connsiteX4-539" fmla="*/ 0 w 10003"/>
              <a:gd name="connsiteY4-540" fmla="*/ 5603 h 10000"/>
              <a:gd name="connsiteX5-541" fmla="*/ 524 w 10003"/>
              <a:gd name="connsiteY5-542" fmla="*/ 10000 h 10000"/>
              <a:gd name="connsiteX6-543" fmla="*/ 1049 w 10003"/>
              <a:gd name="connsiteY6-544" fmla="*/ 5603 h 10000"/>
              <a:gd name="connsiteX7-545" fmla="*/ 9429 w 10003"/>
              <a:gd name="connsiteY7-546" fmla="*/ 5695 h 10000"/>
              <a:gd name="connsiteX8-547" fmla="*/ 9979 w 10003"/>
              <a:gd name="connsiteY8-548" fmla="*/ 1351 h 10000"/>
              <a:gd name="connsiteX9-549" fmla="*/ 9979 w 10003"/>
              <a:gd name="connsiteY9-550" fmla="*/ 497 h 10000"/>
              <a:gd name="connsiteX10-551" fmla="*/ 9455 w 10003"/>
              <a:gd name="connsiteY10-552" fmla="*/ 4722 h 10000"/>
              <a:gd name="connsiteX0-553" fmla="*/ 9455 w 10003"/>
              <a:gd name="connsiteY0-554" fmla="*/ 4722 h 10000"/>
              <a:gd name="connsiteX1-555" fmla="*/ 1049 w 10003"/>
              <a:gd name="connsiteY1-556" fmla="*/ 4706 h 10000"/>
              <a:gd name="connsiteX2-557" fmla="*/ 524 w 10003"/>
              <a:gd name="connsiteY2-558" fmla="*/ 9149 h 10000"/>
              <a:gd name="connsiteX3-559" fmla="*/ 0 w 10003"/>
              <a:gd name="connsiteY3-560" fmla="*/ 4706 h 10000"/>
              <a:gd name="connsiteX4-561" fmla="*/ 0 w 10003"/>
              <a:gd name="connsiteY4-562" fmla="*/ 5603 h 10000"/>
              <a:gd name="connsiteX5-563" fmla="*/ 524 w 10003"/>
              <a:gd name="connsiteY5-564" fmla="*/ 10000 h 10000"/>
              <a:gd name="connsiteX6-565" fmla="*/ 1049 w 10003"/>
              <a:gd name="connsiteY6-566" fmla="*/ 5603 h 10000"/>
              <a:gd name="connsiteX7-567" fmla="*/ 9429 w 10003"/>
              <a:gd name="connsiteY7-568" fmla="*/ 5695 h 10000"/>
              <a:gd name="connsiteX8-569" fmla="*/ 9979 w 10003"/>
              <a:gd name="connsiteY8-570" fmla="*/ 1351 h 10000"/>
              <a:gd name="connsiteX9-571" fmla="*/ 9979 w 10003"/>
              <a:gd name="connsiteY9-572" fmla="*/ 497 h 10000"/>
              <a:gd name="connsiteX10-573" fmla="*/ 9455 w 10003"/>
              <a:gd name="connsiteY10-574" fmla="*/ 4722 h 10000"/>
              <a:gd name="connsiteX0-575" fmla="*/ 9455 w 10003"/>
              <a:gd name="connsiteY0-576" fmla="*/ 4722 h 10000"/>
              <a:gd name="connsiteX1-577" fmla="*/ 1049 w 10003"/>
              <a:gd name="connsiteY1-578" fmla="*/ 4706 h 10000"/>
              <a:gd name="connsiteX2-579" fmla="*/ 524 w 10003"/>
              <a:gd name="connsiteY2-580" fmla="*/ 9149 h 10000"/>
              <a:gd name="connsiteX3-581" fmla="*/ 0 w 10003"/>
              <a:gd name="connsiteY3-582" fmla="*/ 4706 h 10000"/>
              <a:gd name="connsiteX4-583" fmla="*/ 0 w 10003"/>
              <a:gd name="connsiteY4-584" fmla="*/ 5603 h 10000"/>
              <a:gd name="connsiteX5-585" fmla="*/ 524 w 10003"/>
              <a:gd name="connsiteY5-586" fmla="*/ 10000 h 10000"/>
              <a:gd name="connsiteX6-587" fmla="*/ 1049 w 10003"/>
              <a:gd name="connsiteY6-588" fmla="*/ 5603 h 10000"/>
              <a:gd name="connsiteX7-589" fmla="*/ 9429 w 10003"/>
              <a:gd name="connsiteY7-590" fmla="*/ 5695 h 10000"/>
              <a:gd name="connsiteX8-591" fmla="*/ 9979 w 10003"/>
              <a:gd name="connsiteY8-592" fmla="*/ 1351 h 10000"/>
              <a:gd name="connsiteX9-593" fmla="*/ 9979 w 10003"/>
              <a:gd name="connsiteY9-594" fmla="*/ 497 h 10000"/>
              <a:gd name="connsiteX10-595" fmla="*/ 9455 w 10003"/>
              <a:gd name="connsiteY10-596" fmla="*/ 4722 h 10000"/>
              <a:gd name="connsiteX0-597" fmla="*/ 9455 w 10003"/>
              <a:gd name="connsiteY0-598" fmla="*/ 4722 h 10000"/>
              <a:gd name="connsiteX1-599" fmla="*/ 1049 w 10003"/>
              <a:gd name="connsiteY1-600" fmla="*/ 4706 h 10000"/>
              <a:gd name="connsiteX2-601" fmla="*/ 524 w 10003"/>
              <a:gd name="connsiteY2-602" fmla="*/ 9149 h 10000"/>
              <a:gd name="connsiteX3-603" fmla="*/ 0 w 10003"/>
              <a:gd name="connsiteY3-604" fmla="*/ 4706 h 10000"/>
              <a:gd name="connsiteX4-605" fmla="*/ 0 w 10003"/>
              <a:gd name="connsiteY4-606" fmla="*/ 5603 h 10000"/>
              <a:gd name="connsiteX5-607" fmla="*/ 524 w 10003"/>
              <a:gd name="connsiteY5-608" fmla="*/ 10000 h 10000"/>
              <a:gd name="connsiteX6-609" fmla="*/ 1049 w 10003"/>
              <a:gd name="connsiteY6-610" fmla="*/ 5603 h 10000"/>
              <a:gd name="connsiteX7-611" fmla="*/ 9429 w 10003"/>
              <a:gd name="connsiteY7-612" fmla="*/ 5695 h 10000"/>
              <a:gd name="connsiteX8-613" fmla="*/ 9979 w 10003"/>
              <a:gd name="connsiteY8-614" fmla="*/ 1351 h 10000"/>
              <a:gd name="connsiteX9-615" fmla="*/ 9979 w 10003"/>
              <a:gd name="connsiteY9-616" fmla="*/ 497 h 10000"/>
              <a:gd name="connsiteX10-617" fmla="*/ 9455 w 10003"/>
              <a:gd name="connsiteY10-618" fmla="*/ 4722 h 10000"/>
              <a:gd name="connsiteX0-619" fmla="*/ 9455 w 10003"/>
              <a:gd name="connsiteY0-620" fmla="*/ 4722 h 10000"/>
              <a:gd name="connsiteX1-621" fmla="*/ 1049 w 10003"/>
              <a:gd name="connsiteY1-622" fmla="*/ 4706 h 10000"/>
              <a:gd name="connsiteX2-623" fmla="*/ 524 w 10003"/>
              <a:gd name="connsiteY2-624" fmla="*/ 9149 h 10000"/>
              <a:gd name="connsiteX3-625" fmla="*/ 0 w 10003"/>
              <a:gd name="connsiteY3-626" fmla="*/ 4706 h 10000"/>
              <a:gd name="connsiteX4-627" fmla="*/ 0 w 10003"/>
              <a:gd name="connsiteY4-628" fmla="*/ 5603 h 10000"/>
              <a:gd name="connsiteX5-629" fmla="*/ 524 w 10003"/>
              <a:gd name="connsiteY5-630" fmla="*/ 10000 h 10000"/>
              <a:gd name="connsiteX6-631" fmla="*/ 1049 w 10003"/>
              <a:gd name="connsiteY6-632" fmla="*/ 5603 h 10000"/>
              <a:gd name="connsiteX7-633" fmla="*/ 9429 w 10003"/>
              <a:gd name="connsiteY7-634" fmla="*/ 5695 h 10000"/>
              <a:gd name="connsiteX8-635" fmla="*/ 9979 w 10003"/>
              <a:gd name="connsiteY8-636" fmla="*/ 1351 h 10000"/>
              <a:gd name="connsiteX9-637" fmla="*/ 9979 w 10003"/>
              <a:gd name="connsiteY9-638" fmla="*/ 497 h 10000"/>
              <a:gd name="connsiteX10-639" fmla="*/ 9455 w 10003"/>
              <a:gd name="connsiteY10-640" fmla="*/ 4722 h 10000"/>
              <a:gd name="connsiteX0-641" fmla="*/ 9455 w 9982"/>
              <a:gd name="connsiteY0-642" fmla="*/ 4722 h 10000"/>
              <a:gd name="connsiteX1-643" fmla="*/ 1049 w 9982"/>
              <a:gd name="connsiteY1-644" fmla="*/ 4706 h 10000"/>
              <a:gd name="connsiteX2-645" fmla="*/ 524 w 9982"/>
              <a:gd name="connsiteY2-646" fmla="*/ 9149 h 10000"/>
              <a:gd name="connsiteX3-647" fmla="*/ 0 w 9982"/>
              <a:gd name="connsiteY3-648" fmla="*/ 4706 h 10000"/>
              <a:gd name="connsiteX4-649" fmla="*/ 0 w 9982"/>
              <a:gd name="connsiteY4-650" fmla="*/ 5603 h 10000"/>
              <a:gd name="connsiteX5-651" fmla="*/ 524 w 9982"/>
              <a:gd name="connsiteY5-652" fmla="*/ 10000 h 10000"/>
              <a:gd name="connsiteX6-653" fmla="*/ 1049 w 9982"/>
              <a:gd name="connsiteY6-654" fmla="*/ 5603 h 10000"/>
              <a:gd name="connsiteX7-655" fmla="*/ 9429 w 9982"/>
              <a:gd name="connsiteY7-656" fmla="*/ 5695 h 10000"/>
              <a:gd name="connsiteX8-657" fmla="*/ 9979 w 9982"/>
              <a:gd name="connsiteY8-658" fmla="*/ 1351 h 10000"/>
              <a:gd name="connsiteX9-659" fmla="*/ 9979 w 9982"/>
              <a:gd name="connsiteY9-660" fmla="*/ 497 h 10000"/>
              <a:gd name="connsiteX10-661" fmla="*/ 9455 w 9982"/>
              <a:gd name="connsiteY10-662" fmla="*/ 4722 h 10000"/>
              <a:gd name="connsiteX0-663" fmla="*/ 9472 w 10005"/>
              <a:gd name="connsiteY0-664" fmla="*/ 4722 h 10000"/>
              <a:gd name="connsiteX1-665" fmla="*/ 1051 w 10005"/>
              <a:gd name="connsiteY1-666" fmla="*/ 4706 h 10000"/>
              <a:gd name="connsiteX2-667" fmla="*/ 525 w 10005"/>
              <a:gd name="connsiteY2-668" fmla="*/ 9149 h 10000"/>
              <a:gd name="connsiteX3-669" fmla="*/ 0 w 10005"/>
              <a:gd name="connsiteY3-670" fmla="*/ 4706 h 10000"/>
              <a:gd name="connsiteX4-671" fmla="*/ 0 w 10005"/>
              <a:gd name="connsiteY4-672" fmla="*/ 5603 h 10000"/>
              <a:gd name="connsiteX5-673" fmla="*/ 525 w 10005"/>
              <a:gd name="connsiteY5-674" fmla="*/ 10000 h 10000"/>
              <a:gd name="connsiteX6-675" fmla="*/ 1051 w 10005"/>
              <a:gd name="connsiteY6-676" fmla="*/ 5603 h 10000"/>
              <a:gd name="connsiteX7-677" fmla="*/ 9446 w 10005"/>
              <a:gd name="connsiteY7-678" fmla="*/ 5695 h 10000"/>
              <a:gd name="connsiteX8-679" fmla="*/ 9997 w 10005"/>
              <a:gd name="connsiteY8-680" fmla="*/ 1351 h 10000"/>
              <a:gd name="connsiteX9-681" fmla="*/ 9997 w 10005"/>
              <a:gd name="connsiteY9-682" fmla="*/ 497 h 10000"/>
              <a:gd name="connsiteX10-683" fmla="*/ 9472 w 10005"/>
              <a:gd name="connsiteY10-684" fmla="*/ 4722 h 10000"/>
              <a:gd name="connsiteX0-685" fmla="*/ 9472 w 9997"/>
              <a:gd name="connsiteY0-686" fmla="*/ 4722 h 10000"/>
              <a:gd name="connsiteX1-687" fmla="*/ 1051 w 9997"/>
              <a:gd name="connsiteY1-688" fmla="*/ 4706 h 10000"/>
              <a:gd name="connsiteX2-689" fmla="*/ 525 w 9997"/>
              <a:gd name="connsiteY2-690" fmla="*/ 9149 h 10000"/>
              <a:gd name="connsiteX3-691" fmla="*/ 0 w 9997"/>
              <a:gd name="connsiteY3-692" fmla="*/ 4706 h 10000"/>
              <a:gd name="connsiteX4-693" fmla="*/ 0 w 9997"/>
              <a:gd name="connsiteY4-694" fmla="*/ 5603 h 10000"/>
              <a:gd name="connsiteX5-695" fmla="*/ 525 w 9997"/>
              <a:gd name="connsiteY5-696" fmla="*/ 10000 h 10000"/>
              <a:gd name="connsiteX6-697" fmla="*/ 1051 w 9997"/>
              <a:gd name="connsiteY6-698" fmla="*/ 5603 h 10000"/>
              <a:gd name="connsiteX7-699" fmla="*/ 9446 w 9997"/>
              <a:gd name="connsiteY7-700" fmla="*/ 5695 h 10000"/>
              <a:gd name="connsiteX8-701" fmla="*/ 9942 w 9997"/>
              <a:gd name="connsiteY8-702" fmla="*/ 1985 h 10000"/>
              <a:gd name="connsiteX9-703" fmla="*/ 9997 w 9997"/>
              <a:gd name="connsiteY9-704" fmla="*/ 497 h 10000"/>
              <a:gd name="connsiteX10-705" fmla="*/ 9472 w 9997"/>
              <a:gd name="connsiteY10-706" fmla="*/ 4722 h 10000"/>
              <a:gd name="connsiteX0-707" fmla="*/ 9475 w 10008"/>
              <a:gd name="connsiteY0-708" fmla="*/ 4722 h 10000"/>
              <a:gd name="connsiteX1-709" fmla="*/ 1051 w 10008"/>
              <a:gd name="connsiteY1-710" fmla="*/ 4706 h 10000"/>
              <a:gd name="connsiteX2-711" fmla="*/ 525 w 10008"/>
              <a:gd name="connsiteY2-712" fmla="*/ 9149 h 10000"/>
              <a:gd name="connsiteX3-713" fmla="*/ 0 w 10008"/>
              <a:gd name="connsiteY3-714" fmla="*/ 4706 h 10000"/>
              <a:gd name="connsiteX4-715" fmla="*/ 0 w 10008"/>
              <a:gd name="connsiteY4-716" fmla="*/ 5603 h 10000"/>
              <a:gd name="connsiteX5-717" fmla="*/ 525 w 10008"/>
              <a:gd name="connsiteY5-718" fmla="*/ 10000 h 10000"/>
              <a:gd name="connsiteX6-719" fmla="*/ 1051 w 10008"/>
              <a:gd name="connsiteY6-720" fmla="*/ 5603 h 10000"/>
              <a:gd name="connsiteX7-721" fmla="*/ 9449 w 10008"/>
              <a:gd name="connsiteY7-722" fmla="*/ 5695 h 10000"/>
              <a:gd name="connsiteX8-723" fmla="*/ 10000 w 10008"/>
              <a:gd name="connsiteY8-724" fmla="*/ 1319 h 10000"/>
              <a:gd name="connsiteX9-725" fmla="*/ 10000 w 10008"/>
              <a:gd name="connsiteY9-726" fmla="*/ 497 h 10000"/>
              <a:gd name="connsiteX10-727" fmla="*/ 9475 w 10008"/>
              <a:gd name="connsiteY10-728" fmla="*/ 4722 h 10000"/>
              <a:gd name="connsiteX0-729" fmla="*/ 9475 w 10008"/>
              <a:gd name="connsiteY0-730" fmla="*/ 4722 h 10000"/>
              <a:gd name="connsiteX1-731" fmla="*/ 1051 w 10008"/>
              <a:gd name="connsiteY1-732" fmla="*/ 4706 h 10000"/>
              <a:gd name="connsiteX2-733" fmla="*/ 525 w 10008"/>
              <a:gd name="connsiteY2-734" fmla="*/ 9149 h 10000"/>
              <a:gd name="connsiteX3-735" fmla="*/ 0 w 10008"/>
              <a:gd name="connsiteY3-736" fmla="*/ 4706 h 10000"/>
              <a:gd name="connsiteX4-737" fmla="*/ 0 w 10008"/>
              <a:gd name="connsiteY4-738" fmla="*/ 5603 h 10000"/>
              <a:gd name="connsiteX5-739" fmla="*/ 525 w 10008"/>
              <a:gd name="connsiteY5-740" fmla="*/ 10000 h 10000"/>
              <a:gd name="connsiteX6-741" fmla="*/ 1051 w 10008"/>
              <a:gd name="connsiteY6-742" fmla="*/ 5603 h 10000"/>
              <a:gd name="connsiteX7-743" fmla="*/ 9449 w 10008"/>
              <a:gd name="connsiteY7-744" fmla="*/ 5695 h 10000"/>
              <a:gd name="connsiteX8-745" fmla="*/ 10000 w 10008"/>
              <a:gd name="connsiteY8-746" fmla="*/ 1224 h 10000"/>
              <a:gd name="connsiteX9-747" fmla="*/ 10000 w 10008"/>
              <a:gd name="connsiteY9-748" fmla="*/ 497 h 10000"/>
              <a:gd name="connsiteX10-749" fmla="*/ 9475 w 10008"/>
              <a:gd name="connsiteY10-750" fmla="*/ 4722 h 10000"/>
              <a:gd name="connsiteX0-751" fmla="*/ 9475 w 10008"/>
              <a:gd name="connsiteY0-752" fmla="*/ 4722 h 10000"/>
              <a:gd name="connsiteX1-753" fmla="*/ 1051 w 10008"/>
              <a:gd name="connsiteY1-754" fmla="*/ 4706 h 10000"/>
              <a:gd name="connsiteX2-755" fmla="*/ 525 w 10008"/>
              <a:gd name="connsiteY2-756" fmla="*/ 9149 h 10000"/>
              <a:gd name="connsiteX3-757" fmla="*/ 0 w 10008"/>
              <a:gd name="connsiteY3-758" fmla="*/ 4706 h 10000"/>
              <a:gd name="connsiteX4-759" fmla="*/ 0 w 10008"/>
              <a:gd name="connsiteY4-760" fmla="*/ 5603 h 10000"/>
              <a:gd name="connsiteX5-761" fmla="*/ 525 w 10008"/>
              <a:gd name="connsiteY5-762" fmla="*/ 10000 h 10000"/>
              <a:gd name="connsiteX6-763" fmla="*/ 1051 w 10008"/>
              <a:gd name="connsiteY6-764" fmla="*/ 5603 h 10000"/>
              <a:gd name="connsiteX7-765" fmla="*/ 9449 w 10008"/>
              <a:gd name="connsiteY7-766" fmla="*/ 5695 h 10000"/>
              <a:gd name="connsiteX8-767" fmla="*/ 10000 w 10008"/>
              <a:gd name="connsiteY8-768" fmla="*/ 1224 h 10000"/>
              <a:gd name="connsiteX9-769" fmla="*/ 10000 w 10008"/>
              <a:gd name="connsiteY9-770" fmla="*/ 497 h 10000"/>
              <a:gd name="connsiteX10-771" fmla="*/ 9475 w 10008"/>
              <a:gd name="connsiteY10-772" fmla="*/ 4722 h 10000"/>
              <a:gd name="connsiteX0-773" fmla="*/ 9475 w 10008"/>
              <a:gd name="connsiteY0-774" fmla="*/ 4722 h 10000"/>
              <a:gd name="connsiteX1-775" fmla="*/ 1051 w 10008"/>
              <a:gd name="connsiteY1-776" fmla="*/ 4706 h 10000"/>
              <a:gd name="connsiteX2-777" fmla="*/ 525 w 10008"/>
              <a:gd name="connsiteY2-778" fmla="*/ 9149 h 10000"/>
              <a:gd name="connsiteX3-779" fmla="*/ 0 w 10008"/>
              <a:gd name="connsiteY3-780" fmla="*/ 4706 h 10000"/>
              <a:gd name="connsiteX4-781" fmla="*/ 0 w 10008"/>
              <a:gd name="connsiteY4-782" fmla="*/ 5603 h 10000"/>
              <a:gd name="connsiteX5-783" fmla="*/ 525 w 10008"/>
              <a:gd name="connsiteY5-784" fmla="*/ 10000 h 10000"/>
              <a:gd name="connsiteX6-785" fmla="*/ 1051 w 10008"/>
              <a:gd name="connsiteY6-786" fmla="*/ 5603 h 10000"/>
              <a:gd name="connsiteX7-787" fmla="*/ 9449 w 10008"/>
              <a:gd name="connsiteY7-788" fmla="*/ 5695 h 10000"/>
              <a:gd name="connsiteX8-789" fmla="*/ 10000 w 10008"/>
              <a:gd name="connsiteY8-790" fmla="*/ 1224 h 10000"/>
              <a:gd name="connsiteX9-791" fmla="*/ 10000 w 10008"/>
              <a:gd name="connsiteY9-792" fmla="*/ 497 h 10000"/>
              <a:gd name="connsiteX10-793" fmla="*/ 9475 w 10008"/>
              <a:gd name="connsiteY10-794" fmla="*/ 4722 h 10000"/>
              <a:gd name="connsiteX0-795" fmla="*/ 9475 w 10008"/>
              <a:gd name="connsiteY0-796" fmla="*/ 4722 h 10000"/>
              <a:gd name="connsiteX1-797" fmla="*/ 1051 w 10008"/>
              <a:gd name="connsiteY1-798" fmla="*/ 4706 h 10000"/>
              <a:gd name="connsiteX2-799" fmla="*/ 525 w 10008"/>
              <a:gd name="connsiteY2-800" fmla="*/ 9149 h 10000"/>
              <a:gd name="connsiteX3-801" fmla="*/ 0 w 10008"/>
              <a:gd name="connsiteY3-802" fmla="*/ 4706 h 10000"/>
              <a:gd name="connsiteX4-803" fmla="*/ 0 w 10008"/>
              <a:gd name="connsiteY4-804" fmla="*/ 5603 h 10000"/>
              <a:gd name="connsiteX5-805" fmla="*/ 525 w 10008"/>
              <a:gd name="connsiteY5-806" fmla="*/ 10000 h 10000"/>
              <a:gd name="connsiteX6-807" fmla="*/ 1051 w 10008"/>
              <a:gd name="connsiteY6-808" fmla="*/ 5603 h 10000"/>
              <a:gd name="connsiteX7-809" fmla="*/ 9449 w 10008"/>
              <a:gd name="connsiteY7-810" fmla="*/ 5695 h 10000"/>
              <a:gd name="connsiteX8-811" fmla="*/ 10000 w 10008"/>
              <a:gd name="connsiteY8-812" fmla="*/ 1224 h 10000"/>
              <a:gd name="connsiteX9-813" fmla="*/ 10000 w 10008"/>
              <a:gd name="connsiteY9-814" fmla="*/ 497 h 10000"/>
              <a:gd name="connsiteX10-815" fmla="*/ 9475 w 10008"/>
              <a:gd name="connsiteY10-816" fmla="*/ 4722 h 10000"/>
              <a:gd name="connsiteX0-817" fmla="*/ 9475 w 10008"/>
              <a:gd name="connsiteY0-818" fmla="*/ 4722 h 10000"/>
              <a:gd name="connsiteX1-819" fmla="*/ 1051 w 10008"/>
              <a:gd name="connsiteY1-820" fmla="*/ 4706 h 10000"/>
              <a:gd name="connsiteX2-821" fmla="*/ 525 w 10008"/>
              <a:gd name="connsiteY2-822" fmla="*/ 9149 h 10000"/>
              <a:gd name="connsiteX3-823" fmla="*/ 0 w 10008"/>
              <a:gd name="connsiteY3-824" fmla="*/ 4706 h 10000"/>
              <a:gd name="connsiteX4-825" fmla="*/ 0 w 10008"/>
              <a:gd name="connsiteY4-826" fmla="*/ 5603 h 10000"/>
              <a:gd name="connsiteX5-827" fmla="*/ 525 w 10008"/>
              <a:gd name="connsiteY5-828" fmla="*/ 10000 h 10000"/>
              <a:gd name="connsiteX6-829" fmla="*/ 1051 w 10008"/>
              <a:gd name="connsiteY6-830" fmla="*/ 5603 h 10000"/>
              <a:gd name="connsiteX7-831" fmla="*/ 9449 w 10008"/>
              <a:gd name="connsiteY7-832" fmla="*/ 5695 h 10000"/>
              <a:gd name="connsiteX8-833" fmla="*/ 10000 w 10008"/>
              <a:gd name="connsiteY8-834" fmla="*/ 1224 h 10000"/>
              <a:gd name="connsiteX9-835" fmla="*/ 10000 w 10008"/>
              <a:gd name="connsiteY9-836" fmla="*/ 497 h 10000"/>
              <a:gd name="connsiteX10-837" fmla="*/ 9475 w 10008"/>
              <a:gd name="connsiteY10-838" fmla="*/ 4722 h 10000"/>
              <a:gd name="connsiteX0-839" fmla="*/ 9475 w 10008"/>
              <a:gd name="connsiteY0-840" fmla="*/ 4722 h 10000"/>
              <a:gd name="connsiteX1-841" fmla="*/ 1051 w 10008"/>
              <a:gd name="connsiteY1-842" fmla="*/ 4706 h 10000"/>
              <a:gd name="connsiteX2-843" fmla="*/ 525 w 10008"/>
              <a:gd name="connsiteY2-844" fmla="*/ 9149 h 10000"/>
              <a:gd name="connsiteX3-845" fmla="*/ 0 w 10008"/>
              <a:gd name="connsiteY3-846" fmla="*/ 4706 h 10000"/>
              <a:gd name="connsiteX4-847" fmla="*/ 0 w 10008"/>
              <a:gd name="connsiteY4-848" fmla="*/ 5603 h 10000"/>
              <a:gd name="connsiteX5-849" fmla="*/ 525 w 10008"/>
              <a:gd name="connsiteY5-850" fmla="*/ 10000 h 10000"/>
              <a:gd name="connsiteX6-851" fmla="*/ 1051 w 10008"/>
              <a:gd name="connsiteY6-852" fmla="*/ 5603 h 10000"/>
              <a:gd name="connsiteX7-853" fmla="*/ 9449 w 10008"/>
              <a:gd name="connsiteY7-854" fmla="*/ 5695 h 10000"/>
              <a:gd name="connsiteX8-855" fmla="*/ 10000 w 10008"/>
              <a:gd name="connsiteY8-856" fmla="*/ 1224 h 10000"/>
              <a:gd name="connsiteX9-857" fmla="*/ 10000 w 10008"/>
              <a:gd name="connsiteY9-858" fmla="*/ 497 h 10000"/>
              <a:gd name="connsiteX10-859" fmla="*/ 9475 w 10008"/>
              <a:gd name="connsiteY10-860" fmla="*/ 4722 h 10000"/>
              <a:gd name="connsiteX0-861" fmla="*/ 9475 w 10008"/>
              <a:gd name="connsiteY0-862" fmla="*/ 4722 h 10000"/>
              <a:gd name="connsiteX1-863" fmla="*/ 1051 w 10008"/>
              <a:gd name="connsiteY1-864" fmla="*/ 4706 h 10000"/>
              <a:gd name="connsiteX2-865" fmla="*/ 525 w 10008"/>
              <a:gd name="connsiteY2-866" fmla="*/ 9149 h 10000"/>
              <a:gd name="connsiteX3-867" fmla="*/ 0 w 10008"/>
              <a:gd name="connsiteY3-868" fmla="*/ 4706 h 10000"/>
              <a:gd name="connsiteX4-869" fmla="*/ 0 w 10008"/>
              <a:gd name="connsiteY4-870" fmla="*/ 5603 h 10000"/>
              <a:gd name="connsiteX5-871" fmla="*/ 525 w 10008"/>
              <a:gd name="connsiteY5-872" fmla="*/ 10000 h 10000"/>
              <a:gd name="connsiteX6-873" fmla="*/ 1051 w 10008"/>
              <a:gd name="connsiteY6-874" fmla="*/ 5603 h 10000"/>
              <a:gd name="connsiteX7-875" fmla="*/ 9449 w 10008"/>
              <a:gd name="connsiteY7-876" fmla="*/ 5695 h 10000"/>
              <a:gd name="connsiteX8-877" fmla="*/ 10000 w 10008"/>
              <a:gd name="connsiteY8-878" fmla="*/ 1224 h 10000"/>
              <a:gd name="connsiteX9-879" fmla="*/ 10000 w 10008"/>
              <a:gd name="connsiteY9-880" fmla="*/ 497 h 10000"/>
              <a:gd name="connsiteX10-881" fmla="*/ 9475 w 10008"/>
              <a:gd name="connsiteY10-882" fmla="*/ 4722 h 100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  <a:cxn ang="0">
                <a:pos x="connsiteX9-19" y="connsiteY9-20"/>
              </a:cxn>
              <a:cxn ang="0">
                <a:pos x="connsiteX10-21" y="connsiteY10-22"/>
              </a:cxn>
            </a:cxnLst>
            <a:rect l="l" t="t" r="r" b="b"/>
            <a:pathLst>
              <a:path w="10008" h="10000">
                <a:moveTo>
                  <a:pt x="9475" y="4722"/>
                </a:moveTo>
                <a:lnTo>
                  <a:pt x="1051" y="4706"/>
                </a:lnTo>
                <a:cubicBezTo>
                  <a:pt x="636" y="4706"/>
                  <a:pt x="525" y="9149"/>
                  <a:pt x="525" y="9149"/>
                </a:cubicBezTo>
                <a:cubicBezTo>
                  <a:pt x="525" y="9149"/>
                  <a:pt x="415" y="4706"/>
                  <a:pt x="0" y="4706"/>
                </a:cubicBezTo>
                <a:lnTo>
                  <a:pt x="0" y="5603"/>
                </a:lnTo>
                <a:cubicBezTo>
                  <a:pt x="415" y="5603"/>
                  <a:pt x="525" y="10000"/>
                  <a:pt x="525" y="10000"/>
                </a:cubicBezTo>
                <a:cubicBezTo>
                  <a:pt x="525" y="10000"/>
                  <a:pt x="636" y="5603"/>
                  <a:pt x="1051" y="5603"/>
                </a:cubicBezTo>
                <a:lnTo>
                  <a:pt x="9449" y="5695"/>
                </a:lnTo>
                <a:cubicBezTo>
                  <a:pt x="9827" y="5410"/>
                  <a:pt x="9934" y="2946"/>
                  <a:pt x="10000" y="1224"/>
                </a:cubicBezTo>
                <a:cubicBezTo>
                  <a:pt x="10008" y="1086"/>
                  <a:pt x="10001" y="0"/>
                  <a:pt x="10000" y="497"/>
                </a:cubicBezTo>
                <a:cubicBezTo>
                  <a:pt x="9937" y="1770"/>
                  <a:pt x="9819" y="4623"/>
                  <a:pt x="9475" y="4722"/>
                </a:cubicBezTo>
                <a:close/>
              </a:path>
            </a:pathLst>
          </a:custGeom>
          <a:solidFill>
            <a:srgbClr val="D5D30F"/>
          </a:solidFill>
          <a:ln w="9525">
            <a:noFill/>
            <a:rou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125437" tIns="62719" rIns="125437" bIns="62719"/>
          <a:lstStyle/>
          <a:p>
            <a:pPr defTabSz="1151890">
              <a:defRPr/>
            </a:pPr>
            <a:endParaRPr lang="fr-FR" sz="2270" kern="0">
              <a:solidFill>
                <a:sysClr val="windowText" lastClr="000000"/>
              </a:solidFill>
              <a:cs typeface="Arial" panose="020B0604020202090204" pitchFamily="34" charset="0"/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0" y="6018163"/>
            <a:ext cx="11522075" cy="0"/>
          </a:xfrm>
          <a:prstGeom prst="line">
            <a:avLst/>
          </a:prstGeom>
          <a:ln w="6350" cap="flat" cmpd="sng" algn="ctr">
            <a:solidFill>
              <a:srgbClr val="D5D30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12" descr="Capgemini_logo_slides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075" y="6117165"/>
            <a:ext cx="1740313" cy="3030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2958538" y="6184669"/>
            <a:ext cx="5949071" cy="23550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1151890">
              <a:defRPr/>
            </a:pPr>
            <a:r>
              <a:rPr lang="en-US" sz="880" dirty="0">
                <a:solidFill>
                  <a:srgbClr val="000000"/>
                </a:solidFill>
                <a:cs typeface="Arial" panose="020B0604020202090204" pitchFamily="34" charset="0"/>
              </a:rPr>
              <a:t>The information contained in this document is proprietary and confidential. </a:t>
            </a:r>
            <a:br>
              <a:rPr lang="en-US" sz="880" dirty="0">
                <a:solidFill>
                  <a:srgbClr val="000000"/>
                </a:solidFill>
                <a:cs typeface="Arial" panose="020B0604020202090204" pitchFamily="34" charset="0"/>
              </a:rPr>
            </a:br>
            <a:r>
              <a:rPr lang="en-US" sz="880" dirty="0">
                <a:solidFill>
                  <a:srgbClr val="000000"/>
                </a:solidFill>
                <a:cs typeface="Arial" panose="020B0604020202090204" pitchFamily="34" charset="0"/>
              </a:rPr>
              <a:t>It is for Capgemini </a:t>
            </a:r>
            <a:r>
              <a:rPr lang="en-US" sz="880">
                <a:solidFill>
                  <a:srgbClr val="000000"/>
                </a:solidFill>
                <a:cs typeface="Arial" panose="020B0604020202090204" pitchFamily="34" charset="0"/>
              </a:rPr>
              <a:t>internal use </a:t>
            </a:r>
            <a:r>
              <a:rPr lang="en-US" sz="880" dirty="0">
                <a:solidFill>
                  <a:srgbClr val="000000"/>
                </a:solidFill>
                <a:cs typeface="Arial" panose="020B0604020202090204" pitchFamily="34" charset="0"/>
              </a:rPr>
              <a:t>only. Copyright© 2014 Capgemini. All rights reserved.</a:t>
            </a:r>
            <a:endParaRPr lang="en-GB" sz="880" dirty="0">
              <a:solidFill>
                <a:srgbClr val="000000"/>
              </a:solidFill>
              <a:cs typeface="Arial" panose="020B0604020202090204" pitchFamily="34" charset="0"/>
            </a:endParaRPr>
          </a:p>
        </p:txBody>
      </p:sp>
      <p:sp>
        <p:nvSpPr>
          <p:cNvPr id="7" name="TextBox 6"/>
          <p:cNvSpPr txBox="1"/>
          <p:nvPr userDrawn="1">
            <p:custDataLst>
              <p:tags r:id="rId2"/>
            </p:custDataLst>
          </p:nvPr>
        </p:nvSpPr>
        <p:spPr>
          <a:xfrm>
            <a:off x="5815250" y="5999320"/>
            <a:ext cx="235642" cy="232692"/>
          </a:xfrm>
          <a:prstGeom prst="rect">
            <a:avLst/>
          </a:prstGeom>
          <a:noFill/>
        </p:spPr>
        <p:txBody>
          <a:bodyPr wrap="none"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MS PGothic" pitchFamily="34" charset="-128"/>
              </a:defRPr>
            </a:lvl9pPr>
          </a:lstStyle>
          <a:p>
            <a:pPr algn="ctr" defTabSz="1151890" eaLnBrk="1" hangingPunct="1"/>
            <a:fld id="{71D3F241-0EF0-452F-BFBF-A1C3F069F65D}" type="slidenum">
              <a:rPr lang="en-US" altLang="nl-NL" sz="1510">
                <a:solidFill>
                  <a:srgbClr val="979797"/>
                </a:solidFill>
              </a:rPr>
              <a:t>‹#›</a:t>
            </a:fld>
            <a:endParaRPr lang="en-US" altLang="nl-NL" sz="1510">
              <a:solidFill>
                <a:srgbClr val="979797"/>
              </a:solidFill>
            </a:endParaRPr>
          </a:p>
        </p:txBody>
      </p:sp>
      <p:sp>
        <p:nvSpPr>
          <p:cNvPr id="8" name="Freeform 7"/>
          <p:cNvSpPr/>
          <p:nvPr userDrawn="1"/>
        </p:nvSpPr>
        <p:spPr>
          <a:xfrm>
            <a:off x="390071" y="1362038"/>
            <a:ext cx="10767939" cy="4116111"/>
          </a:xfrm>
          <a:custGeom>
            <a:avLst/>
            <a:gdLst>
              <a:gd name="connsiteX0" fmla="*/ 8521700 w 8521700"/>
              <a:gd name="connsiteY0" fmla="*/ 3124200 h 4356100"/>
              <a:gd name="connsiteX1" fmla="*/ 8521700 w 8521700"/>
              <a:gd name="connsiteY1" fmla="*/ 203200 h 4356100"/>
              <a:gd name="connsiteX2" fmla="*/ 8318500 w 8521700"/>
              <a:gd name="connsiteY2" fmla="*/ 0 h 4356100"/>
              <a:gd name="connsiteX3" fmla="*/ 228600 w 8521700"/>
              <a:gd name="connsiteY3" fmla="*/ 0 h 4356100"/>
              <a:gd name="connsiteX4" fmla="*/ 0 w 8521700"/>
              <a:gd name="connsiteY4" fmla="*/ 215900 h 4356100"/>
              <a:gd name="connsiteX5" fmla="*/ 0 w 8521700"/>
              <a:gd name="connsiteY5" fmla="*/ 4356100 h 4356100"/>
              <a:gd name="connsiteX6" fmla="*/ 6578600 w 8521700"/>
              <a:gd name="connsiteY6" fmla="*/ 4318000 h 4356100"/>
              <a:gd name="connsiteX0-1" fmla="*/ 8532812 w 8532812"/>
              <a:gd name="connsiteY0-2" fmla="*/ 3124200 h 4318000"/>
              <a:gd name="connsiteX1-3" fmla="*/ 8532812 w 8532812"/>
              <a:gd name="connsiteY1-4" fmla="*/ 203200 h 4318000"/>
              <a:gd name="connsiteX2-5" fmla="*/ 8329612 w 8532812"/>
              <a:gd name="connsiteY2-6" fmla="*/ 0 h 4318000"/>
              <a:gd name="connsiteX3-7" fmla="*/ 239712 w 8532812"/>
              <a:gd name="connsiteY3-8" fmla="*/ 0 h 4318000"/>
              <a:gd name="connsiteX4-9" fmla="*/ 11112 w 8532812"/>
              <a:gd name="connsiteY4-10" fmla="*/ 215900 h 4318000"/>
              <a:gd name="connsiteX5-11" fmla="*/ 0 w 8532812"/>
              <a:gd name="connsiteY5-12" fmla="*/ 4318000 h 4318000"/>
              <a:gd name="connsiteX6-13" fmla="*/ 6589712 w 8532812"/>
              <a:gd name="connsiteY6-14" fmla="*/ 4318000 h 4318000"/>
              <a:gd name="connsiteX0-15" fmla="*/ 8532812 w 8532812"/>
              <a:gd name="connsiteY0-16" fmla="*/ 3125893 h 4319693"/>
              <a:gd name="connsiteX1-17" fmla="*/ 8532812 w 8532812"/>
              <a:gd name="connsiteY1-18" fmla="*/ 204893 h 4319693"/>
              <a:gd name="connsiteX2-19" fmla="*/ 8329612 w 8532812"/>
              <a:gd name="connsiteY2-20" fmla="*/ 1693 h 4319693"/>
              <a:gd name="connsiteX3-21" fmla="*/ 239712 w 8532812"/>
              <a:gd name="connsiteY3-22" fmla="*/ 1693 h 4319693"/>
              <a:gd name="connsiteX4-23" fmla="*/ 11112 w 8532812"/>
              <a:gd name="connsiteY4-24" fmla="*/ 217593 h 4319693"/>
              <a:gd name="connsiteX5-25" fmla="*/ 0 w 8532812"/>
              <a:gd name="connsiteY5-26" fmla="*/ 4319693 h 4319693"/>
              <a:gd name="connsiteX6-27" fmla="*/ 6589712 w 8532812"/>
              <a:gd name="connsiteY6-28" fmla="*/ 4319693 h 4319693"/>
              <a:gd name="connsiteX0-29" fmla="*/ 8532812 w 8532812"/>
              <a:gd name="connsiteY0-30" fmla="*/ 3125893 h 4319693"/>
              <a:gd name="connsiteX1-31" fmla="*/ 8532812 w 8532812"/>
              <a:gd name="connsiteY1-32" fmla="*/ 204893 h 4319693"/>
              <a:gd name="connsiteX2-33" fmla="*/ 8329612 w 8532812"/>
              <a:gd name="connsiteY2-34" fmla="*/ 1693 h 4319693"/>
              <a:gd name="connsiteX3-35" fmla="*/ 239712 w 8532812"/>
              <a:gd name="connsiteY3-36" fmla="*/ 1693 h 4319693"/>
              <a:gd name="connsiteX4-37" fmla="*/ 11112 w 8532812"/>
              <a:gd name="connsiteY4-38" fmla="*/ 217593 h 4319693"/>
              <a:gd name="connsiteX5-39" fmla="*/ 0 w 8532812"/>
              <a:gd name="connsiteY5-40" fmla="*/ 4319693 h 4319693"/>
              <a:gd name="connsiteX6-41" fmla="*/ 6589712 w 8532812"/>
              <a:gd name="connsiteY6-42" fmla="*/ 4319693 h 4319693"/>
              <a:gd name="connsiteX0-43" fmla="*/ 8532812 w 8543819"/>
              <a:gd name="connsiteY0-44" fmla="*/ 3141768 h 4335568"/>
              <a:gd name="connsiteX1-45" fmla="*/ 8532812 w 8543819"/>
              <a:gd name="connsiteY1-46" fmla="*/ 220768 h 4335568"/>
              <a:gd name="connsiteX2-47" fmla="*/ 8329612 w 8543819"/>
              <a:gd name="connsiteY2-48" fmla="*/ 17568 h 4335568"/>
              <a:gd name="connsiteX3-49" fmla="*/ 239712 w 8543819"/>
              <a:gd name="connsiteY3-50" fmla="*/ 17568 h 4335568"/>
              <a:gd name="connsiteX4-51" fmla="*/ 11112 w 8543819"/>
              <a:gd name="connsiteY4-52" fmla="*/ 233468 h 4335568"/>
              <a:gd name="connsiteX5-53" fmla="*/ 0 w 8543819"/>
              <a:gd name="connsiteY5-54" fmla="*/ 4335568 h 4335568"/>
              <a:gd name="connsiteX6-55" fmla="*/ 6589712 w 8543819"/>
              <a:gd name="connsiteY6-56" fmla="*/ 4335568 h 4335568"/>
              <a:gd name="connsiteX0-57" fmla="*/ 8582660 w 8593667"/>
              <a:gd name="connsiteY0-58" fmla="*/ 3163147 h 4356947"/>
              <a:gd name="connsiteX1-59" fmla="*/ 8582660 w 8593667"/>
              <a:gd name="connsiteY1-60" fmla="*/ 242147 h 4356947"/>
              <a:gd name="connsiteX2-61" fmla="*/ 8379460 w 8593667"/>
              <a:gd name="connsiteY2-62" fmla="*/ 38947 h 4356947"/>
              <a:gd name="connsiteX3-63" fmla="*/ 289560 w 8593667"/>
              <a:gd name="connsiteY3-64" fmla="*/ 38947 h 4356947"/>
              <a:gd name="connsiteX4-65" fmla="*/ 60960 w 8593667"/>
              <a:gd name="connsiteY4-66" fmla="*/ 254847 h 4356947"/>
              <a:gd name="connsiteX5-67" fmla="*/ 49848 w 8593667"/>
              <a:gd name="connsiteY5-68" fmla="*/ 4356947 h 4356947"/>
              <a:gd name="connsiteX6-69" fmla="*/ 6639560 w 8593667"/>
              <a:gd name="connsiteY6-70" fmla="*/ 4356947 h 4356947"/>
              <a:gd name="connsiteX0-71" fmla="*/ 8582660 w 8593667"/>
              <a:gd name="connsiteY0-72" fmla="*/ 3163147 h 4356947"/>
              <a:gd name="connsiteX1-73" fmla="*/ 8582660 w 8593667"/>
              <a:gd name="connsiteY1-74" fmla="*/ 242147 h 4356947"/>
              <a:gd name="connsiteX2-75" fmla="*/ 8379460 w 8593667"/>
              <a:gd name="connsiteY2-76" fmla="*/ 38947 h 4356947"/>
              <a:gd name="connsiteX3-77" fmla="*/ 289560 w 8593667"/>
              <a:gd name="connsiteY3-78" fmla="*/ 38947 h 4356947"/>
              <a:gd name="connsiteX4-79" fmla="*/ 60960 w 8593667"/>
              <a:gd name="connsiteY4-80" fmla="*/ 254847 h 4356947"/>
              <a:gd name="connsiteX5-81" fmla="*/ 49848 w 8593667"/>
              <a:gd name="connsiteY5-82" fmla="*/ 4356947 h 4356947"/>
              <a:gd name="connsiteX6-83" fmla="*/ 6639560 w 8593667"/>
              <a:gd name="connsiteY6-84" fmla="*/ 4356947 h 4356947"/>
              <a:gd name="connsiteX0-85" fmla="*/ 8566468 w 8577475"/>
              <a:gd name="connsiteY0-86" fmla="*/ 3217122 h 4410922"/>
              <a:gd name="connsiteX1-87" fmla="*/ 8566468 w 8577475"/>
              <a:gd name="connsiteY1-88" fmla="*/ 296122 h 4410922"/>
              <a:gd name="connsiteX2-89" fmla="*/ 8363268 w 8577475"/>
              <a:gd name="connsiteY2-90" fmla="*/ 92922 h 4410922"/>
              <a:gd name="connsiteX3-91" fmla="*/ 273368 w 8577475"/>
              <a:gd name="connsiteY3-92" fmla="*/ 92922 h 4410922"/>
              <a:gd name="connsiteX4-93" fmla="*/ 44768 w 8577475"/>
              <a:gd name="connsiteY4-94" fmla="*/ 308822 h 4410922"/>
              <a:gd name="connsiteX5-95" fmla="*/ 33656 w 8577475"/>
              <a:gd name="connsiteY5-96" fmla="*/ 4410922 h 4410922"/>
              <a:gd name="connsiteX6-97" fmla="*/ 6623368 w 8577475"/>
              <a:gd name="connsiteY6-98" fmla="*/ 4410922 h 4410922"/>
              <a:gd name="connsiteX0-99" fmla="*/ 8566468 w 8577475"/>
              <a:gd name="connsiteY0-100" fmla="*/ 3217122 h 4410922"/>
              <a:gd name="connsiteX1-101" fmla="*/ 8566468 w 8577475"/>
              <a:gd name="connsiteY1-102" fmla="*/ 296122 h 4410922"/>
              <a:gd name="connsiteX2-103" fmla="*/ 8363268 w 8577475"/>
              <a:gd name="connsiteY2-104" fmla="*/ 92922 h 4410922"/>
              <a:gd name="connsiteX3-105" fmla="*/ 273368 w 8577475"/>
              <a:gd name="connsiteY3-106" fmla="*/ 92922 h 4410922"/>
              <a:gd name="connsiteX4-107" fmla="*/ 44768 w 8577475"/>
              <a:gd name="connsiteY4-108" fmla="*/ 308822 h 4410922"/>
              <a:gd name="connsiteX5-109" fmla="*/ 33656 w 8577475"/>
              <a:gd name="connsiteY5-110" fmla="*/ 4410922 h 4410922"/>
              <a:gd name="connsiteX6-111" fmla="*/ 6623368 w 8577475"/>
              <a:gd name="connsiteY6-112" fmla="*/ 4410922 h 4410922"/>
              <a:gd name="connsiteX0-113" fmla="*/ 8577580 w 8588587"/>
              <a:gd name="connsiteY0-114" fmla="*/ 3174259 h 4368059"/>
              <a:gd name="connsiteX1-115" fmla="*/ 8577580 w 8588587"/>
              <a:gd name="connsiteY1-116" fmla="*/ 253259 h 4368059"/>
              <a:gd name="connsiteX2-117" fmla="*/ 8374380 w 8588587"/>
              <a:gd name="connsiteY2-118" fmla="*/ 50059 h 4368059"/>
              <a:gd name="connsiteX3-119" fmla="*/ 284480 w 8588587"/>
              <a:gd name="connsiteY3-120" fmla="*/ 50059 h 4368059"/>
              <a:gd name="connsiteX4-121" fmla="*/ 44768 w 8588587"/>
              <a:gd name="connsiteY4-122" fmla="*/ 308822 h 4368059"/>
              <a:gd name="connsiteX5-123" fmla="*/ 44768 w 8588587"/>
              <a:gd name="connsiteY5-124" fmla="*/ 4368059 h 4368059"/>
              <a:gd name="connsiteX6-125" fmla="*/ 6634480 w 8588587"/>
              <a:gd name="connsiteY6-126" fmla="*/ 4368059 h 4368059"/>
              <a:gd name="connsiteX0-127" fmla="*/ 8553768 w 8564775"/>
              <a:gd name="connsiteY0-128" fmla="*/ 3164734 h 4358534"/>
              <a:gd name="connsiteX1-129" fmla="*/ 8553768 w 8564775"/>
              <a:gd name="connsiteY1-130" fmla="*/ 243734 h 4358534"/>
              <a:gd name="connsiteX2-131" fmla="*/ 8350568 w 8564775"/>
              <a:gd name="connsiteY2-132" fmla="*/ 40534 h 4358534"/>
              <a:gd name="connsiteX3-133" fmla="*/ 260668 w 8564775"/>
              <a:gd name="connsiteY3-134" fmla="*/ 40534 h 4358534"/>
              <a:gd name="connsiteX4-135" fmla="*/ 20956 w 8564775"/>
              <a:gd name="connsiteY4-136" fmla="*/ 299297 h 4358534"/>
              <a:gd name="connsiteX5-137" fmla="*/ 20956 w 8564775"/>
              <a:gd name="connsiteY5-138" fmla="*/ 4358534 h 4358534"/>
              <a:gd name="connsiteX6-139" fmla="*/ 6610668 w 8564775"/>
              <a:gd name="connsiteY6-140" fmla="*/ 4358534 h 4358534"/>
              <a:gd name="connsiteX0-141" fmla="*/ 8553768 w 8564775"/>
              <a:gd name="connsiteY0-142" fmla="*/ 3164734 h 4358534"/>
              <a:gd name="connsiteX1-143" fmla="*/ 8553768 w 8564775"/>
              <a:gd name="connsiteY1-144" fmla="*/ 243734 h 4358534"/>
              <a:gd name="connsiteX2-145" fmla="*/ 8350568 w 8564775"/>
              <a:gd name="connsiteY2-146" fmla="*/ 40534 h 4358534"/>
              <a:gd name="connsiteX3-147" fmla="*/ 260668 w 8564775"/>
              <a:gd name="connsiteY3-148" fmla="*/ 40534 h 4358534"/>
              <a:gd name="connsiteX4-149" fmla="*/ 20956 w 8564775"/>
              <a:gd name="connsiteY4-150" fmla="*/ 299297 h 4358534"/>
              <a:gd name="connsiteX5-151" fmla="*/ 20956 w 8564775"/>
              <a:gd name="connsiteY5-152" fmla="*/ 4302179 h 4358534"/>
              <a:gd name="connsiteX6-153" fmla="*/ 20956 w 8564775"/>
              <a:gd name="connsiteY6-154" fmla="*/ 4358534 h 4358534"/>
              <a:gd name="connsiteX7" fmla="*/ 6610668 w 8564775"/>
              <a:gd name="connsiteY7" fmla="*/ 4358534 h 4358534"/>
              <a:gd name="connsiteX0-155" fmla="*/ 8553768 w 8564775"/>
              <a:gd name="connsiteY0-156" fmla="*/ 3164734 h 4358534"/>
              <a:gd name="connsiteX1-157" fmla="*/ 8553768 w 8564775"/>
              <a:gd name="connsiteY1-158" fmla="*/ 243734 h 4358534"/>
              <a:gd name="connsiteX2-159" fmla="*/ 8350568 w 8564775"/>
              <a:gd name="connsiteY2-160" fmla="*/ 40534 h 4358534"/>
              <a:gd name="connsiteX3-161" fmla="*/ 260668 w 8564775"/>
              <a:gd name="connsiteY3-162" fmla="*/ 40534 h 4358534"/>
              <a:gd name="connsiteX4-163" fmla="*/ 20956 w 8564775"/>
              <a:gd name="connsiteY4-164" fmla="*/ 299297 h 4358534"/>
              <a:gd name="connsiteX5-165" fmla="*/ 20956 w 8564775"/>
              <a:gd name="connsiteY5-166" fmla="*/ 4302179 h 4358534"/>
              <a:gd name="connsiteX6-167" fmla="*/ 20956 w 8564775"/>
              <a:gd name="connsiteY6-168" fmla="*/ 4358534 h 4358534"/>
              <a:gd name="connsiteX7-169" fmla="*/ 78106 w 8564775"/>
              <a:gd name="connsiteY7-170" fmla="*/ 4356948 h 4358534"/>
              <a:gd name="connsiteX8" fmla="*/ 6610668 w 8564775"/>
              <a:gd name="connsiteY8" fmla="*/ 4358534 h 4358534"/>
              <a:gd name="connsiteX0-171" fmla="*/ 8553768 w 8564775"/>
              <a:gd name="connsiteY0-172" fmla="*/ 3164734 h 4358534"/>
              <a:gd name="connsiteX1-173" fmla="*/ 8553768 w 8564775"/>
              <a:gd name="connsiteY1-174" fmla="*/ 243734 h 4358534"/>
              <a:gd name="connsiteX2-175" fmla="*/ 8350568 w 8564775"/>
              <a:gd name="connsiteY2-176" fmla="*/ 40534 h 4358534"/>
              <a:gd name="connsiteX3-177" fmla="*/ 260668 w 8564775"/>
              <a:gd name="connsiteY3-178" fmla="*/ 40534 h 4358534"/>
              <a:gd name="connsiteX4-179" fmla="*/ 20956 w 8564775"/>
              <a:gd name="connsiteY4-180" fmla="*/ 299297 h 4358534"/>
              <a:gd name="connsiteX5-181" fmla="*/ 20956 w 8564775"/>
              <a:gd name="connsiteY5-182" fmla="*/ 4302179 h 4358534"/>
              <a:gd name="connsiteX6-183" fmla="*/ 78106 w 8564775"/>
              <a:gd name="connsiteY6-184" fmla="*/ 4356948 h 4358534"/>
              <a:gd name="connsiteX7-185" fmla="*/ 6610668 w 8564775"/>
              <a:gd name="connsiteY7-186" fmla="*/ 4358534 h 4358534"/>
              <a:gd name="connsiteX0-187" fmla="*/ 8553768 w 8564775"/>
              <a:gd name="connsiteY0-188" fmla="*/ 3164734 h 4389492"/>
              <a:gd name="connsiteX1-189" fmla="*/ 8553768 w 8564775"/>
              <a:gd name="connsiteY1-190" fmla="*/ 243734 h 4389492"/>
              <a:gd name="connsiteX2-191" fmla="*/ 8350568 w 8564775"/>
              <a:gd name="connsiteY2-192" fmla="*/ 40534 h 4389492"/>
              <a:gd name="connsiteX3-193" fmla="*/ 260668 w 8564775"/>
              <a:gd name="connsiteY3-194" fmla="*/ 40534 h 4389492"/>
              <a:gd name="connsiteX4-195" fmla="*/ 20956 w 8564775"/>
              <a:gd name="connsiteY4-196" fmla="*/ 299297 h 4389492"/>
              <a:gd name="connsiteX5-197" fmla="*/ 20956 w 8564775"/>
              <a:gd name="connsiteY5-198" fmla="*/ 4302179 h 4389492"/>
              <a:gd name="connsiteX6-199" fmla="*/ 78106 w 8564775"/>
              <a:gd name="connsiteY6-200" fmla="*/ 4356948 h 4389492"/>
              <a:gd name="connsiteX7-201" fmla="*/ 6610668 w 8564775"/>
              <a:gd name="connsiteY7-202" fmla="*/ 4358534 h 4389492"/>
              <a:gd name="connsiteX0-203" fmla="*/ 8553768 w 8564775"/>
              <a:gd name="connsiteY0-204" fmla="*/ 3164734 h 4358534"/>
              <a:gd name="connsiteX1-205" fmla="*/ 8553768 w 8564775"/>
              <a:gd name="connsiteY1-206" fmla="*/ 243734 h 4358534"/>
              <a:gd name="connsiteX2-207" fmla="*/ 8350568 w 8564775"/>
              <a:gd name="connsiteY2-208" fmla="*/ 40534 h 4358534"/>
              <a:gd name="connsiteX3-209" fmla="*/ 260668 w 8564775"/>
              <a:gd name="connsiteY3-210" fmla="*/ 40534 h 4358534"/>
              <a:gd name="connsiteX4-211" fmla="*/ 20956 w 8564775"/>
              <a:gd name="connsiteY4-212" fmla="*/ 299297 h 4358534"/>
              <a:gd name="connsiteX5-213" fmla="*/ 20956 w 8564775"/>
              <a:gd name="connsiteY5-214" fmla="*/ 4256935 h 4358534"/>
              <a:gd name="connsiteX6-215" fmla="*/ 78106 w 8564775"/>
              <a:gd name="connsiteY6-216" fmla="*/ 4356948 h 4358534"/>
              <a:gd name="connsiteX7-217" fmla="*/ 6610668 w 8564775"/>
              <a:gd name="connsiteY7-218" fmla="*/ 4358534 h 4358534"/>
              <a:gd name="connsiteX0-219" fmla="*/ 8553768 w 8564775"/>
              <a:gd name="connsiteY0-220" fmla="*/ 3164734 h 4358535"/>
              <a:gd name="connsiteX1-221" fmla="*/ 8553768 w 8564775"/>
              <a:gd name="connsiteY1-222" fmla="*/ 243734 h 4358535"/>
              <a:gd name="connsiteX2-223" fmla="*/ 8350568 w 8564775"/>
              <a:gd name="connsiteY2-224" fmla="*/ 40534 h 4358535"/>
              <a:gd name="connsiteX3-225" fmla="*/ 260668 w 8564775"/>
              <a:gd name="connsiteY3-226" fmla="*/ 40534 h 4358535"/>
              <a:gd name="connsiteX4-227" fmla="*/ 20956 w 8564775"/>
              <a:gd name="connsiteY4-228" fmla="*/ 299297 h 4358535"/>
              <a:gd name="connsiteX5-229" fmla="*/ 20956 w 8564775"/>
              <a:gd name="connsiteY5-230" fmla="*/ 4256935 h 4358535"/>
              <a:gd name="connsiteX6-231" fmla="*/ 113825 w 8564775"/>
              <a:gd name="connsiteY6-232" fmla="*/ 4358535 h 4358535"/>
              <a:gd name="connsiteX7-233" fmla="*/ 6610668 w 8564775"/>
              <a:gd name="connsiteY7-234" fmla="*/ 4358534 h 4358535"/>
              <a:gd name="connsiteX0-235" fmla="*/ 8553768 w 8564775"/>
              <a:gd name="connsiteY0-236" fmla="*/ 3164734 h 4367267"/>
              <a:gd name="connsiteX1-237" fmla="*/ 8553768 w 8564775"/>
              <a:gd name="connsiteY1-238" fmla="*/ 243734 h 4367267"/>
              <a:gd name="connsiteX2-239" fmla="*/ 8350568 w 8564775"/>
              <a:gd name="connsiteY2-240" fmla="*/ 40534 h 4367267"/>
              <a:gd name="connsiteX3-241" fmla="*/ 260668 w 8564775"/>
              <a:gd name="connsiteY3-242" fmla="*/ 40534 h 4367267"/>
              <a:gd name="connsiteX4-243" fmla="*/ 20956 w 8564775"/>
              <a:gd name="connsiteY4-244" fmla="*/ 299297 h 4367267"/>
              <a:gd name="connsiteX5-245" fmla="*/ 20956 w 8564775"/>
              <a:gd name="connsiteY5-246" fmla="*/ 4256935 h 4367267"/>
              <a:gd name="connsiteX6-247" fmla="*/ 113825 w 8564775"/>
              <a:gd name="connsiteY6-248" fmla="*/ 4358535 h 4367267"/>
              <a:gd name="connsiteX7-249" fmla="*/ 6610668 w 8564775"/>
              <a:gd name="connsiteY7-250" fmla="*/ 4358534 h 4367267"/>
              <a:gd name="connsiteX0-251" fmla="*/ 8553768 w 8564775"/>
              <a:gd name="connsiteY0-252" fmla="*/ 3164734 h 4367267"/>
              <a:gd name="connsiteX1-253" fmla="*/ 8553768 w 8564775"/>
              <a:gd name="connsiteY1-254" fmla="*/ 243734 h 4367267"/>
              <a:gd name="connsiteX2-255" fmla="*/ 8350568 w 8564775"/>
              <a:gd name="connsiteY2-256" fmla="*/ 40534 h 4367267"/>
              <a:gd name="connsiteX3-257" fmla="*/ 167799 w 8564775"/>
              <a:gd name="connsiteY3-258" fmla="*/ 43710 h 4367267"/>
              <a:gd name="connsiteX4-259" fmla="*/ 20956 w 8564775"/>
              <a:gd name="connsiteY4-260" fmla="*/ 299297 h 4367267"/>
              <a:gd name="connsiteX5-261" fmla="*/ 20956 w 8564775"/>
              <a:gd name="connsiteY5-262" fmla="*/ 4256935 h 4367267"/>
              <a:gd name="connsiteX6-263" fmla="*/ 113825 w 8564775"/>
              <a:gd name="connsiteY6-264" fmla="*/ 4358535 h 4367267"/>
              <a:gd name="connsiteX7-265" fmla="*/ 6610668 w 8564775"/>
              <a:gd name="connsiteY7-266" fmla="*/ 4358534 h 4367267"/>
              <a:gd name="connsiteX0-267" fmla="*/ 8553768 w 8564775"/>
              <a:gd name="connsiteY0-268" fmla="*/ 3309991 h 4512524"/>
              <a:gd name="connsiteX1-269" fmla="*/ 8553768 w 8564775"/>
              <a:gd name="connsiteY1-270" fmla="*/ 388991 h 4512524"/>
              <a:gd name="connsiteX2-271" fmla="*/ 8350568 w 8564775"/>
              <a:gd name="connsiteY2-272" fmla="*/ 185791 h 4512524"/>
              <a:gd name="connsiteX3-273" fmla="*/ 167799 w 8564775"/>
              <a:gd name="connsiteY3-274" fmla="*/ 188967 h 4512524"/>
              <a:gd name="connsiteX4-275" fmla="*/ 20956 w 8564775"/>
              <a:gd name="connsiteY4-276" fmla="*/ 299297 h 4512524"/>
              <a:gd name="connsiteX5-277" fmla="*/ 20956 w 8564775"/>
              <a:gd name="connsiteY5-278" fmla="*/ 4402192 h 4512524"/>
              <a:gd name="connsiteX6-279" fmla="*/ 113825 w 8564775"/>
              <a:gd name="connsiteY6-280" fmla="*/ 4503792 h 4512524"/>
              <a:gd name="connsiteX7-281" fmla="*/ 6610668 w 8564775"/>
              <a:gd name="connsiteY7-282" fmla="*/ 4503791 h 4512524"/>
              <a:gd name="connsiteX0-283" fmla="*/ 8553768 w 8564775"/>
              <a:gd name="connsiteY0-284" fmla="*/ 3343329 h 4545862"/>
              <a:gd name="connsiteX1-285" fmla="*/ 8553768 w 8564775"/>
              <a:gd name="connsiteY1-286" fmla="*/ 422329 h 4545862"/>
              <a:gd name="connsiteX2-287" fmla="*/ 8350568 w 8564775"/>
              <a:gd name="connsiteY2-288" fmla="*/ 219129 h 4545862"/>
              <a:gd name="connsiteX3-289" fmla="*/ 167799 w 8564775"/>
              <a:gd name="connsiteY3-290" fmla="*/ 222305 h 4545862"/>
              <a:gd name="connsiteX4-291" fmla="*/ 20956 w 8564775"/>
              <a:gd name="connsiteY4-292" fmla="*/ 299297 h 4545862"/>
              <a:gd name="connsiteX5-293" fmla="*/ 20956 w 8564775"/>
              <a:gd name="connsiteY5-294" fmla="*/ 4435530 h 4545862"/>
              <a:gd name="connsiteX6-295" fmla="*/ 113825 w 8564775"/>
              <a:gd name="connsiteY6-296" fmla="*/ 4537130 h 4545862"/>
              <a:gd name="connsiteX7-297" fmla="*/ 6610668 w 8564775"/>
              <a:gd name="connsiteY7-298" fmla="*/ 4537129 h 4545862"/>
              <a:gd name="connsiteX0-299" fmla="*/ 8545037 w 8556044"/>
              <a:gd name="connsiteY0-300" fmla="*/ 3152829 h 4355362"/>
              <a:gd name="connsiteX1-301" fmla="*/ 8545037 w 8556044"/>
              <a:gd name="connsiteY1-302" fmla="*/ 231829 h 4355362"/>
              <a:gd name="connsiteX2-303" fmla="*/ 8341837 w 8556044"/>
              <a:gd name="connsiteY2-304" fmla="*/ 28629 h 4355362"/>
              <a:gd name="connsiteX3-305" fmla="*/ 159068 w 8556044"/>
              <a:gd name="connsiteY3-306" fmla="*/ 31805 h 4355362"/>
              <a:gd name="connsiteX4-307" fmla="*/ 12225 w 8556044"/>
              <a:gd name="connsiteY4-308" fmla="*/ 108797 h 4355362"/>
              <a:gd name="connsiteX5-309" fmla="*/ 12225 w 8556044"/>
              <a:gd name="connsiteY5-310" fmla="*/ 4245030 h 4355362"/>
              <a:gd name="connsiteX6-311" fmla="*/ 105094 w 8556044"/>
              <a:gd name="connsiteY6-312" fmla="*/ 4346630 h 4355362"/>
              <a:gd name="connsiteX7-313" fmla="*/ 6601937 w 8556044"/>
              <a:gd name="connsiteY7-314" fmla="*/ 4346629 h 4355362"/>
              <a:gd name="connsiteX0-315" fmla="*/ 8590280 w 8601287"/>
              <a:gd name="connsiteY0-316" fmla="*/ 3152829 h 4355362"/>
              <a:gd name="connsiteX1-317" fmla="*/ 8590280 w 8601287"/>
              <a:gd name="connsiteY1-318" fmla="*/ 231829 h 4355362"/>
              <a:gd name="connsiteX2-319" fmla="*/ 8387080 w 8601287"/>
              <a:gd name="connsiteY2-320" fmla="*/ 28629 h 4355362"/>
              <a:gd name="connsiteX3-321" fmla="*/ 159068 w 8601287"/>
              <a:gd name="connsiteY3-322" fmla="*/ 31805 h 4355362"/>
              <a:gd name="connsiteX4-323" fmla="*/ 57468 w 8601287"/>
              <a:gd name="connsiteY4-324" fmla="*/ 108797 h 4355362"/>
              <a:gd name="connsiteX5-325" fmla="*/ 57468 w 8601287"/>
              <a:gd name="connsiteY5-326" fmla="*/ 4245030 h 4355362"/>
              <a:gd name="connsiteX6-327" fmla="*/ 150337 w 8601287"/>
              <a:gd name="connsiteY6-328" fmla="*/ 4346630 h 4355362"/>
              <a:gd name="connsiteX7-329" fmla="*/ 6647180 w 8601287"/>
              <a:gd name="connsiteY7-330" fmla="*/ 4346629 h 4355362"/>
              <a:gd name="connsiteX0-331" fmla="*/ 8537575 w 8548582"/>
              <a:gd name="connsiteY0-332" fmla="*/ 3152829 h 4355362"/>
              <a:gd name="connsiteX1-333" fmla="*/ 8537575 w 8548582"/>
              <a:gd name="connsiteY1-334" fmla="*/ 231829 h 4355362"/>
              <a:gd name="connsiteX2-335" fmla="*/ 8334375 w 8548582"/>
              <a:gd name="connsiteY2-336" fmla="*/ 28629 h 4355362"/>
              <a:gd name="connsiteX3-337" fmla="*/ 106363 w 8548582"/>
              <a:gd name="connsiteY3-338" fmla="*/ 31805 h 4355362"/>
              <a:gd name="connsiteX4-339" fmla="*/ 4763 w 8548582"/>
              <a:gd name="connsiteY4-340" fmla="*/ 108797 h 4355362"/>
              <a:gd name="connsiteX5-341" fmla="*/ 4763 w 8548582"/>
              <a:gd name="connsiteY5-342" fmla="*/ 4245030 h 4355362"/>
              <a:gd name="connsiteX6-343" fmla="*/ 97632 w 8548582"/>
              <a:gd name="connsiteY6-344" fmla="*/ 4346630 h 4355362"/>
              <a:gd name="connsiteX7-345" fmla="*/ 6594475 w 8548582"/>
              <a:gd name="connsiteY7-346" fmla="*/ 4346629 h 4355362"/>
              <a:gd name="connsiteX0-347" fmla="*/ 8537575 w 8548582"/>
              <a:gd name="connsiteY0-348" fmla="*/ 3152829 h 4355362"/>
              <a:gd name="connsiteX1-349" fmla="*/ 8537575 w 8548582"/>
              <a:gd name="connsiteY1-350" fmla="*/ 231829 h 4355362"/>
              <a:gd name="connsiteX2-351" fmla="*/ 8334375 w 8548582"/>
              <a:gd name="connsiteY2-352" fmla="*/ 28629 h 4355362"/>
              <a:gd name="connsiteX3-353" fmla="*/ 106363 w 8548582"/>
              <a:gd name="connsiteY3-354" fmla="*/ 31805 h 4355362"/>
              <a:gd name="connsiteX4-355" fmla="*/ 4763 w 8548582"/>
              <a:gd name="connsiteY4-356" fmla="*/ 108797 h 4355362"/>
              <a:gd name="connsiteX5-357" fmla="*/ 4763 w 8548582"/>
              <a:gd name="connsiteY5-358" fmla="*/ 4245030 h 4355362"/>
              <a:gd name="connsiteX6-359" fmla="*/ 97632 w 8548582"/>
              <a:gd name="connsiteY6-360" fmla="*/ 4346630 h 4355362"/>
              <a:gd name="connsiteX7-361" fmla="*/ 6594475 w 8548582"/>
              <a:gd name="connsiteY7-362" fmla="*/ 4346629 h 4355362"/>
              <a:gd name="connsiteX0-363" fmla="*/ 8537575 w 8548582"/>
              <a:gd name="connsiteY0-364" fmla="*/ 3152829 h 4355362"/>
              <a:gd name="connsiteX1-365" fmla="*/ 8537575 w 8548582"/>
              <a:gd name="connsiteY1-366" fmla="*/ 231829 h 4355362"/>
              <a:gd name="connsiteX2-367" fmla="*/ 8334375 w 8548582"/>
              <a:gd name="connsiteY2-368" fmla="*/ 28629 h 4355362"/>
              <a:gd name="connsiteX3-369" fmla="*/ 106363 w 8548582"/>
              <a:gd name="connsiteY3-370" fmla="*/ 31805 h 4355362"/>
              <a:gd name="connsiteX4-371" fmla="*/ 4763 w 8548582"/>
              <a:gd name="connsiteY4-372" fmla="*/ 108797 h 4355362"/>
              <a:gd name="connsiteX5-373" fmla="*/ 4763 w 8548582"/>
              <a:gd name="connsiteY5-374" fmla="*/ 4245030 h 4355362"/>
              <a:gd name="connsiteX6-375" fmla="*/ 97632 w 8548582"/>
              <a:gd name="connsiteY6-376" fmla="*/ 4346630 h 4355362"/>
              <a:gd name="connsiteX7-377" fmla="*/ 6594475 w 8548582"/>
              <a:gd name="connsiteY7-378" fmla="*/ 4346629 h 4355362"/>
              <a:gd name="connsiteX0-379" fmla="*/ 8537575 w 8548582"/>
              <a:gd name="connsiteY0-380" fmla="*/ 3152829 h 4355362"/>
              <a:gd name="connsiteX1-381" fmla="*/ 8537575 w 8548582"/>
              <a:gd name="connsiteY1-382" fmla="*/ 231829 h 4355362"/>
              <a:gd name="connsiteX2-383" fmla="*/ 8334375 w 8548582"/>
              <a:gd name="connsiteY2-384" fmla="*/ 28629 h 4355362"/>
              <a:gd name="connsiteX3-385" fmla="*/ 106363 w 8548582"/>
              <a:gd name="connsiteY3-386" fmla="*/ 31805 h 4355362"/>
              <a:gd name="connsiteX4-387" fmla="*/ 4763 w 8548582"/>
              <a:gd name="connsiteY4-388" fmla="*/ 108797 h 4355362"/>
              <a:gd name="connsiteX5-389" fmla="*/ 4763 w 8548582"/>
              <a:gd name="connsiteY5-390" fmla="*/ 4245030 h 4355362"/>
              <a:gd name="connsiteX6-391" fmla="*/ 97632 w 8548582"/>
              <a:gd name="connsiteY6-392" fmla="*/ 4346630 h 4355362"/>
              <a:gd name="connsiteX7-393" fmla="*/ 6594475 w 8548582"/>
              <a:gd name="connsiteY7-394" fmla="*/ 4346629 h 4355362"/>
              <a:gd name="connsiteX0-395" fmla="*/ 8537575 w 8548582"/>
              <a:gd name="connsiteY0-396" fmla="*/ 3152829 h 4355362"/>
              <a:gd name="connsiteX1-397" fmla="*/ 8537575 w 8548582"/>
              <a:gd name="connsiteY1-398" fmla="*/ 231829 h 4355362"/>
              <a:gd name="connsiteX2-399" fmla="*/ 8334375 w 8548582"/>
              <a:gd name="connsiteY2-400" fmla="*/ 28629 h 4355362"/>
              <a:gd name="connsiteX3-401" fmla="*/ 106363 w 8548582"/>
              <a:gd name="connsiteY3-402" fmla="*/ 31805 h 4355362"/>
              <a:gd name="connsiteX4-403" fmla="*/ 4763 w 8548582"/>
              <a:gd name="connsiteY4-404" fmla="*/ 108797 h 4355362"/>
              <a:gd name="connsiteX5-405" fmla="*/ 4763 w 8548582"/>
              <a:gd name="connsiteY5-406" fmla="*/ 4245030 h 4355362"/>
              <a:gd name="connsiteX6-407" fmla="*/ 97632 w 8548582"/>
              <a:gd name="connsiteY6-408" fmla="*/ 4346630 h 4355362"/>
              <a:gd name="connsiteX7-409" fmla="*/ 6594475 w 8548582"/>
              <a:gd name="connsiteY7-410" fmla="*/ 4346629 h 4355362"/>
              <a:gd name="connsiteX0-411" fmla="*/ 8537575 w 8548582"/>
              <a:gd name="connsiteY0-412" fmla="*/ 3152829 h 4355362"/>
              <a:gd name="connsiteX1-413" fmla="*/ 8537575 w 8548582"/>
              <a:gd name="connsiteY1-414" fmla="*/ 231829 h 4355362"/>
              <a:gd name="connsiteX2-415" fmla="*/ 8334375 w 8548582"/>
              <a:gd name="connsiteY2-416" fmla="*/ 28629 h 4355362"/>
              <a:gd name="connsiteX3-417" fmla="*/ 106363 w 8548582"/>
              <a:gd name="connsiteY3-418" fmla="*/ 31805 h 4355362"/>
              <a:gd name="connsiteX4-419" fmla="*/ 4763 w 8548582"/>
              <a:gd name="connsiteY4-420" fmla="*/ 108797 h 4355362"/>
              <a:gd name="connsiteX5-421" fmla="*/ 4763 w 8548582"/>
              <a:gd name="connsiteY5-422" fmla="*/ 4245030 h 4355362"/>
              <a:gd name="connsiteX6-423" fmla="*/ 97632 w 8548582"/>
              <a:gd name="connsiteY6-424" fmla="*/ 4346630 h 4355362"/>
              <a:gd name="connsiteX7-425" fmla="*/ 6594475 w 8548582"/>
              <a:gd name="connsiteY7-426" fmla="*/ 4346629 h 4355362"/>
              <a:gd name="connsiteX0-427" fmla="*/ 8537575 w 8548582"/>
              <a:gd name="connsiteY0-428" fmla="*/ 3141768 h 4344301"/>
              <a:gd name="connsiteX1-429" fmla="*/ 8537575 w 8548582"/>
              <a:gd name="connsiteY1-430" fmla="*/ 220768 h 4344301"/>
              <a:gd name="connsiteX2-431" fmla="*/ 8334375 w 8548582"/>
              <a:gd name="connsiteY2-432" fmla="*/ 17568 h 4344301"/>
              <a:gd name="connsiteX3-433" fmla="*/ 106363 w 8548582"/>
              <a:gd name="connsiteY3-434" fmla="*/ 20744 h 4344301"/>
              <a:gd name="connsiteX4-435" fmla="*/ 4762 w 8548582"/>
              <a:gd name="connsiteY4-436" fmla="*/ 109642 h 4344301"/>
              <a:gd name="connsiteX5-437" fmla="*/ 4763 w 8548582"/>
              <a:gd name="connsiteY5-438" fmla="*/ 4233969 h 4344301"/>
              <a:gd name="connsiteX6-439" fmla="*/ 97632 w 8548582"/>
              <a:gd name="connsiteY6-440" fmla="*/ 4335569 h 4344301"/>
              <a:gd name="connsiteX7-441" fmla="*/ 6594475 w 8548582"/>
              <a:gd name="connsiteY7-442" fmla="*/ 4335568 h 4344301"/>
              <a:gd name="connsiteX0-443" fmla="*/ 8539482 w 8550489"/>
              <a:gd name="connsiteY0-444" fmla="*/ 3154417 h 4356950"/>
              <a:gd name="connsiteX1-445" fmla="*/ 8539482 w 8550489"/>
              <a:gd name="connsiteY1-446" fmla="*/ 233417 h 4356950"/>
              <a:gd name="connsiteX2-447" fmla="*/ 8336282 w 8550489"/>
              <a:gd name="connsiteY2-448" fmla="*/ 30217 h 4356950"/>
              <a:gd name="connsiteX3-449" fmla="*/ 108270 w 8550489"/>
              <a:gd name="connsiteY3-450" fmla="*/ 33393 h 4356950"/>
              <a:gd name="connsiteX4-451" fmla="*/ 6669 w 8550489"/>
              <a:gd name="connsiteY4-452" fmla="*/ 122291 h 4356950"/>
              <a:gd name="connsiteX5-453" fmla="*/ 6670 w 8550489"/>
              <a:gd name="connsiteY5-454" fmla="*/ 4246618 h 4356950"/>
              <a:gd name="connsiteX6-455" fmla="*/ 99539 w 8550489"/>
              <a:gd name="connsiteY6-456" fmla="*/ 4348218 h 4356950"/>
              <a:gd name="connsiteX7-457" fmla="*/ 6596382 w 8550489"/>
              <a:gd name="connsiteY7-458" fmla="*/ 4348217 h 4356950"/>
              <a:gd name="connsiteX0-459" fmla="*/ 8539482 w 8550489"/>
              <a:gd name="connsiteY0-460" fmla="*/ 3154417 h 4356950"/>
              <a:gd name="connsiteX1-461" fmla="*/ 8539482 w 8550489"/>
              <a:gd name="connsiteY1-462" fmla="*/ 233417 h 4356950"/>
              <a:gd name="connsiteX2-463" fmla="*/ 8336282 w 8550489"/>
              <a:gd name="connsiteY2-464" fmla="*/ 30217 h 4356950"/>
              <a:gd name="connsiteX3-465" fmla="*/ 103508 w 8550489"/>
              <a:gd name="connsiteY3-466" fmla="*/ 33393 h 4356950"/>
              <a:gd name="connsiteX4-467" fmla="*/ 6669 w 8550489"/>
              <a:gd name="connsiteY4-468" fmla="*/ 122291 h 4356950"/>
              <a:gd name="connsiteX5-469" fmla="*/ 6670 w 8550489"/>
              <a:gd name="connsiteY5-470" fmla="*/ 4246618 h 4356950"/>
              <a:gd name="connsiteX6-471" fmla="*/ 99539 w 8550489"/>
              <a:gd name="connsiteY6-472" fmla="*/ 4348218 h 4356950"/>
              <a:gd name="connsiteX7-473" fmla="*/ 6596382 w 8550489"/>
              <a:gd name="connsiteY7-474" fmla="*/ 4348217 h 4356950"/>
              <a:gd name="connsiteX0-475" fmla="*/ 8539482 w 8550489"/>
              <a:gd name="connsiteY0-476" fmla="*/ 3154417 h 4356950"/>
              <a:gd name="connsiteX1-477" fmla="*/ 8539482 w 8550489"/>
              <a:gd name="connsiteY1-478" fmla="*/ 233417 h 4356950"/>
              <a:gd name="connsiteX2-479" fmla="*/ 8336282 w 8550489"/>
              <a:gd name="connsiteY2-480" fmla="*/ 30217 h 4356950"/>
              <a:gd name="connsiteX3-481" fmla="*/ 103508 w 8550489"/>
              <a:gd name="connsiteY3-482" fmla="*/ 33393 h 4356950"/>
              <a:gd name="connsiteX4-483" fmla="*/ 6669 w 8550489"/>
              <a:gd name="connsiteY4-484" fmla="*/ 122291 h 4356950"/>
              <a:gd name="connsiteX5-485" fmla="*/ 6670 w 8550489"/>
              <a:gd name="connsiteY5-486" fmla="*/ 4246618 h 4356950"/>
              <a:gd name="connsiteX6-487" fmla="*/ 99539 w 8550489"/>
              <a:gd name="connsiteY6-488" fmla="*/ 4348218 h 4356950"/>
              <a:gd name="connsiteX7-489" fmla="*/ 6596382 w 8550489"/>
              <a:gd name="connsiteY7-490" fmla="*/ 4348217 h 4356950"/>
              <a:gd name="connsiteX0-491" fmla="*/ 8539482 w 8550489"/>
              <a:gd name="connsiteY0-492" fmla="*/ 3154417 h 4356950"/>
              <a:gd name="connsiteX1-493" fmla="*/ 8539482 w 8550489"/>
              <a:gd name="connsiteY1-494" fmla="*/ 233417 h 4356950"/>
              <a:gd name="connsiteX2-495" fmla="*/ 8336282 w 8550489"/>
              <a:gd name="connsiteY2-496" fmla="*/ 30217 h 4356950"/>
              <a:gd name="connsiteX3-497" fmla="*/ 103508 w 8550489"/>
              <a:gd name="connsiteY3-498" fmla="*/ 33393 h 4356950"/>
              <a:gd name="connsiteX4-499" fmla="*/ 6669 w 8550489"/>
              <a:gd name="connsiteY4-500" fmla="*/ 122291 h 4356950"/>
              <a:gd name="connsiteX5-501" fmla="*/ 6670 w 8550489"/>
              <a:gd name="connsiteY5-502" fmla="*/ 4246618 h 4356950"/>
              <a:gd name="connsiteX6-503" fmla="*/ 99539 w 8550489"/>
              <a:gd name="connsiteY6-504" fmla="*/ 4348218 h 4356950"/>
              <a:gd name="connsiteX7-505" fmla="*/ 6596382 w 8550489"/>
              <a:gd name="connsiteY7-506" fmla="*/ 4348217 h 4356950"/>
              <a:gd name="connsiteX0-507" fmla="*/ 8539482 w 8550489"/>
              <a:gd name="connsiteY0-508" fmla="*/ 3154417 h 4356950"/>
              <a:gd name="connsiteX1-509" fmla="*/ 8539482 w 8550489"/>
              <a:gd name="connsiteY1-510" fmla="*/ 233417 h 4356950"/>
              <a:gd name="connsiteX2-511" fmla="*/ 8336282 w 8550489"/>
              <a:gd name="connsiteY2-512" fmla="*/ 30217 h 4356950"/>
              <a:gd name="connsiteX3-513" fmla="*/ 103508 w 8550489"/>
              <a:gd name="connsiteY3-514" fmla="*/ 33393 h 4356950"/>
              <a:gd name="connsiteX4-515" fmla="*/ 6669 w 8550489"/>
              <a:gd name="connsiteY4-516" fmla="*/ 122291 h 4356950"/>
              <a:gd name="connsiteX5-517" fmla="*/ 6670 w 8550489"/>
              <a:gd name="connsiteY5-518" fmla="*/ 4246618 h 4356950"/>
              <a:gd name="connsiteX6-519" fmla="*/ 99539 w 8550489"/>
              <a:gd name="connsiteY6-520" fmla="*/ 4348218 h 4356950"/>
              <a:gd name="connsiteX7-521" fmla="*/ 6596382 w 8550489"/>
              <a:gd name="connsiteY7-522" fmla="*/ 4348217 h 4356950"/>
              <a:gd name="connsiteX0-523" fmla="*/ 8539482 w 8550489"/>
              <a:gd name="connsiteY0-524" fmla="*/ 3154417 h 4356950"/>
              <a:gd name="connsiteX1-525" fmla="*/ 8539482 w 8550489"/>
              <a:gd name="connsiteY1-526" fmla="*/ 233417 h 4356950"/>
              <a:gd name="connsiteX2-527" fmla="*/ 8336282 w 8550489"/>
              <a:gd name="connsiteY2-528" fmla="*/ 30217 h 4356950"/>
              <a:gd name="connsiteX3-529" fmla="*/ 103508 w 8550489"/>
              <a:gd name="connsiteY3-530" fmla="*/ 33393 h 4356950"/>
              <a:gd name="connsiteX4-531" fmla="*/ 6669 w 8550489"/>
              <a:gd name="connsiteY4-532" fmla="*/ 122291 h 4356950"/>
              <a:gd name="connsiteX5-533" fmla="*/ 6670 w 8550489"/>
              <a:gd name="connsiteY5-534" fmla="*/ 4246618 h 4356950"/>
              <a:gd name="connsiteX6-535" fmla="*/ 99539 w 8550489"/>
              <a:gd name="connsiteY6-536" fmla="*/ 4348218 h 4356950"/>
              <a:gd name="connsiteX7-537" fmla="*/ 6596382 w 8550489"/>
              <a:gd name="connsiteY7-538" fmla="*/ 4348217 h 4356950"/>
              <a:gd name="connsiteX0-539" fmla="*/ 8539482 w 8550489"/>
              <a:gd name="connsiteY0-540" fmla="*/ 3159230 h 4361763"/>
              <a:gd name="connsiteX1-541" fmla="*/ 8539482 w 8550489"/>
              <a:gd name="connsiteY1-542" fmla="*/ 238230 h 4361763"/>
              <a:gd name="connsiteX2-543" fmla="*/ 8336282 w 8550489"/>
              <a:gd name="connsiteY2-544" fmla="*/ 35030 h 4361763"/>
              <a:gd name="connsiteX3-545" fmla="*/ 103508 w 8550489"/>
              <a:gd name="connsiteY3-546" fmla="*/ 38206 h 4361763"/>
              <a:gd name="connsiteX4-547" fmla="*/ 6669 w 8550489"/>
              <a:gd name="connsiteY4-548" fmla="*/ 127104 h 4361763"/>
              <a:gd name="connsiteX5-549" fmla="*/ 6670 w 8550489"/>
              <a:gd name="connsiteY5-550" fmla="*/ 4251431 h 4361763"/>
              <a:gd name="connsiteX6-551" fmla="*/ 99539 w 8550489"/>
              <a:gd name="connsiteY6-552" fmla="*/ 4353031 h 4361763"/>
              <a:gd name="connsiteX7-553" fmla="*/ 6596382 w 8550489"/>
              <a:gd name="connsiteY7-554" fmla="*/ 4353030 h 4361763"/>
              <a:gd name="connsiteX0-555" fmla="*/ 8539482 w 8550489"/>
              <a:gd name="connsiteY0-556" fmla="*/ 3154417 h 4356950"/>
              <a:gd name="connsiteX1-557" fmla="*/ 8539482 w 8550489"/>
              <a:gd name="connsiteY1-558" fmla="*/ 233417 h 4356950"/>
              <a:gd name="connsiteX2-559" fmla="*/ 8336282 w 8550489"/>
              <a:gd name="connsiteY2-560" fmla="*/ 30217 h 4356950"/>
              <a:gd name="connsiteX3-561" fmla="*/ 103508 w 8550489"/>
              <a:gd name="connsiteY3-562" fmla="*/ 33393 h 4356950"/>
              <a:gd name="connsiteX4-563" fmla="*/ 6669 w 8550489"/>
              <a:gd name="connsiteY4-564" fmla="*/ 122291 h 4356950"/>
              <a:gd name="connsiteX5-565" fmla="*/ 6670 w 8550489"/>
              <a:gd name="connsiteY5-566" fmla="*/ 4246618 h 4356950"/>
              <a:gd name="connsiteX6-567" fmla="*/ 99539 w 8550489"/>
              <a:gd name="connsiteY6-568" fmla="*/ 4348218 h 4356950"/>
              <a:gd name="connsiteX7-569" fmla="*/ 6596382 w 8550489"/>
              <a:gd name="connsiteY7-570" fmla="*/ 4348217 h 4356950"/>
              <a:gd name="connsiteX0-571" fmla="*/ 8539482 w 8550489"/>
              <a:gd name="connsiteY0-572" fmla="*/ 3154417 h 4356950"/>
              <a:gd name="connsiteX1-573" fmla="*/ 8539482 w 8550489"/>
              <a:gd name="connsiteY1-574" fmla="*/ 233417 h 4356950"/>
              <a:gd name="connsiteX2-575" fmla="*/ 8336282 w 8550489"/>
              <a:gd name="connsiteY2-576" fmla="*/ 30217 h 4356950"/>
              <a:gd name="connsiteX3-577" fmla="*/ 103508 w 8550489"/>
              <a:gd name="connsiteY3-578" fmla="*/ 33393 h 4356950"/>
              <a:gd name="connsiteX4-579" fmla="*/ 6669 w 8550489"/>
              <a:gd name="connsiteY4-580" fmla="*/ 122291 h 4356950"/>
              <a:gd name="connsiteX5-581" fmla="*/ 6670 w 8550489"/>
              <a:gd name="connsiteY5-582" fmla="*/ 4246618 h 4356950"/>
              <a:gd name="connsiteX6-583" fmla="*/ 99539 w 8550489"/>
              <a:gd name="connsiteY6-584" fmla="*/ 4348218 h 4356950"/>
              <a:gd name="connsiteX7-585" fmla="*/ 6596382 w 8550489"/>
              <a:gd name="connsiteY7-586" fmla="*/ 4348217 h 4356950"/>
              <a:gd name="connsiteX0-587" fmla="*/ 8539482 w 8550489"/>
              <a:gd name="connsiteY0-588" fmla="*/ 3154417 h 4356950"/>
              <a:gd name="connsiteX1-589" fmla="*/ 8539482 w 8550489"/>
              <a:gd name="connsiteY1-590" fmla="*/ 233417 h 4356950"/>
              <a:gd name="connsiteX2-591" fmla="*/ 8336282 w 8550489"/>
              <a:gd name="connsiteY2-592" fmla="*/ 30217 h 4356950"/>
              <a:gd name="connsiteX3-593" fmla="*/ 103508 w 8550489"/>
              <a:gd name="connsiteY3-594" fmla="*/ 33393 h 4356950"/>
              <a:gd name="connsiteX4-595" fmla="*/ 6669 w 8550489"/>
              <a:gd name="connsiteY4-596" fmla="*/ 122291 h 4356950"/>
              <a:gd name="connsiteX5-597" fmla="*/ 6670 w 8550489"/>
              <a:gd name="connsiteY5-598" fmla="*/ 4246618 h 4356950"/>
              <a:gd name="connsiteX6-599" fmla="*/ 99539 w 8550489"/>
              <a:gd name="connsiteY6-600" fmla="*/ 4348218 h 4356950"/>
              <a:gd name="connsiteX7-601" fmla="*/ 6596382 w 8550489"/>
              <a:gd name="connsiteY7-602" fmla="*/ 4348217 h 4356950"/>
              <a:gd name="connsiteX0-603" fmla="*/ 8539481 w 8550488"/>
              <a:gd name="connsiteY0-604" fmla="*/ 3142511 h 4345044"/>
              <a:gd name="connsiteX1-605" fmla="*/ 8539481 w 8550488"/>
              <a:gd name="connsiteY1-606" fmla="*/ 221511 h 4345044"/>
              <a:gd name="connsiteX2-607" fmla="*/ 8336281 w 8550488"/>
              <a:gd name="connsiteY2-608" fmla="*/ 18311 h 4345044"/>
              <a:gd name="connsiteX3-609" fmla="*/ 103507 w 8550488"/>
              <a:gd name="connsiteY3-610" fmla="*/ 21487 h 4345044"/>
              <a:gd name="connsiteX4-611" fmla="*/ 6669 w 8550488"/>
              <a:gd name="connsiteY4-612" fmla="*/ 122291 h 4345044"/>
              <a:gd name="connsiteX5-613" fmla="*/ 6669 w 8550488"/>
              <a:gd name="connsiteY5-614" fmla="*/ 4234712 h 4345044"/>
              <a:gd name="connsiteX6-615" fmla="*/ 99538 w 8550488"/>
              <a:gd name="connsiteY6-616" fmla="*/ 4336312 h 4345044"/>
              <a:gd name="connsiteX7-617" fmla="*/ 6596381 w 8550488"/>
              <a:gd name="connsiteY7-618" fmla="*/ 4336311 h 4345044"/>
              <a:gd name="connsiteX0-619" fmla="*/ 8539481 w 8550487"/>
              <a:gd name="connsiteY0-620" fmla="*/ 3246543 h 4449076"/>
              <a:gd name="connsiteX1-621" fmla="*/ 8539480 w 8550487"/>
              <a:gd name="connsiteY1-622" fmla="*/ 220768 h 4449076"/>
              <a:gd name="connsiteX2-623" fmla="*/ 8336281 w 8550487"/>
              <a:gd name="connsiteY2-624" fmla="*/ 122343 h 4449076"/>
              <a:gd name="connsiteX3-625" fmla="*/ 103507 w 8550487"/>
              <a:gd name="connsiteY3-626" fmla="*/ 125519 h 4449076"/>
              <a:gd name="connsiteX4-627" fmla="*/ 6669 w 8550487"/>
              <a:gd name="connsiteY4-628" fmla="*/ 226323 h 4449076"/>
              <a:gd name="connsiteX5-629" fmla="*/ 6669 w 8550487"/>
              <a:gd name="connsiteY5-630" fmla="*/ 4338744 h 4449076"/>
              <a:gd name="connsiteX6-631" fmla="*/ 99538 w 8550487"/>
              <a:gd name="connsiteY6-632" fmla="*/ 4440344 h 4449076"/>
              <a:gd name="connsiteX7-633" fmla="*/ 6596381 w 8550487"/>
              <a:gd name="connsiteY7-634" fmla="*/ 4440343 h 4449076"/>
              <a:gd name="connsiteX0-635" fmla="*/ 8539481 w 8597847"/>
              <a:gd name="connsiteY0-636" fmla="*/ 3246543 h 4449076"/>
              <a:gd name="connsiteX1-637" fmla="*/ 8539480 w 8597847"/>
              <a:gd name="connsiteY1-638" fmla="*/ 220768 h 4449076"/>
              <a:gd name="connsiteX2-639" fmla="*/ 8438674 w 8597847"/>
              <a:gd name="connsiteY2-640" fmla="*/ 125519 h 4449076"/>
              <a:gd name="connsiteX3-641" fmla="*/ 103507 w 8597847"/>
              <a:gd name="connsiteY3-642" fmla="*/ 125519 h 4449076"/>
              <a:gd name="connsiteX4-643" fmla="*/ 6669 w 8597847"/>
              <a:gd name="connsiteY4-644" fmla="*/ 226323 h 4449076"/>
              <a:gd name="connsiteX5-645" fmla="*/ 6669 w 8597847"/>
              <a:gd name="connsiteY5-646" fmla="*/ 4338744 h 4449076"/>
              <a:gd name="connsiteX6-647" fmla="*/ 99538 w 8597847"/>
              <a:gd name="connsiteY6-648" fmla="*/ 4440344 h 4449076"/>
              <a:gd name="connsiteX7-649" fmla="*/ 6596381 w 8597847"/>
              <a:gd name="connsiteY7-650" fmla="*/ 4440343 h 4449076"/>
              <a:gd name="connsiteX0-651" fmla="*/ 8539481 w 8550487"/>
              <a:gd name="connsiteY0-652" fmla="*/ 3246543 h 4449076"/>
              <a:gd name="connsiteX1-653" fmla="*/ 8539480 w 8550487"/>
              <a:gd name="connsiteY1-654" fmla="*/ 220768 h 4449076"/>
              <a:gd name="connsiteX2-655" fmla="*/ 8438674 w 8550487"/>
              <a:gd name="connsiteY2-656" fmla="*/ 125519 h 4449076"/>
              <a:gd name="connsiteX3-657" fmla="*/ 103507 w 8550487"/>
              <a:gd name="connsiteY3-658" fmla="*/ 125519 h 4449076"/>
              <a:gd name="connsiteX4-659" fmla="*/ 6669 w 8550487"/>
              <a:gd name="connsiteY4-660" fmla="*/ 226323 h 4449076"/>
              <a:gd name="connsiteX5-661" fmla="*/ 6669 w 8550487"/>
              <a:gd name="connsiteY5-662" fmla="*/ 4338744 h 4449076"/>
              <a:gd name="connsiteX6-663" fmla="*/ 99538 w 8550487"/>
              <a:gd name="connsiteY6-664" fmla="*/ 4440344 h 4449076"/>
              <a:gd name="connsiteX7-665" fmla="*/ 6596381 w 8550487"/>
              <a:gd name="connsiteY7-666" fmla="*/ 4440343 h 4449076"/>
              <a:gd name="connsiteX0-667" fmla="*/ 8539481 w 8556837"/>
              <a:gd name="connsiteY0-668" fmla="*/ 3151293 h 4353826"/>
              <a:gd name="connsiteX1-669" fmla="*/ 8539480 w 8556837"/>
              <a:gd name="connsiteY1-670" fmla="*/ 125518 h 4353826"/>
              <a:gd name="connsiteX2-671" fmla="*/ 8438674 w 8556837"/>
              <a:gd name="connsiteY2-672" fmla="*/ 30269 h 4353826"/>
              <a:gd name="connsiteX3-673" fmla="*/ 103507 w 8556837"/>
              <a:gd name="connsiteY3-674" fmla="*/ 30269 h 4353826"/>
              <a:gd name="connsiteX4-675" fmla="*/ 6669 w 8556837"/>
              <a:gd name="connsiteY4-676" fmla="*/ 131073 h 4353826"/>
              <a:gd name="connsiteX5-677" fmla="*/ 6669 w 8556837"/>
              <a:gd name="connsiteY5-678" fmla="*/ 4243494 h 4353826"/>
              <a:gd name="connsiteX6-679" fmla="*/ 99538 w 8556837"/>
              <a:gd name="connsiteY6-680" fmla="*/ 4345094 h 4353826"/>
              <a:gd name="connsiteX7-681" fmla="*/ 6596381 w 8556837"/>
              <a:gd name="connsiteY7-682" fmla="*/ 4345093 h 4353826"/>
              <a:gd name="connsiteX0-683" fmla="*/ 8539481 w 8539481"/>
              <a:gd name="connsiteY0-684" fmla="*/ 3142511 h 4345044"/>
              <a:gd name="connsiteX1-685" fmla="*/ 8539480 w 8539481"/>
              <a:gd name="connsiteY1-686" fmla="*/ 116736 h 4345044"/>
              <a:gd name="connsiteX2-687" fmla="*/ 8438674 w 8539481"/>
              <a:gd name="connsiteY2-688" fmla="*/ 21487 h 4345044"/>
              <a:gd name="connsiteX3-689" fmla="*/ 103507 w 8539481"/>
              <a:gd name="connsiteY3-690" fmla="*/ 21487 h 4345044"/>
              <a:gd name="connsiteX4-691" fmla="*/ 6669 w 8539481"/>
              <a:gd name="connsiteY4-692" fmla="*/ 122291 h 4345044"/>
              <a:gd name="connsiteX5-693" fmla="*/ 6669 w 8539481"/>
              <a:gd name="connsiteY5-694" fmla="*/ 4234712 h 4345044"/>
              <a:gd name="connsiteX6-695" fmla="*/ 99538 w 8539481"/>
              <a:gd name="connsiteY6-696" fmla="*/ 4336312 h 4345044"/>
              <a:gd name="connsiteX7-697" fmla="*/ 6596381 w 8539481"/>
              <a:gd name="connsiteY7-698" fmla="*/ 4336311 h 4345044"/>
              <a:gd name="connsiteX0-699" fmla="*/ 8539481 w 8539481"/>
              <a:gd name="connsiteY0-700" fmla="*/ 3148119 h 4350652"/>
              <a:gd name="connsiteX1-701" fmla="*/ 8539480 w 8539481"/>
              <a:gd name="connsiteY1-702" fmla="*/ 122344 h 4350652"/>
              <a:gd name="connsiteX2-703" fmla="*/ 8438674 w 8539481"/>
              <a:gd name="connsiteY2-704" fmla="*/ 27095 h 4350652"/>
              <a:gd name="connsiteX3-705" fmla="*/ 103507 w 8539481"/>
              <a:gd name="connsiteY3-706" fmla="*/ 27095 h 4350652"/>
              <a:gd name="connsiteX4-707" fmla="*/ 6669 w 8539481"/>
              <a:gd name="connsiteY4-708" fmla="*/ 127899 h 4350652"/>
              <a:gd name="connsiteX5-709" fmla="*/ 6669 w 8539481"/>
              <a:gd name="connsiteY5-710" fmla="*/ 4240320 h 4350652"/>
              <a:gd name="connsiteX6-711" fmla="*/ 99538 w 8539481"/>
              <a:gd name="connsiteY6-712" fmla="*/ 4341920 h 4350652"/>
              <a:gd name="connsiteX7-713" fmla="*/ 6596381 w 8539481"/>
              <a:gd name="connsiteY7-714" fmla="*/ 4341919 h 4350652"/>
              <a:gd name="connsiteX0-715" fmla="*/ 8539481 w 8539481"/>
              <a:gd name="connsiteY0-716" fmla="*/ 3148119 h 4350652"/>
              <a:gd name="connsiteX1-717" fmla="*/ 8539480 w 8539481"/>
              <a:gd name="connsiteY1-718" fmla="*/ 122344 h 4350652"/>
              <a:gd name="connsiteX2-719" fmla="*/ 8438674 w 8539481"/>
              <a:gd name="connsiteY2-720" fmla="*/ 27095 h 4350652"/>
              <a:gd name="connsiteX3-721" fmla="*/ 103507 w 8539481"/>
              <a:gd name="connsiteY3-722" fmla="*/ 27095 h 4350652"/>
              <a:gd name="connsiteX4-723" fmla="*/ 6669 w 8539481"/>
              <a:gd name="connsiteY4-724" fmla="*/ 127899 h 4350652"/>
              <a:gd name="connsiteX5-725" fmla="*/ 6669 w 8539481"/>
              <a:gd name="connsiteY5-726" fmla="*/ 4240320 h 4350652"/>
              <a:gd name="connsiteX6-727" fmla="*/ 99538 w 8539481"/>
              <a:gd name="connsiteY6-728" fmla="*/ 4341920 h 4350652"/>
              <a:gd name="connsiteX7-729" fmla="*/ 6596381 w 8539481"/>
              <a:gd name="connsiteY7-730" fmla="*/ 4341919 h 4350652"/>
              <a:gd name="connsiteX0-731" fmla="*/ 8539481 w 8539481"/>
              <a:gd name="connsiteY0-732" fmla="*/ 3148119 h 4350652"/>
              <a:gd name="connsiteX1-733" fmla="*/ 8539480 w 8539481"/>
              <a:gd name="connsiteY1-734" fmla="*/ 122344 h 4350652"/>
              <a:gd name="connsiteX2-735" fmla="*/ 8438674 w 8539481"/>
              <a:gd name="connsiteY2-736" fmla="*/ 27095 h 4350652"/>
              <a:gd name="connsiteX3-737" fmla="*/ 103507 w 8539481"/>
              <a:gd name="connsiteY3-738" fmla="*/ 27095 h 4350652"/>
              <a:gd name="connsiteX4-739" fmla="*/ 6669 w 8539481"/>
              <a:gd name="connsiteY4-740" fmla="*/ 127899 h 4350652"/>
              <a:gd name="connsiteX5-741" fmla="*/ 6669 w 8539481"/>
              <a:gd name="connsiteY5-742" fmla="*/ 4240320 h 4350652"/>
              <a:gd name="connsiteX6-743" fmla="*/ 99538 w 8539481"/>
              <a:gd name="connsiteY6-744" fmla="*/ 4341920 h 4350652"/>
              <a:gd name="connsiteX7-745" fmla="*/ 6596381 w 8539481"/>
              <a:gd name="connsiteY7-746" fmla="*/ 4341919 h 4350652"/>
              <a:gd name="connsiteX0-747" fmla="*/ 8539481 w 8539481"/>
              <a:gd name="connsiteY0-748" fmla="*/ 3142511 h 4345044"/>
              <a:gd name="connsiteX1-749" fmla="*/ 8539481 w 8539481"/>
              <a:gd name="connsiteY1-750" fmla="*/ 131023 h 4345044"/>
              <a:gd name="connsiteX2-751" fmla="*/ 8438674 w 8539481"/>
              <a:gd name="connsiteY2-752" fmla="*/ 21487 h 4345044"/>
              <a:gd name="connsiteX3-753" fmla="*/ 103507 w 8539481"/>
              <a:gd name="connsiteY3-754" fmla="*/ 21487 h 4345044"/>
              <a:gd name="connsiteX4-755" fmla="*/ 6669 w 8539481"/>
              <a:gd name="connsiteY4-756" fmla="*/ 122291 h 4345044"/>
              <a:gd name="connsiteX5-757" fmla="*/ 6669 w 8539481"/>
              <a:gd name="connsiteY5-758" fmla="*/ 4234712 h 4345044"/>
              <a:gd name="connsiteX6-759" fmla="*/ 99538 w 8539481"/>
              <a:gd name="connsiteY6-760" fmla="*/ 4336312 h 4345044"/>
              <a:gd name="connsiteX7-761" fmla="*/ 6596381 w 8539481"/>
              <a:gd name="connsiteY7-762" fmla="*/ 4336311 h 4345044"/>
              <a:gd name="connsiteX0-763" fmla="*/ 8539481 w 8539481"/>
              <a:gd name="connsiteY0-764" fmla="*/ 3142511 h 4345044"/>
              <a:gd name="connsiteX1-765" fmla="*/ 8539481 w 8539481"/>
              <a:gd name="connsiteY1-766" fmla="*/ 131023 h 4345044"/>
              <a:gd name="connsiteX2-767" fmla="*/ 8438674 w 8539481"/>
              <a:gd name="connsiteY2-768" fmla="*/ 21487 h 4345044"/>
              <a:gd name="connsiteX3-769" fmla="*/ 103507 w 8539481"/>
              <a:gd name="connsiteY3-770" fmla="*/ 21487 h 4345044"/>
              <a:gd name="connsiteX4-771" fmla="*/ 6669 w 8539481"/>
              <a:gd name="connsiteY4-772" fmla="*/ 122291 h 4345044"/>
              <a:gd name="connsiteX5-773" fmla="*/ 6669 w 8539481"/>
              <a:gd name="connsiteY5-774" fmla="*/ 4234712 h 4345044"/>
              <a:gd name="connsiteX6-775" fmla="*/ 99538 w 8539481"/>
              <a:gd name="connsiteY6-776" fmla="*/ 4336312 h 4345044"/>
              <a:gd name="connsiteX7-777" fmla="*/ 6596381 w 8539481"/>
              <a:gd name="connsiteY7-778" fmla="*/ 4336311 h 4345044"/>
              <a:gd name="connsiteX0-779" fmla="*/ 8539481 w 8549428"/>
              <a:gd name="connsiteY0-780" fmla="*/ 3142511 h 4345044"/>
              <a:gd name="connsiteX1-781" fmla="*/ 8539481 w 8549428"/>
              <a:gd name="connsiteY1-782" fmla="*/ 131023 h 4345044"/>
              <a:gd name="connsiteX2-783" fmla="*/ 8438674 w 8549428"/>
              <a:gd name="connsiteY2-784" fmla="*/ 21487 h 4345044"/>
              <a:gd name="connsiteX3-785" fmla="*/ 103507 w 8549428"/>
              <a:gd name="connsiteY3-786" fmla="*/ 21487 h 4345044"/>
              <a:gd name="connsiteX4-787" fmla="*/ 6669 w 8549428"/>
              <a:gd name="connsiteY4-788" fmla="*/ 122291 h 4345044"/>
              <a:gd name="connsiteX5-789" fmla="*/ 6669 w 8549428"/>
              <a:gd name="connsiteY5-790" fmla="*/ 4234712 h 4345044"/>
              <a:gd name="connsiteX6-791" fmla="*/ 99538 w 8549428"/>
              <a:gd name="connsiteY6-792" fmla="*/ 4336312 h 4345044"/>
              <a:gd name="connsiteX7-793" fmla="*/ 6596381 w 8549428"/>
              <a:gd name="connsiteY7-794" fmla="*/ 4336311 h 4345044"/>
              <a:gd name="connsiteX0-795" fmla="*/ 8539481 w 8549428"/>
              <a:gd name="connsiteY0-796" fmla="*/ 3142511 h 4345044"/>
              <a:gd name="connsiteX1-797" fmla="*/ 8539480 w 8549428"/>
              <a:gd name="connsiteY1-798" fmla="*/ 131023 h 4345044"/>
              <a:gd name="connsiteX2-799" fmla="*/ 8438674 w 8549428"/>
              <a:gd name="connsiteY2-800" fmla="*/ 21487 h 4345044"/>
              <a:gd name="connsiteX3-801" fmla="*/ 103507 w 8549428"/>
              <a:gd name="connsiteY3-802" fmla="*/ 21487 h 4345044"/>
              <a:gd name="connsiteX4-803" fmla="*/ 6669 w 8549428"/>
              <a:gd name="connsiteY4-804" fmla="*/ 122291 h 4345044"/>
              <a:gd name="connsiteX5-805" fmla="*/ 6669 w 8549428"/>
              <a:gd name="connsiteY5-806" fmla="*/ 4234712 h 4345044"/>
              <a:gd name="connsiteX6-807" fmla="*/ 99538 w 8549428"/>
              <a:gd name="connsiteY6-808" fmla="*/ 4336312 h 4345044"/>
              <a:gd name="connsiteX7-809" fmla="*/ 6596381 w 8549428"/>
              <a:gd name="connsiteY7-810" fmla="*/ 4336311 h 4345044"/>
              <a:gd name="connsiteX0-811" fmla="*/ 8539481 w 8539481"/>
              <a:gd name="connsiteY0-812" fmla="*/ 3142511 h 4345044"/>
              <a:gd name="connsiteX1-813" fmla="*/ 8539480 w 8539481"/>
              <a:gd name="connsiteY1-814" fmla="*/ 131023 h 4345044"/>
              <a:gd name="connsiteX2-815" fmla="*/ 8422005 w 8539481"/>
              <a:gd name="connsiteY2-816" fmla="*/ 21487 h 4345044"/>
              <a:gd name="connsiteX3-817" fmla="*/ 103507 w 8539481"/>
              <a:gd name="connsiteY3-818" fmla="*/ 21487 h 4345044"/>
              <a:gd name="connsiteX4-819" fmla="*/ 6669 w 8539481"/>
              <a:gd name="connsiteY4-820" fmla="*/ 122291 h 4345044"/>
              <a:gd name="connsiteX5-821" fmla="*/ 6669 w 8539481"/>
              <a:gd name="connsiteY5-822" fmla="*/ 4234712 h 4345044"/>
              <a:gd name="connsiteX6-823" fmla="*/ 99538 w 8539481"/>
              <a:gd name="connsiteY6-824" fmla="*/ 4336312 h 4345044"/>
              <a:gd name="connsiteX7-825" fmla="*/ 6596381 w 8539481"/>
              <a:gd name="connsiteY7-826" fmla="*/ 4336311 h 4345044"/>
              <a:gd name="connsiteX0-827" fmla="*/ 8539481 w 8539481"/>
              <a:gd name="connsiteY0-828" fmla="*/ 3142511 h 4345044"/>
              <a:gd name="connsiteX1-829" fmla="*/ 8539480 w 8539481"/>
              <a:gd name="connsiteY1-830" fmla="*/ 131023 h 4345044"/>
              <a:gd name="connsiteX2-831" fmla="*/ 8410099 w 8539481"/>
              <a:gd name="connsiteY2-832" fmla="*/ 21487 h 4345044"/>
              <a:gd name="connsiteX3-833" fmla="*/ 103507 w 8539481"/>
              <a:gd name="connsiteY3-834" fmla="*/ 21487 h 4345044"/>
              <a:gd name="connsiteX4-835" fmla="*/ 6669 w 8539481"/>
              <a:gd name="connsiteY4-836" fmla="*/ 122291 h 4345044"/>
              <a:gd name="connsiteX5-837" fmla="*/ 6669 w 8539481"/>
              <a:gd name="connsiteY5-838" fmla="*/ 4234712 h 4345044"/>
              <a:gd name="connsiteX6-839" fmla="*/ 99538 w 8539481"/>
              <a:gd name="connsiteY6-840" fmla="*/ 4336312 h 4345044"/>
              <a:gd name="connsiteX7-841" fmla="*/ 6596381 w 8539481"/>
              <a:gd name="connsiteY7-842" fmla="*/ 4336311 h 4345044"/>
              <a:gd name="connsiteX0-843" fmla="*/ 8539481 w 8539481"/>
              <a:gd name="connsiteY0-844" fmla="*/ 3162407 h 4364940"/>
              <a:gd name="connsiteX1-845" fmla="*/ 8539481 w 8539481"/>
              <a:gd name="connsiteY1-846" fmla="*/ 122344 h 4364940"/>
              <a:gd name="connsiteX2-847" fmla="*/ 8410099 w 8539481"/>
              <a:gd name="connsiteY2-848" fmla="*/ 41383 h 4364940"/>
              <a:gd name="connsiteX3-849" fmla="*/ 103507 w 8539481"/>
              <a:gd name="connsiteY3-850" fmla="*/ 41383 h 4364940"/>
              <a:gd name="connsiteX4-851" fmla="*/ 6669 w 8539481"/>
              <a:gd name="connsiteY4-852" fmla="*/ 142187 h 4364940"/>
              <a:gd name="connsiteX5-853" fmla="*/ 6669 w 8539481"/>
              <a:gd name="connsiteY5-854" fmla="*/ 4254608 h 4364940"/>
              <a:gd name="connsiteX6-855" fmla="*/ 99538 w 8539481"/>
              <a:gd name="connsiteY6-856" fmla="*/ 4356208 h 4364940"/>
              <a:gd name="connsiteX7-857" fmla="*/ 6596381 w 8539481"/>
              <a:gd name="connsiteY7-858" fmla="*/ 4356207 h 4364940"/>
              <a:gd name="connsiteX0-859" fmla="*/ 8539481 w 8546253"/>
              <a:gd name="connsiteY0-860" fmla="*/ 3162407 h 4364940"/>
              <a:gd name="connsiteX1-861" fmla="*/ 8539481 w 8546253"/>
              <a:gd name="connsiteY1-862" fmla="*/ 122344 h 4364940"/>
              <a:gd name="connsiteX2-863" fmla="*/ 8410099 w 8546253"/>
              <a:gd name="connsiteY2-864" fmla="*/ 41383 h 4364940"/>
              <a:gd name="connsiteX3-865" fmla="*/ 103507 w 8546253"/>
              <a:gd name="connsiteY3-866" fmla="*/ 41383 h 4364940"/>
              <a:gd name="connsiteX4-867" fmla="*/ 6669 w 8546253"/>
              <a:gd name="connsiteY4-868" fmla="*/ 142187 h 4364940"/>
              <a:gd name="connsiteX5-869" fmla="*/ 6669 w 8546253"/>
              <a:gd name="connsiteY5-870" fmla="*/ 4254608 h 4364940"/>
              <a:gd name="connsiteX6-871" fmla="*/ 99538 w 8546253"/>
              <a:gd name="connsiteY6-872" fmla="*/ 4356208 h 4364940"/>
              <a:gd name="connsiteX7-873" fmla="*/ 6596381 w 8546253"/>
              <a:gd name="connsiteY7-874" fmla="*/ 4356207 h 4364940"/>
              <a:gd name="connsiteX0-875" fmla="*/ 8539481 w 8559747"/>
              <a:gd name="connsiteY0-876" fmla="*/ 3162407 h 4364940"/>
              <a:gd name="connsiteX1-877" fmla="*/ 8539481 w 8559747"/>
              <a:gd name="connsiteY1-878" fmla="*/ 122344 h 4364940"/>
              <a:gd name="connsiteX2-879" fmla="*/ 8410099 w 8559747"/>
              <a:gd name="connsiteY2-880" fmla="*/ 41383 h 4364940"/>
              <a:gd name="connsiteX3-881" fmla="*/ 103507 w 8559747"/>
              <a:gd name="connsiteY3-882" fmla="*/ 41383 h 4364940"/>
              <a:gd name="connsiteX4-883" fmla="*/ 6669 w 8559747"/>
              <a:gd name="connsiteY4-884" fmla="*/ 142187 h 4364940"/>
              <a:gd name="connsiteX5-885" fmla="*/ 6669 w 8559747"/>
              <a:gd name="connsiteY5-886" fmla="*/ 4254608 h 4364940"/>
              <a:gd name="connsiteX6-887" fmla="*/ 99538 w 8559747"/>
              <a:gd name="connsiteY6-888" fmla="*/ 4356208 h 4364940"/>
              <a:gd name="connsiteX7-889" fmla="*/ 6596381 w 8559747"/>
              <a:gd name="connsiteY7-890" fmla="*/ 4356207 h 4364940"/>
              <a:gd name="connsiteX0-891" fmla="*/ 8539481 w 8582766"/>
              <a:gd name="connsiteY0-892" fmla="*/ 3162407 h 4364940"/>
              <a:gd name="connsiteX1-893" fmla="*/ 8539481 w 8582766"/>
              <a:gd name="connsiteY1-894" fmla="*/ 122344 h 4364940"/>
              <a:gd name="connsiteX2-895" fmla="*/ 8410099 w 8582766"/>
              <a:gd name="connsiteY2-896" fmla="*/ 41383 h 4364940"/>
              <a:gd name="connsiteX3-897" fmla="*/ 103507 w 8582766"/>
              <a:gd name="connsiteY3-898" fmla="*/ 41383 h 4364940"/>
              <a:gd name="connsiteX4-899" fmla="*/ 6669 w 8582766"/>
              <a:gd name="connsiteY4-900" fmla="*/ 142187 h 4364940"/>
              <a:gd name="connsiteX5-901" fmla="*/ 6669 w 8582766"/>
              <a:gd name="connsiteY5-902" fmla="*/ 4254608 h 4364940"/>
              <a:gd name="connsiteX6-903" fmla="*/ 99538 w 8582766"/>
              <a:gd name="connsiteY6-904" fmla="*/ 4356208 h 4364940"/>
              <a:gd name="connsiteX7-905" fmla="*/ 6596381 w 8582766"/>
              <a:gd name="connsiteY7-906" fmla="*/ 4356207 h 4364940"/>
              <a:gd name="connsiteX0-907" fmla="*/ 8539481 w 8628010"/>
              <a:gd name="connsiteY0-908" fmla="*/ 3162407 h 4364940"/>
              <a:gd name="connsiteX1-909" fmla="*/ 8539481 w 8628010"/>
              <a:gd name="connsiteY1-910" fmla="*/ 122344 h 4364940"/>
              <a:gd name="connsiteX2-911" fmla="*/ 8455343 w 8628010"/>
              <a:gd name="connsiteY2-912" fmla="*/ 41383 h 4364940"/>
              <a:gd name="connsiteX3-913" fmla="*/ 103507 w 8628010"/>
              <a:gd name="connsiteY3-914" fmla="*/ 41383 h 4364940"/>
              <a:gd name="connsiteX4-915" fmla="*/ 6669 w 8628010"/>
              <a:gd name="connsiteY4-916" fmla="*/ 142187 h 4364940"/>
              <a:gd name="connsiteX5-917" fmla="*/ 6669 w 8628010"/>
              <a:gd name="connsiteY5-918" fmla="*/ 4254608 h 4364940"/>
              <a:gd name="connsiteX6-919" fmla="*/ 99538 w 8628010"/>
              <a:gd name="connsiteY6-920" fmla="*/ 4356208 h 4364940"/>
              <a:gd name="connsiteX7-921" fmla="*/ 6596381 w 8628010"/>
              <a:gd name="connsiteY7-922" fmla="*/ 4356207 h 4364940"/>
              <a:gd name="connsiteX0-923" fmla="*/ 8539481 w 8539481"/>
              <a:gd name="connsiteY0-924" fmla="*/ 3162407 h 4364940"/>
              <a:gd name="connsiteX1-925" fmla="*/ 8539481 w 8539481"/>
              <a:gd name="connsiteY1-926" fmla="*/ 122344 h 4364940"/>
              <a:gd name="connsiteX2-927" fmla="*/ 8455343 w 8539481"/>
              <a:gd name="connsiteY2-928" fmla="*/ 41383 h 4364940"/>
              <a:gd name="connsiteX3-929" fmla="*/ 103507 w 8539481"/>
              <a:gd name="connsiteY3-930" fmla="*/ 41383 h 4364940"/>
              <a:gd name="connsiteX4-931" fmla="*/ 6669 w 8539481"/>
              <a:gd name="connsiteY4-932" fmla="*/ 142187 h 4364940"/>
              <a:gd name="connsiteX5-933" fmla="*/ 6669 w 8539481"/>
              <a:gd name="connsiteY5-934" fmla="*/ 4254608 h 4364940"/>
              <a:gd name="connsiteX6-935" fmla="*/ 99538 w 8539481"/>
              <a:gd name="connsiteY6-936" fmla="*/ 4356208 h 4364940"/>
              <a:gd name="connsiteX7-937" fmla="*/ 6596381 w 8539481"/>
              <a:gd name="connsiteY7-938" fmla="*/ 4356207 h 4364940"/>
              <a:gd name="connsiteX0-939" fmla="*/ 8539481 w 8539481"/>
              <a:gd name="connsiteY0-940" fmla="*/ 3162407 h 4364940"/>
              <a:gd name="connsiteX1-941" fmla="*/ 8539481 w 8539481"/>
              <a:gd name="connsiteY1-942" fmla="*/ 122344 h 4364940"/>
              <a:gd name="connsiteX2-943" fmla="*/ 8455343 w 8539481"/>
              <a:gd name="connsiteY2-944" fmla="*/ 41383 h 4364940"/>
              <a:gd name="connsiteX3-945" fmla="*/ 103507 w 8539481"/>
              <a:gd name="connsiteY3-946" fmla="*/ 41383 h 4364940"/>
              <a:gd name="connsiteX4-947" fmla="*/ 6669 w 8539481"/>
              <a:gd name="connsiteY4-948" fmla="*/ 142187 h 4364940"/>
              <a:gd name="connsiteX5-949" fmla="*/ 6669 w 8539481"/>
              <a:gd name="connsiteY5-950" fmla="*/ 4254608 h 4364940"/>
              <a:gd name="connsiteX6-951" fmla="*/ 99538 w 8539481"/>
              <a:gd name="connsiteY6-952" fmla="*/ 4356208 h 4364940"/>
              <a:gd name="connsiteX7-953" fmla="*/ 6596381 w 8539481"/>
              <a:gd name="connsiteY7-954" fmla="*/ 4356207 h 4364940"/>
              <a:gd name="connsiteX0-955" fmla="*/ 8539481 w 8539481"/>
              <a:gd name="connsiteY0-956" fmla="*/ 3142511 h 4345044"/>
              <a:gd name="connsiteX1-957" fmla="*/ 8539481 w 8539481"/>
              <a:gd name="connsiteY1-958" fmla="*/ 102448 h 4345044"/>
              <a:gd name="connsiteX2-959" fmla="*/ 8455343 w 8539481"/>
              <a:gd name="connsiteY2-960" fmla="*/ 21487 h 4345044"/>
              <a:gd name="connsiteX3-961" fmla="*/ 103507 w 8539481"/>
              <a:gd name="connsiteY3-962" fmla="*/ 21487 h 4345044"/>
              <a:gd name="connsiteX4-963" fmla="*/ 6669 w 8539481"/>
              <a:gd name="connsiteY4-964" fmla="*/ 122291 h 4345044"/>
              <a:gd name="connsiteX5-965" fmla="*/ 6669 w 8539481"/>
              <a:gd name="connsiteY5-966" fmla="*/ 4234712 h 4345044"/>
              <a:gd name="connsiteX6-967" fmla="*/ 99538 w 8539481"/>
              <a:gd name="connsiteY6-968" fmla="*/ 4336312 h 4345044"/>
              <a:gd name="connsiteX7-969" fmla="*/ 6596381 w 8539481"/>
              <a:gd name="connsiteY7-970" fmla="*/ 4336311 h 4345044"/>
              <a:gd name="connsiteX0-971" fmla="*/ 8542656 w 8542656"/>
              <a:gd name="connsiteY0-972" fmla="*/ 558061 h 4345044"/>
              <a:gd name="connsiteX1-973" fmla="*/ 8539481 w 8542656"/>
              <a:gd name="connsiteY1-974" fmla="*/ 102448 h 4345044"/>
              <a:gd name="connsiteX2-975" fmla="*/ 8455343 w 8542656"/>
              <a:gd name="connsiteY2-976" fmla="*/ 21487 h 4345044"/>
              <a:gd name="connsiteX3-977" fmla="*/ 103507 w 8542656"/>
              <a:gd name="connsiteY3-978" fmla="*/ 21487 h 4345044"/>
              <a:gd name="connsiteX4-979" fmla="*/ 6669 w 8542656"/>
              <a:gd name="connsiteY4-980" fmla="*/ 122291 h 4345044"/>
              <a:gd name="connsiteX5-981" fmla="*/ 6669 w 8542656"/>
              <a:gd name="connsiteY5-982" fmla="*/ 4234712 h 4345044"/>
              <a:gd name="connsiteX6-983" fmla="*/ 99538 w 8542656"/>
              <a:gd name="connsiteY6-984" fmla="*/ 4336312 h 4345044"/>
              <a:gd name="connsiteX7-985" fmla="*/ 6596381 w 8542656"/>
              <a:gd name="connsiteY7-986" fmla="*/ 4336311 h 4345044"/>
              <a:gd name="connsiteX0-987" fmla="*/ 8542655 w 8542655"/>
              <a:gd name="connsiteY0-988" fmla="*/ 881912 h 4345044"/>
              <a:gd name="connsiteX1-989" fmla="*/ 8539481 w 8542655"/>
              <a:gd name="connsiteY1-990" fmla="*/ 102448 h 4345044"/>
              <a:gd name="connsiteX2-991" fmla="*/ 8455343 w 8542655"/>
              <a:gd name="connsiteY2-992" fmla="*/ 21487 h 4345044"/>
              <a:gd name="connsiteX3-993" fmla="*/ 103507 w 8542655"/>
              <a:gd name="connsiteY3-994" fmla="*/ 21487 h 4345044"/>
              <a:gd name="connsiteX4-995" fmla="*/ 6669 w 8542655"/>
              <a:gd name="connsiteY4-996" fmla="*/ 122291 h 4345044"/>
              <a:gd name="connsiteX5-997" fmla="*/ 6669 w 8542655"/>
              <a:gd name="connsiteY5-998" fmla="*/ 4234712 h 4345044"/>
              <a:gd name="connsiteX6-999" fmla="*/ 99538 w 8542655"/>
              <a:gd name="connsiteY6-1000" fmla="*/ 4336312 h 4345044"/>
              <a:gd name="connsiteX7-1001" fmla="*/ 6596381 w 8542655"/>
              <a:gd name="connsiteY7-1002" fmla="*/ 4336311 h 4345044"/>
              <a:gd name="connsiteX0-1003" fmla="*/ 8542655 w 8542655"/>
              <a:gd name="connsiteY0-1004" fmla="*/ 881912 h 4345837"/>
              <a:gd name="connsiteX1-1005" fmla="*/ 8539481 w 8542655"/>
              <a:gd name="connsiteY1-1006" fmla="*/ 102448 h 4345837"/>
              <a:gd name="connsiteX2-1007" fmla="*/ 8455343 w 8542655"/>
              <a:gd name="connsiteY2-1008" fmla="*/ 21487 h 4345837"/>
              <a:gd name="connsiteX3-1009" fmla="*/ 103507 w 8542655"/>
              <a:gd name="connsiteY3-1010" fmla="*/ 21487 h 4345837"/>
              <a:gd name="connsiteX4-1011" fmla="*/ 6669 w 8542655"/>
              <a:gd name="connsiteY4-1012" fmla="*/ 122291 h 4345837"/>
              <a:gd name="connsiteX5-1013" fmla="*/ 6669 w 8542655"/>
              <a:gd name="connsiteY5-1014" fmla="*/ 4234712 h 4345837"/>
              <a:gd name="connsiteX6-1015" fmla="*/ 99538 w 8542655"/>
              <a:gd name="connsiteY6-1016" fmla="*/ 4336312 h 4345837"/>
              <a:gd name="connsiteX7-1017" fmla="*/ 6882131 w 8542655"/>
              <a:gd name="connsiteY7-1018" fmla="*/ 4345837 h 4345837"/>
              <a:gd name="connsiteX0-1019" fmla="*/ 8545512 w 8545512"/>
              <a:gd name="connsiteY0-1020" fmla="*/ 881912 h 4354569"/>
              <a:gd name="connsiteX1-1021" fmla="*/ 8542338 w 8545512"/>
              <a:gd name="connsiteY1-1022" fmla="*/ 102448 h 4354569"/>
              <a:gd name="connsiteX2-1023" fmla="*/ 8458200 w 8545512"/>
              <a:gd name="connsiteY2-1024" fmla="*/ 21487 h 4354569"/>
              <a:gd name="connsiteX3-1025" fmla="*/ 106364 w 8545512"/>
              <a:gd name="connsiteY3-1026" fmla="*/ 21487 h 4354569"/>
              <a:gd name="connsiteX4-1027" fmla="*/ 9526 w 8545512"/>
              <a:gd name="connsiteY4-1028" fmla="*/ 122291 h 4354569"/>
              <a:gd name="connsiteX5-1029" fmla="*/ 9526 w 8545512"/>
              <a:gd name="connsiteY5-1030" fmla="*/ 4234712 h 4354569"/>
              <a:gd name="connsiteX6-1031" fmla="*/ 97632 w 8545512"/>
              <a:gd name="connsiteY6-1032" fmla="*/ 4345837 h 4354569"/>
              <a:gd name="connsiteX7-1033" fmla="*/ 6884988 w 8545512"/>
              <a:gd name="connsiteY7-1034" fmla="*/ 4345837 h 4354569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69" y="connsiteY7-170"/>
              </a:cxn>
            </a:cxnLst>
            <a:rect l="l" t="t" r="r" b="b"/>
            <a:pathLst>
              <a:path w="8545512" h="4354569">
                <a:moveTo>
                  <a:pt x="8545512" y="881912"/>
                </a:moveTo>
                <a:cubicBezTo>
                  <a:pt x="8544454" y="730041"/>
                  <a:pt x="8543396" y="254319"/>
                  <a:pt x="8542338" y="102448"/>
                </a:cubicBezTo>
                <a:cubicBezTo>
                  <a:pt x="8538264" y="11060"/>
                  <a:pt x="8489580" y="27942"/>
                  <a:pt x="8458200" y="21487"/>
                </a:cubicBezTo>
                <a:lnTo>
                  <a:pt x="106364" y="21487"/>
                </a:lnTo>
                <a:cubicBezTo>
                  <a:pt x="37784" y="27731"/>
                  <a:pt x="2857" y="0"/>
                  <a:pt x="9526" y="122291"/>
                </a:cubicBezTo>
                <a:lnTo>
                  <a:pt x="9526" y="4234712"/>
                </a:lnTo>
                <a:cubicBezTo>
                  <a:pt x="7144" y="4322025"/>
                  <a:pt x="0" y="4354569"/>
                  <a:pt x="97632" y="4345837"/>
                </a:cubicBezTo>
                <a:lnTo>
                  <a:pt x="6884988" y="4345837"/>
                </a:lnTo>
              </a:path>
            </a:pathLst>
          </a:custGeom>
          <a:ln w="19050">
            <a:solidFill>
              <a:srgbClr val="D5D30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defTabSz="1151890">
              <a:defRPr/>
            </a:pPr>
            <a:endParaRPr lang="en-GB" sz="2270">
              <a:solidFill>
                <a:srgbClr val="000000"/>
              </a:solidFill>
            </a:endParaRPr>
          </a:p>
        </p:txBody>
      </p:sp>
      <p:sp>
        <p:nvSpPr>
          <p:cNvPr id="9" name="Freeform 5"/>
          <p:cNvSpPr/>
          <p:nvPr userDrawn="1"/>
        </p:nvSpPr>
        <p:spPr bwMode="auto">
          <a:xfrm>
            <a:off x="10245845" y="3843107"/>
            <a:ext cx="912164" cy="1005027"/>
          </a:xfrm>
          <a:custGeom>
            <a:avLst/>
            <a:gdLst/>
            <a:ahLst/>
            <a:cxnLst>
              <a:cxn ang="0">
                <a:pos x="0" y="938"/>
              </a:cxn>
              <a:cxn ang="0">
                <a:pos x="402" y="651"/>
              </a:cxn>
              <a:cxn ang="0">
                <a:pos x="639" y="0"/>
              </a:cxn>
            </a:cxnLst>
            <a:rect l="0" t="0" r="r" b="b"/>
            <a:pathLst>
              <a:path w="639" h="938">
                <a:moveTo>
                  <a:pt x="0" y="938"/>
                </a:moveTo>
                <a:cubicBezTo>
                  <a:pt x="168" y="882"/>
                  <a:pt x="322" y="747"/>
                  <a:pt x="402" y="651"/>
                </a:cubicBezTo>
                <a:cubicBezTo>
                  <a:pt x="550" y="475"/>
                  <a:pt x="639" y="248"/>
                  <a:pt x="639" y="0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1151890">
              <a:defRPr/>
            </a:pPr>
            <a:endParaRPr lang="en-GB" sz="2270">
              <a:solidFill>
                <a:srgbClr val="000000"/>
              </a:solidFill>
              <a:cs typeface="Arial" panose="020B0604020202090204" pitchFamily="34" charset="0"/>
            </a:endParaRPr>
          </a:p>
        </p:txBody>
      </p:sp>
      <p:sp>
        <p:nvSpPr>
          <p:cNvPr id="10" name="Freeform 6"/>
          <p:cNvSpPr/>
          <p:nvPr userDrawn="1"/>
        </p:nvSpPr>
        <p:spPr bwMode="auto">
          <a:xfrm>
            <a:off x="10813947" y="3144088"/>
            <a:ext cx="344062" cy="699019"/>
          </a:xfrm>
          <a:custGeom>
            <a:avLst/>
            <a:gdLst/>
            <a:ahLst/>
            <a:cxnLst>
              <a:cxn ang="0">
                <a:pos x="240" y="654"/>
              </a:cxn>
              <a:cxn ang="0">
                <a:pos x="0" y="0"/>
              </a:cxn>
            </a:cxnLst>
            <a:rect l="0" t="0" r="r" b="b"/>
            <a:pathLst>
              <a:path w="240" h="654">
                <a:moveTo>
                  <a:pt x="240" y="654"/>
                </a:moveTo>
                <a:cubicBezTo>
                  <a:pt x="240" y="405"/>
                  <a:pt x="150" y="177"/>
                  <a:pt x="0" y="0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1151890">
              <a:defRPr/>
            </a:pPr>
            <a:endParaRPr lang="en-GB" sz="2270">
              <a:solidFill>
                <a:srgbClr val="000000"/>
              </a:solidFill>
              <a:cs typeface="Arial" panose="020B0604020202090204" pitchFamily="34" charset="0"/>
            </a:endParaRPr>
          </a:p>
        </p:txBody>
      </p:sp>
      <p:sp>
        <p:nvSpPr>
          <p:cNvPr id="11" name="Freeform 7"/>
          <p:cNvSpPr/>
          <p:nvPr userDrawn="1"/>
        </p:nvSpPr>
        <p:spPr bwMode="auto">
          <a:xfrm>
            <a:off x="8263490" y="3147085"/>
            <a:ext cx="338060" cy="696019"/>
          </a:xfrm>
          <a:custGeom>
            <a:avLst/>
            <a:gdLst/>
            <a:ahLst/>
            <a:cxnLst>
              <a:cxn ang="0">
                <a:pos x="237" y="0"/>
              </a:cxn>
              <a:cxn ang="0">
                <a:pos x="0" y="651"/>
              </a:cxn>
            </a:cxnLst>
            <a:rect l="0" t="0" r="r" b="b"/>
            <a:pathLst>
              <a:path w="237" h="651">
                <a:moveTo>
                  <a:pt x="237" y="0"/>
                </a:moveTo>
                <a:cubicBezTo>
                  <a:pt x="89" y="176"/>
                  <a:pt x="0" y="403"/>
                  <a:pt x="0" y="651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1151890">
              <a:defRPr/>
            </a:pPr>
            <a:endParaRPr lang="en-GB" sz="2270">
              <a:solidFill>
                <a:srgbClr val="000000"/>
              </a:solidFill>
              <a:cs typeface="Arial" panose="020B0604020202090204" pitchFamily="34" charset="0"/>
            </a:endParaRPr>
          </a:p>
        </p:txBody>
      </p:sp>
      <p:sp>
        <p:nvSpPr>
          <p:cNvPr id="12" name="Freeform 8"/>
          <p:cNvSpPr/>
          <p:nvPr userDrawn="1"/>
        </p:nvSpPr>
        <p:spPr bwMode="auto">
          <a:xfrm>
            <a:off x="8263489" y="3843107"/>
            <a:ext cx="878158" cy="1000527"/>
          </a:xfrm>
          <a:custGeom>
            <a:avLst/>
            <a:gdLst/>
            <a:ahLst/>
            <a:cxnLst>
              <a:cxn ang="0">
                <a:pos x="616" y="933"/>
              </a:cxn>
              <a:cxn ang="0">
                <a:pos x="0" y="0"/>
              </a:cxn>
            </a:cxnLst>
            <a:rect l="0" t="0" r="r" b="b"/>
            <a:pathLst>
              <a:path w="616" h="933">
                <a:moveTo>
                  <a:pt x="616" y="933"/>
                </a:moveTo>
                <a:cubicBezTo>
                  <a:pt x="254" y="778"/>
                  <a:pt x="0" y="419"/>
                  <a:pt x="0" y="0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1151890">
              <a:defRPr/>
            </a:pPr>
            <a:endParaRPr lang="en-GB" sz="2270">
              <a:solidFill>
                <a:srgbClr val="000000"/>
              </a:solidFill>
              <a:cs typeface="Arial" panose="020B0604020202090204" pitchFamily="34" charset="0"/>
            </a:endParaRPr>
          </a:p>
        </p:txBody>
      </p:sp>
      <p:sp>
        <p:nvSpPr>
          <p:cNvPr id="13" name="Freeform 9"/>
          <p:cNvSpPr/>
          <p:nvPr userDrawn="1"/>
        </p:nvSpPr>
        <p:spPr bwMode="auto">
          <a:xfrm>
            <a:off x="9709749" y="2758575"/>
            <a:ext cx="1104199" cy="38551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74" y="360"/>
              </a:cxn>
            </a:cxnLst>
            <a:rect l="0" t="0" r="r" b="b"/>
            <a:pathLst>
              <a:path w="774" h="360">
                <a:moveTo>
                  <a:pt x="0" y="0"/>
                </a:moveTo>
                <a:cubicBezTo>
                  <a:pt x="311" y="0"/>
                  <a:pt x="588" y="140"/>
                  <a:pt x="774" y="360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1151890">
              <a:defRPr/>
            </a:pPr>
            <a:endParaRPr lang="en-GB" sz="2270">
              <a:solidFill>
                <a:srgbClr val="000000"/>
              </a:solidFill>
              <a:cs typeface="Arial" panose="020B0604020202090204" pitchFamily="34" charset="0"/>
            </a:endParaRPr>
          </a:p>
        </p:txBody>
      </p:sp>
      <p:sp>
        <p:nvSpPr>
          <p:cNvPr id="14" name="Freeform 10"/>
          <p:cNvSpPr/>
          <p:nvPr userDrawn="1"/>
        </p:nvSpPr>
        <p:spPr bwMode="auto">
          <a:xfrm>
            <a:off x="8601549" y="2758575"/>
            <a:ext cx="1108200" cy="388511"/>
          </a:xfrm>
          <a:custGeom>
            <a:avLst/>
            <a:gdLst/>
            <a:ahLst/>
            <a:cxnLst>
              <a:cxn ang="0">
                <a:pos x="777" y="0"/>
              </a:cxn>
              <a:cxn ang="0">
                <a:pos x="0" y="363"/>
              </a:cxn>
            </a:cxnLst>
            <a:rect l="0" t="0" r="r" b="b"/>
            <a:pathLst>
              <a:path w="777" h="363">
                <a:moveTo>
                  <a:pt x="777" y="0"/>
                </a:moveTo>
                <a:cubicBezTo>
                  <a:pt x="465" y="0"/>
                  <a:pt x="186" y="141"/>
                  <a:pt x="0" y="363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1151890">
              <a:defRPr/>
            </a:pPr>
            <a:endParaRPr lang="en-GB" sz="2270">
              <a:solidFill>
                <a:srgbClr val="000000"/>
              </a:solidFill>
              <a:cs typeface="Arial" panose="020B0604020202090204" pitchFamily="34" charset="0"/>
            </a:endParaRPr>
          </a:p>
        </p:txBody>
      </p:sp>
      <p:sp>
        <p:nvSpPr>
          <p:cNvPr id="15" name="Freeform 11"/>
          <p:cNvSpPr/>
          <p:nvPr userDrawn="1"/>
        </p:nvSpPr>
        <p:spPr bwMode="auto">
          <a:xfrm>
            <a:off x="8601549" y="3147085"/>
            <a:ext cx="2001" cy="150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1151890">
              <a:defRPr/>
            </a:pPr>
            <a:endParaRPr lang="en-GB" sz="2270">
              <a:solidFill>
                <a:srgbClr val="000000"/>
              </a:solidFill>
              <a:cs typeface="Arial" panose="020B0604020202090204" pitchFamily="34" charset="0"/>
            </a:endParaRPr>
          </a:p>
        </p:txBody>
      </p:sp>
      <p:sp>
        <p:nvSpPr>
          <p:cNvPr id="16" name="Freeform 12"/>
          <p:cNvSpPr/>
          <p:nvPr userDrawn="1"/>
        </p:nvSpPr>
        <p:spPr bwMode="auto">
          <a:xfrm>
            <a:off x="8601549" y="3147086"/>
            <a:ext cx="442080" cy="12750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10" y="120"/>
              </a:cxn>
            </a:cxnLst>
            <a:rect l="0" t="0" r="r" b="b"/>
            <a:pathLst>
              <a:path w="310" h="120">
                <a:moveTo>
                  <a:pt x="0" y="0"/>
                </a:moveTo>
                <a:cubicBezTo>
                  <a:pt x="86" y="49"/>
                  <a:pt x="191" y="90"/>
                  <a:pt x="310" y="120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1151890">
              <a:defRPr/>
            </a:pPr>
            <a:endParaRPr lang="en-GB" sz="2270">
              <a:solidFill>
                <a:srgbClr val="000000"/>
              </a:solidFill>
              <a:cs typeface="Arial" panose="020B0604020202090204" pitchFamily="34" charset="0"/>
            </a:endParaRPr>
          </a:p>
        </p:txBody>
      </p:sp>
      <p:sp>
        <p:nvSpPr>
          <p:cNvPr id="17" name="Freeform 13"/>
          <p:cNvSpPr/>
          <p:nvPr userDrawn="1"/>
        </p:nvSpPr>
        <p:spPr bwMode="auto">
          <a:xfrm>
            <a:off x="9709748" y="3273089"/>
            <a:ext cx="666121" cy="61502"/>
          </a:xfrm>
          <a:custGeom>
            <a:avLst/>
            <a:gdLst/>
            <a:ahLst/>
            <a:cxnLst>
              <a:cxn ang="0">
                <a:pos x="466" y="0"/>
              </a:cxn>
              <a:cxn ang="0">
                <a:pos x="0" y="57"/>
              </a:cxn>
            </a:cxnLst>
            <a:rect l="0" t="0" r="r" b="b"/>
            <a:pathLst>
              <a:path w="466" h="57">
                <a:moveTo>
                  <a:pt x="466" y="0"/>
                </a:moveTo>
                <a:cubicBezTo>
                  <a:pt x="327" y="36"/>
                  <a:pt x="168" y="56"/>
                  <a:pt x="0" y="57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1151890">
              <a:defRPr/>
            </a:pPr>
            <a:endParaRPr lang="en-GB" sz="2270">
              <a:solidFill>
                <a:srgbClr val="000000"/>
              </a:solidFill>
              <a:cs typeface="Arial" panose="020B0604020202090204" pitchFamily="34" charset="0"/>
            </a:endParaRPr>
          </a:p>
        </p:txBody>
      </p:sp>
      <p:sp>
        <p:nvSpPr>
          <p:cNvPr id="18" name="Freeform 14"/>
          <p:cNvSpPr/>
          <p:nvPr userDrawn="1"/>
        </p:nvSpPr>
        <p:spPr bwMode="auto">
          <a:xfrm>
            <a:off x="10375869" y="3144085"/>
            <a:ext cx="438078" cy="129004"/>
          </a:xfrm>
          <a:custGeom>
            <a:avLst/>
            <a:gdLst/>
            <a:ahLst/>
            <a:cxnLst>
              <a:cxn ang="0">
                <a:pos x="0" y="121"/>
              </a:cxn>
              <a:cxn ang="0">
                <a:pos x="308" y="0"/>
              </a:cxn>
            </a:cxnLst>
            <a:rect l="0" t="0" r="r" b="b"/>
            <a:pathLst>
              <a:path w="308" h="121">
                <a:moveTo>
                  <a:pt x="0" y="121"/>
                </a:moveTo>
                <a:cubicBezTo>
                  <a:pt x="119" y="91"/>
                  <a:pt x="223" y="50"/>
                  <a:pt x="308" y="0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1151890">
              <a:defRPr/>
            </a:pPr>
            <a:endParaRPr lang="en-GB" sz="2270">
              <a:solidFill>
                <a:srgbClr val="000000"/>
              </a:solidFill>
              <a:cs typeface="Arial" panose="020B0604020202090204" pitchFamily="34" charset="0"/>
            </a:endParaRPr>
          </a:p>
        </p:txBody>
      </p:sp>
      <p:sp>
        <p:nvSpPr>
          <p:cNvPr id="19" name="Freeform 15"/>
          <p:cNvSpPr/>
          <p:nvPr userDrawn="1"/>
        </p:nvSpPr>
        <p:spPr bwMode="auto">
          <a:xfrm>
            <a:off x="8601549" y="3147085"/>
            <a:ext cx="2001" cy="150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1151890">
              <a:defRPr/>
            </a:pPr>
            <a:endParaRPr lang="en-GB" sz="2270">
              <a:solidFill>
                <a:srgbClr val="000000"/>
              </a:solidFill>
              <a:cs typeface="Arial" panose="020B0604020202090204" pitchFamily="34" charset="0"/>
            </a:endParaRPr>
          </a:p>
        </p:txBody>
      </p:sp>
      <p:sp>
        <p:nvSpPr>
          <p:cNvPr id="20" name="Freeform 16"/>
          <p:cNvSpPr/>
          <p:nvPr userDrawn="1"/>
        </p:nvSpPr>
        <p:spPr bwMode="auto">
          <a:xfrm>
            <a:off x="9043634" y="3274591"/>
            <a:ext cx="666119" cy="60002"/>
          </a:xfrm>
          <a:custGeom>
            <a:avLst/>
            <a:gdLst/>
            <a:ahLst/>
            <a:cxnLst>
              <a:cxn ang="0">
                <a:pos x="467" y="55"/>
              </a:cxn>
              <a:cxn ang="0">
                <a:pos x="463" y="55"/>
              </a:cxn>
              <a:cxn ang="0">
                <a:pos x="0" y="0"/>
              </a:cxn>
            </a:cxnLst>
            <a:rect l="0" t="0" r="r" b="b"/>
            <a:pathLst>
              <a:path w="467" h="55">
                <a:moveTo>
                  <a:pt x="467" y="55"/>
                </a:moveTo>
                <a:cubicBezTo>
                  <a:pt x="463" y="55"/>
                  <a:pt x="463" y="55"/>
                  <a:pt x="463" y="55"/>
                </a:cubicBezTo>
                <a:cubicBezTo>
                  <a:pt x="296" y="55"/>
                  <a:pt x="139" y="35"/>
                  <a:pt x="0" y="0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1151890">
              <a:defRPr/>
            </a:pPr>
            <a:endParaRPr lang="en-GB" sz="2270">
              <a:solidFill>
                <a:srgbClr val="000000"/>
              </a:solidFill>
              <a:cs typeface="Arial" panose="020B0604020202090204" pitchFamily="34" charset="0"/>
            </a:endParaRPr>
          </a:p>
        </p:txBody>
      </p:sp>
      <p:sp>
        <p:nvSpPr>
          <p:cNvPr id="21" name="Freeform 17"/>
          <p:cNvSpPr/>
          <p:nvPr userDrawn="1"/>
        </p:nvSpPr>
        <p:spPr bwMode="auto">
          <a:xfrm>
            <a:off x="8601549" y="4410122"/>
            <a:ext cx="440079" cy="130504"/>
          </a:xfrm>
          <a:custGeom>
            <a:avLst/>
            <a:gdLst/>
            <a:ahLst/>
            <a:cxnLst>
              <a:cxn ang="0">
                <a:pos x="309" y="0"/>
              </a:cxn>
              <a:cxn ang="0">
                <a:pos x="0" y="122"/>
              </a:cxn>
            </a:cxnLst>
            <a:rect l="0" t="0" r="r" b="b"/>
            <a:pathLst>
              <a:path w="309" h="122">
                <a:moveTo>
                  <a:pt x="309" y="0"/>
                </a:moveTo>
                <a:cubicBezTo>
                  <a:pt x="190" y="30"/>
                  <a:pt x="85" y="72"/>
                  <a:pt x="0" y="122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1151890">
              <a:defRPr/>
            </a:pPr>
            <a:endParaRPr lang="en-GB" sz="2270">
              <a:solidFill>
                <a:srgbClr val="000000"/>
              </a:solidFill>
              <a:cs typeface="Arial" panose="020B0604020202090204" pitchFamily="34" charset="0"/>
            </a:endParaRPr>
          </a:p>
        </p:txBody>
      </p:sp>
      <p:sp>
        <p:nvSpPr>
          <p:cNvPr id="22" name="Freeform 18"/>
          <p:cNvSpPr/>
          <p:nvPr userDrawn="1"/>
        </p:nvSpPr>
        <p:spPr bwMode="auto">
          <a:xfrm>
            <a:off x="9041633" y="4368119"/>
            <a:ext cx="300054" cy="42002"/>
          </a:xfrm>
          <a:custGeom>
            <a:avLst/>
            <a:gdLst/>
            <a:ahLst/>
            <a:cxnLst>
              <a:cxn ang="0">
                <a:pos x="0" y="40"/>
              </a:cxn>
              <a:cxn ang="0">
                <a:pos x="210" y="0"/>
              </a:cxn>
            </a:cxnLst>
            <a:rect l="0" t="0" r="r" b="b"/>
            <a:pathLst>
              <a:path w="210" h="40">
                <a:moveTo>
                  <a:pt x="0" y="40"/>
                </a:moveTo>
                <a:cubicBezTo>
                  <a:pt x="66" y="23"/>
                  <a:pt x="137" y="10"/>
                  <a:pt x="210" y="0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1151890">
              <a:defRPr/>
            </a:pPr>
            <a:endParaRPr lang="en-GB" sz="2270">
              <a:solidFill>
                <a:srgbClr val="000000"/>
              </a:solidFill>
              <a:cs typeface="Arial" panose="020B0604020202090204" pitchFamily="34" charset="0"/>
            </a:endParaRPr>
          </a:p>
        </p:txBody>
      </p:sp>
      <p:sp>
        <p:nvSpPr>
          <p:cNvPr id="23" name="Freeform 19"/>
          <p:cNvSpPr/>
          <p:nvPr userDrawn="1"/>
        </p:nvSpPr>
        <p:spPr bwMode="auto">
          <a:xfrm>
            <a:off x="10037810" y="4363619"/>
            <a:ext cx="340061" cy="4650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38" y="43"/>
              </a:cxn>
            </a:cxnLst>
            <a:rect l="0" t="0" r="r" b="b"/>
            <a:pathLst>
              <a:path w="238" h="43">
                <a:moveTo>
                  <a:pt x="0" y="0"/>
                </a:moveTo>
                <a:cubicBezTo>
                  <a:pt x="84" y="9"/>
                  <a:pt x="164" y="24"/>
                  <a:pt x="238" y="43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1151890">
              <a:defRPr/>
            </a:pPr>
            <a:endParaRPr lang="en-GB" sz="2270">
              <a:solidFill>
                <a:srgbClr val="000000"/>
              </a:solidFill>
              <a:cs typeface="Arial" panose="020B0604020202090204" pitchFamily="34" charset="0"/>
            </a:endParaRPr>
          </a:p>
        </p:txBody>
      </p:sp>
      <p:sp>
        <p:nvSpPr>
          <p:cNvPr id="24" name="Freeform 20"/>
          <p:cNvSpPr/>
          <p:nvPr userDrawn="1"/>
        </p:nvSpPr>
        <p:spPr bwMode="auto">
          <a:xfrm>
            <a:off x="10377873" y="4410118"/>
            <a:ext cx="436079" cy="12750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06" y="119"/>
              </a:cxn>
            </a:cxnLst>
            <a:rect l="0" t="0" r="r" b="b"/>
            <a:pathLst>
              <a:path w="306" h="119">
                <a:moveTo>
                  <a:pt x="0" y="0"/>
                </a:moveTo>
                <a:cubicBezTo>
                  <a:pt x="117" y="30"/>
                  <a:pt x="221" y="70"/>
                  <a:pt x="306" y="119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1151890">
              <a:defRPr/>
            </a:pPr>
            <a:endParaRPr lang="en-GB" sz="2270">
              <a:solidFill>
                <a:srgbClr val="000000"/>
              </a:solidFill>
              <a:cs typeface="Arial" panose="020B0604020202090204" pitchFamily="34" charset="0"/>
            </a:endParaRPr>
          </a:p>
        </p:txBody>
      </p:sp>
      <p:sp>
        <p:nvSpPr>
          <p:cNvPr id="25" name="Freeform 21"/>
          <p:cNvSpPr/>
          <p:nvPr userDrawn="1"/>
        </p:nvSpPr>
        <p:spPr bwMode="auto">
          <a:xfrm>
            <a:off x="9041628" y="4410121"/>
            <a:ext cx="216039" cy="321009"/>
          </a:xfrm>
          <a:custGeom>
            <a:avLst/>
            <a:gdLst/>
            <a:ahLst/>
            <a:cxnLst>
              <a:cxn ang="0">
                <a:pos x="151" y="299"/>
              </a:cxn>
              <a:cxn ang="0">
                <a:pos x="0" y="0"/>
              </a:cxn>
            </a:cxnLst>
            <a:rect l="0" t="0" r="r" b="b"/>
            <a:pathLst>
              <a:path w="151" h="299">
                <a:moveTo>
                  <a:pt x="151" y="299"/>
                </a:moveTo>
                <a:cubicBezTo>
                  <a:pt x="91" y="219"/>
                  <a:pt x="39" y="118"/>
                  <a:pt x="0" y="0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1151890">
              <a:defRPr/>
            </a:pPr>
            <a:endParaRPr lang="en-GB" sz="2270">
              <a:solidFill>
                <a:srgbClr val="000000"/>
              </a:solidFill>
              <a:cs typeface="Arial" panose="020B0604020202090204" pitchFamily="34" charset="0"/>
            </a:endParaRPr>
          </a:p>
        </p:txBody>
      </p:sp>
      <p:sp>
        <p:nvSpPr>
          <p:cNvPr id="26" name="Freeform 22"/>
          <p:cNvSpPr/>
          <p:nvPr userDrawn="1"/>
        </p:nvSpPr>
        <p:spPr bwMode="auto">
          <a:xfrm>
            <a:off x="8927613" y="3274591"/>
            <a:ext cx="116021" cy="568516"/>
          </a:xfrm>
          <a:custGeom>
            <a:avLst/>
            <a:gdLst/>
            <a:ahLst/>
            <a:cxnLst>
              <a:cxn ang="0">
                <a:pos x="82" y="0"/>
              </a:cxn>
              <a:cxn ang="0">
                <a:pos x="0" y="531"/>
              </a:cxn>
            </a:cxnLst>
            <a:rect l="0" t="0" r="r" b="b"/>
            <a:pathLst>
              <a:path w="82" h="531">
                <a:moveTo>
                  <a:pt x="82" y="0"/>
                </a:moveTo>
                <a:cubicBezTo>
                  <a:pt x="30" y="154"/>
                  <a:pt x="0" y="336"/>
                  <a:pt x="0" y="531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1151890">
              <a:defRPr/>
            </a:pPr>
            <a:endParaRPr lang="en-GB" sz="2270">
              <a:solidFill>
                <a:srgbClr val="000000"/>
              </a:solidFill>
              <a:cs typeface="Arial" panose="020B0604020202090204" pitchFamily="34" charset="0"/>
            </a:endParaRPr>
          </a:p>
        </p:txBody>
      </p:sp>
      <p:sp>
        <p:nvSpPr>
          <p:cNvPr id="27" name="Freeform 23"/>
          <p:cNvSpPr/>
          <p:nvPr userDrawn="1"/>
        </p:nvSpPr>
        <p:spPr bwMode="auto">
          <a:xfrm>
            <a:off x="10143832" y="4410120"/>
            <a:ext cx="234042" cy="337510"/>
          </a:xfrm>
          <a:custGeom>
            <a:avLst/>
            <a:gdLst/>
            <a:ahLst/>
            <a:cxnLst>
              <a:cxn ang="0">
                <a:pos x="164" y="0"/>
              </a:cxn>
              <a:cxn ang="0">
                <a:pos x="0" y="315"/>
              </a:cxn>
            </a:cxnLst>
            <a:rect l="0" t="0" r="r" b="b"/>
            <a:pathLst>
              <a:path w="164" h="315">
                <a:moveTo>
                  <a:pt x="164" y="0"/>
                </a:moveTo>
                <a:cubicBezTo>
                  <a:pt x="122" y="125"/>
                  <a:pt x="66" y="233"/>
                  <a:pt x="0" y="315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1151890">
              <a:defRPr/>
            </a:pPr>
            <a:endParaRPr lang="en-GB" sz="2270">
              <a:solidFill>
                <a:srgbClr val="000000"/>
              </a:solidFill>
              <a:cs typeface="Arial" panose="020B0604020202090204" pitchFamily="34" charset="0"/>
            </a:endParaRPr>
          </a:p>
        </p:txBody>
      </p:sp>
      <p:sp>
        <p:nvSpPr>
          <p:cNvPr id="28" name="Freeform 24"/>
          <p:cNvSpPr/>
          <p:nvPr userDrawn="1"/>
        </p:nvSpPr>
        <p:spPr bwMode="auto">
          <a:xfrm>
            <a:off x="9043634" y="2758577"/>
            <a:ext cx="666119" cy="516014"/>
          </a:xfrm>
          <a:custGeom>
            <a:avLst/>
            <a:gdLst/>
            <a:ahLst/>
            <a:cxnLst>
              <a:cxn ang="0">
                <a:pos x="467" y="0"/>
              </a:cxn>
              <a:cxn ang="0">
                <a:pos x="0" y="483"/>
              </a:cxn>
            </a:cxnLst>
            <a:rect l="0" t="0" r="r" b="b"/>
            <a:pathLst>
              <a:path w="467" h="483">
                <a:moveTo>
                  <a:pt x="467" y="0"/>
                </a:moveTo>
                <a:cubicBezTo>
                  <a:pt x="269" y="0"/>
                  <a:pt x="96" y="193"/>
                  <a:pt x="0" y="483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1151890">
              <a:defRPr/>
            </a:pPr>
            <a:endParaRPr lang="en-GB" sz="2270">
              <a:solidFill>
                <a:srgbClr val="000000"/>
              </a:solidFill>
              <a:cs typeface="Arial" panose="020B0604020202090204" pitchFamily="34" charset="0"/>
            </a:endParaRPr>
          </a:p>
        </p:txBody>
      </p:sp>
      <p:sp>
        <p:nvSpPr>
          <p:cNvPr id="29" name="Freeform 25"/>
          <p:cNvSpPr/>
          <p:nvPr userDrawn="1"/>
        </p:nvSpPr>
        <p:spPr bwMode="auto">
          <a:xfrm>
            <a:off x="9709748" y="2758575"/>
            <a:ext cx="666121" cy="51451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466" y="481"/>
              </a:cxn>
            </a:cxnLst>
            <a:rect l="0" t="0" r="r" b="b"/>
            <a:pathLst>
              <a:path w="466" h="481">
                <a:moveTo>
                  <a:pt x="0" y="0"/>
                </a:moveTo>
                <a:cubicBezTo>
                  <a:pt x="197" y="0"/>
                  <a:pt x="370" y="193"/>
                  <a:pt x="466" y="481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1151890">
              <a:defRPr/>
            </a:pPr>
            <a:endParaRPr lang="en-GB" sz="2270">
              <a:solidFill>
                <a:srgbClr val="000000"/>
              </a:solidFill>
              <a:cs typeface="Arial" panose="020B0604020202090204" pitchFamily="34" charset="0"/>
            </a:endParaRPr>
          </a:p>
        </p:txBody>
      </p:sp>
      <p:sp>
        <p:nvSpPr>
          <p:cNvPr id="30" name="Freeform 26"/>
          <p:cNvSpPr/>
          <p:nvPr userDrawn="1"/>
        </p:nvSpPr>
        <p:spPr bwMode="auto">
          <a:xfrm>
            <a:off x="10377869" y="3843106"/>
            <a:ext cx="114021" cy="567015"/>
          </a:xfrm>
          <a:custGeom>
            <a:avLst/>
            <a:gdLst/>
            <a:ahLst/>
            <a:cxnLst>
              <a:cxn ang="0">
                <a:pos x="0" y="529"/>
              </a:cxn>
              <a:cxn ang="0">
                <a:pos x="80" y="0"/>
              </a:cxn>
            </a:cxnLst>
            <a:rect l="0" t="0" r="r" b="b"/>
            <a:pathLst>
              <a:path w="80" h="529">
                <a:moveTo>
                  <a:pt x="0" y="529"/>
                </a:moveTo>
                <a:cubicBezTo>
                  <a:pt x="51" y="375"/>
                  <a:pt x="80" y="194"/>
                  <a:pt x="80" y="0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1151890">
              <a:defRPr/>
            </a:pPr>
            <a:endParaRPr lang="en-GB" sz="2270">
              <a:solidFill>
                <a:srgbClr val="000000"/>
              </a:solidFill>
              <a:cs typeface="Arial" panose="020B0604020202090204" pitchFamily="34" charset="0"/>
            </a:endParaRPr>
          </a:p>
        </p:txBody>
      </p:sp>
      <p:sp>
        <p:nvSpPr>
          <p:cNvPr id="31" name="Freeform 27"/>
          <p:cNvSpPr/>
          <p:nvPr userDrawn="1"/>
        </p:nvSpPr>
        <p:spPr bwMode="auto">
          <a:xfrm>
            <a:off x="10375874" y="3273089"/>
            <a:ext cx="116021" cy="570016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82" y="533"/>
              </a:cxn>
            </a:cxnLst>
            <a:rect l="0" t="0" r="r" b="b"/>
            <a:pathLst>
              <a:path w="82" h="533">
                <a:moveTo>
                  <a:pt x="0" y="0"/>
                </a:moveTo>
                <a:cubicBezTo>
                  <a:pt x="52" y="155"/>
                  <a:pt x="82" y="337"/>
                  <a:pt x="82" y="533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1151890">
              <a:defRPr/>
            </a:pPr>
            <a:endParaRPr lang="en-GB" sz="2270">
              <a:solidFill>
                <a:srgbClr val="000000"/>
              </a:solidFill>
              <a:cs typeface="Arial" panose="020B0604020202090204" pitchFamily="34" charset="0"/>
            </a:endParaRPr>
          </a:p>
        </p:txBody>
      </p:sp>
      <p:sp>
        <p:nvSpPr>
          <p:cNvPr id="32" name="Freeform 28"/>
          <p:cNvSpPr/>
          <p:nvPr userDrawn="1"/>
        </p:nvSpPr>
        <p:spPr bwMode="auto">
          <a:xfrm>
            <a:off x="8927613" y="3843106"/>
            <a:ext cx="114020" cy="567015"/>
          </a:xfrm>
          <a:custGeom>
            <a:avLst/>
            <a:gdLst/>
            <a:ahLst/>
            <a:cxnLst>
              <a:cxn ang="0">
                <a:pos x="80" y="529"/>
              </a:cxn>
              <a:cxn ang="0">
                <a:pos x="0" y="0"/>
              </a:cxn>
            </a:cxnLst>
            <a:rect l="0" t="0" r="r" b="b"/>
            <a:pathLst>
              <a:path w="80" h="529">
                <a:moveTo>
                  <a:pt x="80" y="529"/>
                </a:moveTo>
                <a:cubicBezTo>
                  <a:pt x="29" y="375"/>
                  <a:pt x="0" y="194"/>
                  <a:pt x="0" y="0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1151890">
              <a:defRPr/>
            </a:pPr>
            <a:endParaRPr lang="en-GB" sz="2270">
              <a:solidFill>
                <a:srgbClr val="000000"/>
              </a:solidFill>
              <a:cs typeface="Arial" panose="020B0604020202090204" pitchFamily="34" charset="0"/>
            </a:endParaRPr>
          </a:p>
        </p:txBody>
      </p:sp>
      <p:sp>
        <p:nvSpPr>
          <p:cNvPr id="33" name="Line 29"/>
          <p:cNvSpPr>
            <a:spLocks noChangeShapeType="1"/>
          </p:cNvSpPr>
          <p:nvPr userDrawn="1"/>
        </p:nvSpPr>
        <p:spPr bwMode="auto">
          <a:xfrm>
            <a:off x="8263489" y="3843104"/>
            <a:ext cx="664120" cy="1501"/>
          </a:xfrm>
          <a:prstGeom prst="line">
            <a:avLst/>
          </a:pr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1151890">
              <a:defRPr/>
            </a:pPr>
            <a:endParaRPr lang="en-GB" sz="2270">
              <a:solidFill>
                <a:srgbClr val="000000"/>
              </a:solidFill>
              <a:cs typeface="Arial" panose="020B0604020202090204" pitchFamily="34" charset="0"/>
            </a:endParaRPr>
          </a:p>
        </p:txBody>
      </p:sp>
      <p:sp>
        <p:nvSpPr>
          <p:cNvPr id="34" name="Line 30"/>
          <p:cNvSpPr>
            <a:spLocks noChangeShapeType="1"/>
          </p:cNvSpPr>
          <p:nvPr userDrawn="1"/>
        </p:nvSpPr>
        <p:spPr bwMode="auto">
          <a:xfrm>
            <a:off x="10029811" y="3843104"/>
            <a:ext cx="462084" cy="1501"/>
          </a:xfrm>
          <a:prstGeom prst="line">
            <a:avLst/>
          </a:pr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1151890">
              <a:defRPr/>
            </a:pPr>
            <a:endParaRPr lang="en-GB" sz="2270">
              <a:solidFill>
                <a:srgbClr val="000000"/>
              </a:solidFill>
              <a:cs typeface="Arial" panose="020B0604020202090204" pitchFamily="34" charset="0"/>
            </a:endParaRPr>
          </a:p>
        </p:txBody>
      </p:sp>
      <p:sp>
        <p:nvSpPr>
          <p:cNvPr id="35" name="Line 31"/>
          <p:cNvSpPr>
            <a:spLocks noChangeShapeType="1"/>
          </p:cNvSpPr>
          <p:nvPr userDrawn="1"/>
        </p:nvSpPr>
        <p:spPr bwMode="auto">
          <a:xfrm flipH="1">
            <a:off x="10491895" y="3843104"/>
            <a:ext cx="666119" cy="1501"/>
          </a:xfrm>
          <a:prstGeom prst="line">
            <a:avLst/>
          </a:pr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1151890">
              <a:defRPr/>
            </a:pPr>
            <a:endParaRPr lang="en-GB" sz="2270">
              <a:solidFill>
                <a:srgbClr val="000000"/>
              </a:solidFill>
              <a:cs typeface="Arial" panose="020B0604020202090204" pitchFamily="34" charset="0"/>
            </a:endParaRPr>
          </a:p>
        </p:txBody>
      </p:sp>
      <p:sp>
        <p:nvSpPr>
          <p:cNvPr id="36" name="Line 32"/>
          <p:cNvSpPr>
            <a:spLocks noChangeShapeType="1"/>
          </p:cNvSpPr>
          <p:nvPr userDrawn="1"/>
        </p:nvSpPr>
        <p:spPr bwMode="auto">
          <a:xfrm>
            <a:off x="8927613" y="3843104"/>
            <a:ext cx="492089" cy="1501"/>
          </a:xfrm>
          <a:prstGeom prst="line">
            <a:avLst/>
          </a:pr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1151890">
              <a:defRPr/>
            </a:pPr>
            <a:endParaRPr lang="en-GB" sz="2270">
              <a:solidFill>
                <a:srgbClr val="000000"/>
              </a:solidFill>
              <a:cs typeface="Arial" panose="020B0604020202090204" pitchFamily="34" charset="0"/>
            </a:endParaRPr>
          </a:p>
        </p:txBody>
      </p:sp>
      <p:sp>
        <p:nvSpPr>
          <p:cNvPr id="37" name="Line 33"/>
          <p:cNvSpPr>
            <a:spLocks noChangeShapeType="1"/>
          </p:cNvSpPr>
          <p:nvPr userDrawn="1"/>
        </p:nvSpPr>
        <p:spPr bwMode="auto">
          <a:xfrm>
            <a:off x="9709749" y="3334593"/>
            <a:ext cx="2001" cy="405011"/>
          </a:xfrm>
          <a:prstGeom prst="line">
            <a:avLst/>
          </a:pr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1151890">
              <a:defRPr/>
            </a:pPr>
            <a:endParaRPr lang="en-GB" sz="2270">
              <a:solidFill>
                <a:srgbClr val="000000"/>
              </a:solidFill>
              <a:cs typeface="Arial" panose="020B0604020202090204" pitchFamily="34" charset="0"/>
            </a:endParaRPr>
          </a:p>
        </p:txBody>
      </p:sp>
      <p:sp>
        <p:nvSpPr>
          <p:cNvPr id="38" name="Line 34"/>
          <p:cNvSpPr>
            <a:spLocks noChangeShapeType="1"/>
          </p:cNvSpPr>
          <p:nvPr userDrawn="1"/>
        </p:nvSpPr>
        <p:spPr bwMode="auto">
          <a:xfrm>
            <a:off x="9709749" y="2758575"/>
            <a:ext cx="2001" cy="576016"/>
          </a:xfrm>
          <a:prstGeom prst="line">
            <a:avLst/>
          </a:pr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1151890">
              <a:defRPr/>
            </a:pPr>
            <a:endParaRPr lang="en-GB" sz="2270">
              <a:solidFill>
                <a:srgbClr val="000000"/>
              </a:solidFill>
              <a:cs typeface="Arial" panose="020B0604020202090204" pitchFamily="34" charset="0"/>
            </a:endParaRPr>
          </a:p>
        </p:txBody>
      </p:sp>
      <p:sp>
        <p:nvSpPr>
          <p:cNvPr id="39" name="Freeform 38"/>
          <p:cNvSpPr/>
          <p:nvPr userDrawn="1"/>
        </p:nvSpPr>
        <p:spPr bwMode="auto">
          <a:xfrm>
            <a:off x="10135826" y="4741630"/>
            <a:ext cx="8001" cy="600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6" y="6"/>
              </a:cxn>
            </a:cxnLst>
            <a:rect l="0" t="0" r="r" b="b"/>
            <a:pathLst>
              <a:path w="6" h="6">
                <a:moveTo>
                  <a:pt x="0" y="0"/>
                </a:moveTo>
                <a:cubicBezTo>
                  <a:pt x="2" y="2"/>
                  <a:pt x="4" y="4"/>
                  <a:pt x="6" y="6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1151890">
              <a:defRPr/>
            </a:pPr>
            <a:endParaRPr lang="en-GB" sz="2270">
              <a:solidFill>
                <a:srgbClr val="000000"/>
              </a:solidFill>
              <a:cs typeface="Arial" panose="020B0604020202090204" pitchFamily="34" charset="0"/>
            </a:endParaRPr>
          </a:p>
        </p:txBody>
      </p:sp>
      <p:grpSp>
        <p:nvGrpSpPr>
          <p:cNvPr id="40" name="Group 60"/>
          <p:cNvGrpSpPr/>
          <p:nvPr userDrawn="1"/>
        </p:nvGrpSpPr>
        <p:grpSpPr bwMode="auto">
          <a:xfrm>
            <a:off x="8881599" y="3739603"/>
            <a:ext cx="1632294" cy="1932052"/>
            <a:chOff x="7048500" y="3957638"/>
            <a:chExt cx="1295400" cy="2044699"/>
          </a:xfrm>
        </p:grpSpPr>
        <p:sp>
          <p:nvSpPr>
            <p:cNvPr id="41" name="Freeform 35"/>
            <p:cNvSpPr/>
            <p:nvPr userDrawn="1"/>
          </p:nvSpPr>
          <p:spPr bwMode="auto">
            <a:xfrm>
              <a:off x="7408863" y="4343400"/>
              <a:ext cx="63500" cy="193675"/>
            </a:xfrm>
            <a:custGeom>
              <a:avLst/>
              <a:gdLst/>
              <a:ahLst/>
              <a:cxnLst>
                <a:cxn ang="0">
                  <a:pos x="56" y="0"/>
                </a:cxn>
                <a:cxn ang="0">
                  <a:pos x="0" y="171"/>
                </a:cxn>
              </a:cxnLst>
              <a:rect l="0" t="0" r="r" b="b"/>
              <a:pathLst>
                <a:path w="56" h="171">
                  <a:moveTo>
                    <a:pt x="56" y="0"/>
                  </a:moveTo>
                  <a:cubicBezTo>
                    <a:pt x="25" y="46"/>
                    <a:pt x="5" y="104"/>
                    <a:pt x="0" y="171"/>
                  </a:cubicBezTo>
                </a:path>
              </a:pathLst>
            </a:custGeom>
            <a:noFill/>
            <a:ln w="19050" cap="rnd">
              <a:solidFill>
                <a:srgbClr val="D5D30F"/>
              </a:solidFill>
              <a:prstDash val="solid"/>
              <a:round/>
            </a:ln>
          </p:spPr>
          <p:txBody>
            <a:bodyPr/>
            <a:lstStyle/>
            <a:p>
              <a:pPr defTabSz="1151890">
                <a:defRPr/>
              </a:pPr>
              <a:endParaRPr lang="en-GB" sz="2270">
                <a:solidFill>
                  <a:srgbClr val="000000"/>
                </a:solidFill>
                <a:cs typeface="Arial" panose="020B0604020202090204" pitchFamily="34" charset="0"/>
              </a:endParaRPr>
            </a:p>
          </p:txBody>
        </p:sp>
        <p:sp>
          <p:nvSpPr>
            <p:cNvPr id="42" name="Freeform 36"/>
            <p:cNvSpPr/>
            <p:nvPr userDrawn="1"/>
          </p:nvSpPr>
          <p:spPr bwMode="auto">
            <a:xfrm>
              <a:off x="7254875" y="5006974"/>
              <a:ext cx="92075" cy="119063"/>
            </a:xfrm>
            <a:custGeom>
              <a:avLst/>
              <a:gdLst/>
              <a:ahLst/>
              <a:cxnLst>
                <a:cxn ang="0">
                  <a:pos x="0" y="105"/>
                </a:cxn>
                <a:cxn ang="0">
                  <a:pos x="81" y="0"/>
                </a:cxn>
              </a:cxnLst>
              <a:rect l="0" t="0" r="r" b="b"/>
              <a:pathLst>
                <a:path w="81" h="105">
                  <a:moveTo>
                    <a:pt x="0" y="105"/>
                  </a:moveTo>
                  <a:cubicBezTo>
                    <a:pt x="23" y="66"/>
                    <a:pt x="50" y="30"/>
                    <a:pt x="81" y="0"/>
                  </a:cubicBezTo>
                </a:path>
              </a:pathLst>
            </a:custGeom>
            <a:noFill/>
            <a:ln w="19050" cap="rnd">
              <a:solidFill>
                <a:srgbClr val="D5D30F"/>
              </a:solidFill>
              <a:prstDash val="solid"/>
              <a:round/>
            </a:ln>
          </p:spPr>
          <p:txBody>
            <a:bodyPr/>
            <a:lstStyle/>
            <a:p>
              <a:pPr defTabSz="1151890">
                <a:defRPr/>
              </a:pPr>
              <a:endParaRPr lang="en-GB" sz="2270">
                <a:solidFill>
                  <a:srgbClr val="000000"/>
                </a:solidFill>
                <a:cs typeface="Arial" panose="020B0604020202090204" pitchFamily="34" charset="0"/>
              </a:endParaRPr>
            </a:p>
          </p:txBody>
        </p:sp>
        <p:sp>
          <p:nvSpPr>
            <p:cNvPr id="43" name="Freeform 37"/>
            <p:cNvSpPr/>
            <p:nvPr userDrawn="1"/>
          </p:nvSpPr>
          <p:spPr bwMode="auto">
            <a:xfrm>
              <a:off x="7408863" y="4537075"/>
              <a:ext cx="4762" cy="85725"/>
            </a:xfrm>
            <a:custGeom>
              <a:avLst/>
              <a:gdLst/>
              <a:ahLst/>
              <a:cxnLst>
                <a:cxn ang="0">
                  <a:pos x="5" y="75"/>
                </a:cxn>
                <a:cxn ang="0">
                  <a:pos x="0" y="27"/>
                </a:cxn>
                <a:cxn ang="0">
                  <a:pos x="1" y="0"/>
                </a:cxn>
              </a:cxnLst>
              <a:rect l="0" t="0" r="r" b="b"/>
              <a:pathLst>
                <a:path w="5" h="75">
                  <a:moveTo>
                    <a:pt x="5" y="75"/>
                  </a:moveTo>
                  <a:cubicBezTo>
                    <a:pt x="2" y="59"/>
                    <a:pt x="0" y="43"/>
                    <a:pt x="0" y="27"/>
                  </a:cubicBezTo>
                  <a:cubicBezTo>
                    <a:pt x="0" y="18"/>
                    <a:pt x="1" y="9"/>
                    <a:pt x="1" y="0"/>
                  </a:cubicBezTo>
                </a:path>
              </a:pathLst>
            </a:custGeom>
            <a:noFill/>
            <a:ln w="19050" cap="rnd">
              <a:solidFill>
                <a:srgbClr val="D5D30F"/>
              </a:solidFill>
              <a:prstDash val="solid"/>
              <a:round/>
            </a:ln>
          </p:spPr>
          <p:txBody>
            <a:bodyPr/>
            <a:lstStyle/>
            <a:p>
              <a:pPr defTabSz="1151890">
                <a:defRPr/>
              </a:pPr>
              <a:endParaRPr lang="en-GB" sz="2270">
                <a:solidFill>
                  <a:srgbClr val="000000"/>
                </a:solidFill>
                <a:cs typeface="Arial" panose="020B0604020202090204" pitchFamily="34" charset="0"/>
              </a:endParaRPr>
            </a:p>
          </p:txBody>
        </p:sp>
        <p:sp>
          <p:nvSpPr>
            <p:cNvPr id="44" name="Freeform 38"/>
            <p:cNvSpPr/>
            <p:nvPr userDrawn="1"/>
          </p:nvSpPr>
          <p:spPr bwMode="auto">
            <a:xfrm>
              <a:off x="7213600" y="5126037"/>
              <a:ext cx="41275" cy="82550"/>
            </a:xfrm>
            <a:custGeom>
              <a:avLst/>
              <a:gdLst/>
              <a:ahLst/>
              <a:cxnLst>
                <a:cxn ang="0">
                  <a:pos x="37" y="0"/>
                </a:cxn>
                <a:cxn ang="0">
                  <a:pos x="0" y="73"/>
                </a:cxn>
              </a:cxnLst>
              <a:rect l="0" t="0" r="r" b="b"/>
              <a:pathLst>
                <a:path w="37" h="73">
                  <a:moveTo>
                    <a:pt x="37" y="0"/>
                  </a:moveTo>
                  <a:cubicBezTo>
                    <a:pt x="24" y="23"/>
                    <a:pt x="11" y="48"/>
                    <a:pt x="0" y="73"/>
                  </a:cubicBezTo>
                </a:path>
              </a:pathLst>
            </a:custGeom>
            <a:noFill/>
            <a:ln w="19050" cap="rnd">
              <a:solidFill>
                <a:srgbClr val="D5D30F"/>
              </a:solidFill>
              <a:prstDash val="solid"/>
              <a:round/>
            </a:ln>
          </p:spPr>
          <p:txBody>
            <a:bodyPr/>
            <a:lstStyle/>
            <a:p>
              <a:pPr defTabSz="1151890">
                <a:defRPr/>
              </a:pPr>
              <a:endParaRPr lang="en-GB" sz="2270">
                <a:solidFill>
                  <a:srgbClr val="000000"/>
                </a:solidFill>
                <a:cs typeface="Arial" panose="020B0604020202090204" pitchFamily="34" charset="0"/>
              </a:endParaRPr>
            </a:p>
          </p:txBody>
        </p:sp>
        <p:sp>
          <p:nvSpPr>
            <p:cNvPr id="45" name="Freeform 40"/>
            <p:cNvSpPr/>
            <p:nvPr userDrawn="1"/>
          </p:nvSpPr>
          <p:spPr bwMode="auto">
            <a:xfrm>
              <a:off x="8050213" y="5024437"/>
              <a:ext cx="117475" cy="188912"/>
            </a:xfrm>
            <a:custGeom>
              <a:avLst/>
              <a:gdLst/>
              <a:ahLst/>
              <a:cxnLst>
                <a:cxn ang="0">
                  <a:pos x="104" y="167"/>
                </a:cxn>
                <a:cxn ang="0">
                  <a:pos x="0" y="0"/>
                </a:cxn>
              </a:cxnLst>
              <a:rect l="0" t="0" r="r" b="b"/>
              <a:pathLst>
                <a:path w="104" h="167">
                  <a:moveTo>
                    <a:pt x="104" y="167"/>
                  </a:moveTo>
                  <a:cubicBezTo>
                    <a:pt x="77" y="103"/>
                    <a:pt x="43" y="47"/>
                    <a:pt x="0" y="0"/>
                  </a:cubicBezTo>
                </a:path>
              </a:pathLst>
            </a:custGeom>
            <a:noFill/>
            <a:ln w="19050" cap="rnd">
              <a:solidFill>
                <a:srgbClr val="D5D30F"/>
              </a:solidFill>
              <a:prstDash val="solid"/>
              <a:round/>
            </a:ln>
          </p:spPr>
          <p:txBody>
            <a:bodyPr/>
            <a:lstStyle/>
            <a:p>
              <a:pPr defTabSz="1151890">
                <a:defRPr/>
              </a:pPr>
              <a:endParaRPr lang="en-GB" sz="2270">
                <a:solidFill>
                  <a:srgbClr val="000000"/>
                </a:solidFill>
                <a:cs typeface="Arial" panose="020B0604020202090204" pitchFamily="34" charset="0"/>
              </a:endParaRPr>
            </a:p>
          </p:txBody>
        </p:sp>
        <p:sp>
          <p:nvSpPr>
            <p:cNvPr id="46" name="Freeform 41"/>
            <p:cNvSpPr/>
            <p:nvPr userDrawn="1"/>
          </p:nvSpPr>
          <p:spPr bwMode="auto">
            <a:xfrm>
              <a:off x="7905750" y="4340225"/>
              <a:ext cx="28575" cy="50800"/>
            </a:xfrm>
            <a:custGeom>
              <a:avLst/>
              <a:gdLst/>
              <a:ahLst/>
              <a:cxnLst>
                <a:cxn ang="0">
                  <a:pos x="26" y="45"/>
                </a:cxn>
                <a:cxn ang="0">
                  <a:pos x="0" y="0"/>
                </a:cxn>
              </a:cxnLst>
              <a:rect l="0" t="0" r="r" b="b"/>
              <a:pathLst>
                <a:path w="26" h="45">
                  <a:moveTo>
                    <a:pt x="26" y="45"/>
                  </a:moveTo>
                  <a:cubicBezTo>
                    <a:pt x="18" y="29"/>
                    <a:pt x="10" y="14"/>
                    <a:pt x="0" y="0"/>
                  </a:cubicBezTo>
                </a:path>
              </a:pathLst>
            </a:custGeom>
            <a:noFill/>
            <a:ln w="19050" cap="rnd">
              <a:solidFill>
                <a:srgbClr val="D5D30F"/>
              </a:solidFill>
              <a:prstDash val="solid"/>
              <a:round/>
            </a:ln>
          </p:spPr>
          <p:txBody>
            <a:bodyPr/>
            <a:lstStyle/>
            <a:p>
              <a:pPr defTabSz="1151890">
                <a:defRPr/>
              </a:pPr>
              <a:endParaRPr lang="en-GB" sz="2270">
                <a:solidFill>
                  <a:srgbClr val="000000"/>
                </a:solidFill>
                <a:cs typeface="Arial" panose="020B0604020202090204" pitchFamily="34" charset="0"/>
              </a:endParaRPr>
            </a:p>
          </p:txBody>
        </p:sp>
        <p:sp>
          <p:nvSpPr>
            <p:cNvPr id="47" name="Freeform 42"/>
            <p:cNvSpPr/>
            <p:nvPr userDrawn="1"/>
          </p:nvSpPr>
          <p:spPr bwMode="auto">
            <a:xfrm>
              <a:off x="7934325" y="4391025"/>
              <a:ext cx="38100" cy="227013"/>
            </a:xfrm>
            <a:custGeom>
              <a:avLst/>
              <a:gdLst/>
              <a:ahLst/>
              <a:cxnLst>
                <a:cxn ang="0">
                  <a:pos x="28" y="201"/>
                </a:cxn>
                <a:cxn ang="0">
                  <a:pos x="33" y="156"/>
                </a:cxn>
                <a:cxn ang="0">
                  <a:pos x="0" y="0"/>
                </a:cxn>
              </a:cxnLst>
              <a:rect l="0" t="0" r="r" b="b"/>
              <a:pathLst>
                <a:path w="33" h="201">
                  <a:moveTo>
                    <a:pt x="28" y="201"/>
                  </a:moveTo>
                  <a:cubicBezTo>
                    <a:pt x="31" y="186"/>
                    <a:pt x="33" y="171"/>
                    <a:pt x="33" y="156"/>
                  </a:cubicBezTo>
                  <a:cubicBezTo>
                    <a:pt x="33" y="97"/>
                    <a:pt x="21" y="45"/>
                    <a:pt x="0" y="0"/>
                  </a:cubicBezTo>
                </a:path>
              </a:pathLst>
            </a:custGeom>
            <a:noFill/>
            <a:ln w="19050" cap="rnd">
              <a:solidFill>
                <a:srgbClr val="D5D30F"/>
              </a:solidFill>
              <a:prstDash val="solid"/>
              <a:round/>
            </a:ln>
          </p:spPr>
          <p:txBody>
            <a:bodyPr/>
            <a:lstStyle/>
            <a:p>
              <a:pPr defTabSz="1151890">
                <a:defRPr/>
              </a:pPr>
              <a:endParaRPr lang="en-GB" sz="2270">
                <a:solidFill>
                  <a:srgbClr val="000000"/>
                </a:solidFill>
                <a:cs typeface="Arial" panose="020B0604020202090204" pitchFamily="34" charset="0"/>
              </a:endParaRPr>
            </a:p>
          </p:txBody>
        </p:sp>
        <p:sp>
          <p:nvSpPr>
            <p:cNvPr id="48" name="Freeform 43"/>
            <p:cNvSpPr/>
            <p:nvPr userDrawn="1"/>
          </p:nvSpPr>
          <p:spPr bwMode="auto">
            <a:xfrm>
              <a:off x="7346950" y="4622800"/>
              <a:ext cx="215900" cy="384175"/>
            </a:xfrm>
            <a:custGeom>
              <a:avLst/>
              <a:gdLst/>
              <a:ahLst/>
              <a:cxnLst>
                <a:cxn ang="0">
                  <a:pos x="0" y="339"/>
                </a:cxn>
                <a:cxn ang="0">
                  <a:pos x="190" y="228"/>
                </a:cxn>
                <a:cxn ang="0">
                  <a:pos x="59" y="0"/>
                </a:cxn>
              </a:cxnLst>
              <a:rect l="0" t="0" r="r" b="b"/>
              <a:pathLst>
                <a:path w="190" h="339">
                  <a:moveTo>
                    <a:pt x="0" y="339"/>
                  </a:moveTo>
                  <a:cubicBezTo>
                    <a:pt x="52" y="288"/>
                    <a:pt x="114" y="250"/>
                    <a:pt x="190" y="228"/>
                  </a:cubicBezTo>
                  <a:cubicBezTo>
                    <a:pt x="140" y="178"/>
                    <a:pt x="77" y="90"/>
                    <a:pt x="59" y="0"/>
                  </a:cubicBezTo>
                </a:path>
              </a:pathLst>
            </a:custGeom>
            <a:noFill/>
            <a:ln w="19050" cap="rnd">
              <a:solidFill>
                <a:srgbClr val="D5D30F"/>
              </a:solidFill>
              <a:prstDash val="solid"/>
              <a:round/>
            </a:ln>
          </p:spPr>
          <p:txBody>
            <a:bodyPr/>
            <a:lstStyle/>
            <a:p>
              <a:pPr defTabSz="1151890">
                <a:defRPr/>
              </a:pPr>
              <a:endParaRPr lang="en-GB" sz="2270">
                <a:solidFill>
                  <a:srgbClr val="000000"/>
                </a:solidFill>
                <a:cs typeface="Arial" panose="020B0604020202090204" pitchFamily="34" charset="0"/>
              </a:endParaRPr>
            </a:p>
          </p:txBody>
        </p:sp>
        <p:sp>
          <p:nvSpPr>
            <p:cNvPr id="49" name="Freeform 44"/>
            <p:cNvSpPr/>
            <p:nvPr userDrawn="1"/>
          </p:nvSpPr>
          <p:spPr bwMode="auto">
            <a:xfrm>
              <a:off x="7818438" y="4618038"/>
              <a:ext cx="225425" cy="400050"/>
            </a:xfrm>
            <a:custGeom>
              <a:avLst/>
              <a:gdLst/>
              <a:ahLst/>
              <a:cxnLst>
                <a:cxn ang="0">
                  <a:pos x="131" y="0"/>
                </a:cxn>
                <a:cxn ang="0">
                  <a:pos x="0" y="231"/>
                </a:cxn>
                <a:cxn ang="0">
                  <a:pos x="199" y="352"/>
                </a:cxn>
              </a:cxnLst>
              <a:rect l="0" t="0" r="r" b="b"/>
              <a:pathLst>
                <a:path w="199" h="352">
                  <a:moveTo>
                    <a:pt x="131" y="0"/>
                  </a:moveTo>
                  <a:cubicBezTo>
                    <a:pt x="114" y="91"/>
                    <a:pt x="51" y="180"/>
                    <a:pt x="0" y="231"/>
                  </a:cubicBezTo>
                  <a:cubicBezTo>
                    <a:pt x="81" y="254"/>
                    <a:pt x="146" y="296"/>
                    <a:pt x="199" y="352"/>
                  </a:cubicBezTo>
                </a:path>
              </a:pathLst>
            </a:custGeom>
            <a:noFill/>
            <a:ln w="19050" cap="rnd">
              <a:solidFill>
                <a:srgbClr val="D5D30F"/>
              </a:solidFill>
              <a:prstDash val="solid"/>
              <a:round/>
            </a:ln>
          </p:spPr>
          <p:txBody>
            <a:bodyPr/>
            <a:lstStyle/>
            <a:p>
              <a:pPr defTabSz="1151890">
                <a:defRPr/>
              </a:pPr>
              <a:endParaRPr lang="en-GB" sz="2270">
                <a:solidFill>
                  <a:srgbClr val="000000"/>
                </a:solidFill>
                <a:cs typeface="Arial" panose="020B0604020202090204" pitchFamily="34" charset="0"/>
              </a:endParaRPr>
            </a:p>
          </p:txBody>
        </p:sp>
        <p:sp>
          <p:nvSpPr>
            <p:cNvPr id="50" name="Freeform 45"/>
            <p:cNvSpPr/>
            <p:nvPr userDrawn="1"/>
          </p:nvSpPr>
          <p:spPr bwMode="auto">
            <a:xfrm>
              <a:off x="7324725" y="4278313"/>
              <a:ext cx="96838" cy="176212"/>
            </a:xfrm>
            <a:custGeom>
              <a:avLst/>
              <a:gdLst/>
              <a:ahLst/>
              <a:cxnLst>
                <a:cxn ang="0">
                  <a:pos x="86" y="155"/>
                </a:cxn>
                <a:cxn ang="0">
                  <a:pos x="32" y="107"/>
                </a:cxn>
                <a:cxn ang="0">
                  <a:pos x="0" y="0"/>
                </a:cxn>
              </a:cxnLst>
              <a:rect l="0" t="0" r="r" b="b"/>
              <a:pathLst>
                <a:path w="86" h="155">
                  <a:moveTo>
                    <a:pt x="86" y="155"/>
                  </a:moveTo>
                  <a:cubicBezTo>
                    <a:pt x="72" y="147"/>
                    <a:pt x="47" y="129"/>
                    <a:pt x="32" y="107"/>
                  </a:cubicBezTo>
                  <a:cubicBezTo>
                    <a:pt x="13" y="79"/>
                    <a:pt x="0" y="0"/>
                    <a:pt x="0" y="0"/>
                  </a:cubicBezTo>
                </a:path>
              </a:pathLst>
            </a:custGeom>
            <a:noFill/>
            <a:ln w="19050" cap="rnd">
              <a:solidFill>
                <a:srgbClr val="D5D30F"/>
              </a:solidFill>
              <a:prstDash val="solid"/>
              <a:round/>
            </a:ln>
          </p:spPr>
          <p:txBody>
            <a:bodyPr/>
            <a:lstStyle/>
            <a:p>
              <a:pPr defTabSz="1151890">
                <a:defRPr/>
              </a:pPr>
              <a:endParaRPr lang="en-GB" sz="2270">
                <a:solidFill>
                  <a:srgbClr val="000000"/>
                </a:solidFill>
                <a:cs typeface="Arial" panose="020B0604020202090204" pitchFamily="34" charset="0"/>
              </a:endParaRPr>
            </a:p>
          </p:txBody>
        </p:sp>
        <p:sp>
          <p:nvSpPr>
            <p:cNvPr id="51" name="Freeform 46"/>
            <p:cNvSpPr/>
            <p:nvPr userDrawn="1"/>
          </p:nvSpPr>
          <p:spPr bwMode="auto">
            <a:xfrm>
              <a:off x="7961313" y="4275138"/>
              <a:ext cx="84137" cy="180975"/>
            </a:xfrm>
            <a:custGeom>
              <a:avLst/>
              <a:gdLst/>
              <a:ahLst/>
              <a:cxnLst>
                <a:cxn ang="0">
                  <a:pos x="0" y="160"/>
                </a:cxn>
                <a:cxn ang="0">
                  <a:pos x="49" y="109"/>
                </a:cxn>
                <a:cxn ang="0">
                  <a:pos x="75" y="0"/>
                </a:cxn>
              </a:cxnLst>
              <a:rect l="0" t="0" r="r" b="b"/>
              <a:pathLst>
                <a:path w="75" h="160">
                  <a:moveTo>
                    <a:pt x="0" y="160"/>
                  </a:moveTo>
                  <a:cubicBezTo>
                    <a:pt x="13" y="150"/>
                    <a:pt x="36" y="131"/>
                    <a:pt x="49" y="109"/>
                  </a:cubicBezTo>
                  <a:cubicBezTo>
                    <a:pt x="66" y="80"/>
                    <a:pt x="75" y="0"/>
                    <a:pt x="75" y="0"/>
                  </a:cubicBezTo>
                </a:path>
              </a:pathLst>
            </a:custGeom>
            <a:noFill/>
            <a:ln w="19050" cap="rnd">
              <a:solidFill>
                <a:srgbClr val="D5D30F"/>
              </a:solidFill>
              <a:prstDash val="solid"/>
              <a:round/>
            </a:ln>
          </p:spPr>
          <p:txBody>
            <a:bodyPr/>
            <a:lstStyle/>
            <a:p>
              <a:pPr defTabSz="1151890">
                <a:defRPr/>
              </a:pPr>
              <a:endParaRPr lang="en-GB" sz="2270">
                <a:solidFill>
                  <a:srgbClr val="000000"/>
                </a:solidFill>
                <a:cs typeface="Arial" panose="020B0604020202090204" pitchFamily="34" charset="0"/>
              </a:endParaRPr>
            </a:p>
          </p:txBody>
        </p:sp>
        <p:sp>
          <p:nvSpPr>
            <p:cNvPr id="52" name="Freeform 47"/>
            <p:cNvSpPr/>
            <p:nvPr userDrawn="1"/>
          </p:nvSpPr>
          <p:spPr bwMode="auto">
            <a:xfrm>
              <a:off x="7705725" y="5099049"/>
              <a:ext cx="638175" cy="903288"/>
            </a:xfrm>
            <a:custGeom>
              <a:avLst/>
              <a:gdLst/>
              <a:ahLst/>
              <a:cxnLst>
                <a:cxn ang="0">
                  <a:pos x="305" y="436"/>
                </a:cxn>
                <a:cxn ang="0">
                  <a:pos x="0" y="569"/>
                </a:cxn>
                <a:cxn ang="0">
                  <a:pos x="0" y="265"/>
                </a:cxn>
                <a:cxn ang="0">
                  <a:pos x="402" y="0"/>
                </a:cxn>
                <a:cxn ang="0">
                  <a:pos x="305" y="436"/>
                </a:cxn>
              </a:cxnLst>
              <a:rect l="0" t="0" r="r" b="b"/>
              <a:pathLst>
                <a:path w="402" h="569">
                  <a:moveTo>
                    <a:pt x="305" y="436"/>
                  </a:moveTo>
                  <a:lnTo>
                    <a:pt x="0" y="569"/>
                  </a:lnTo>
                  <a:lnTo>
                    <a:pt x="0" y="265"/>
                  </a:lnTo>
                  <a:lnTo>
                    <a:pt x="402" y="0"/>
                  </a:lnTo>
                  <a:lnTo>
                    <a:pt x="305" y="436"/>
                  </a:lnTo>
                  <a:close/>
                </a:path>
              </a:pathLst>
            </a:custGeom>
            <a:noFill/>
            <a:ln w="19050" cap="rnd">
              <a:solidFill>
                <a:srgbClr val="D5D30F"/>
              </a:solidFill>
              <a:prstDash val="solid"/>
              <a:round/>
            </a:ln>
          </p:spPr>
          <p:txBody>
            <a:bodyPr/>
            <a:lstStyle/>
            <a:p>
              <a:pPr defTabSz="1151890">
                <a:defRPr/>
              </a:pPr>
              <a:endParaRPr lang="en-GB" sz="2270">
                <a:solidFill>
                  <a:srgbClr val="000000"/>
                </a:solidFill>
                <a:cs typeface="Arial" panose="020B0604020202090204" pitchFamily="34" charset="0"/>
              </a:endParaRPr>
            </a:p>
          </p:txBody>
        </p:sp>
        <p:sp>
          <p:nvSpPr>
            <p:cNvPr id="53" name="Freeform 48"/>
            <p:cNvSpPr/>
            <p:nvPr userDrawn="1"/>
          </p:nvSpPr>
          <p:spPr bwMode="auto">
            <a:xfrm>
              <a:off x="7048500" y="5099049"/>
              <a:ext cx="636588" cy="903288"/>
            </a:xfrm>
            <a:custGeom>
              <a:avLst/>
              <a:gdLst/>
              <a:ahLst/>
              <a:cxnLst>
                <a:cxn ang="0">
                  <a:pos x="133" y="452"/>
                </a:cxn>
                <a:cxn ang="0">
                  <a:pos x="401" y="569"/>
                </a:cxn>
                <a:cxn ang="0">
                  <a:pos x="401" y="265"/>
                </a:cxn>
                <a:cxn ang="0">
                  <a:pos x="104" y="69"/>
                </a:cxn>
                <a:cxn ang="0">
                  <a:pos x="0" y="0"/>
                </a:cxn>
                <a:cxn ang="0">
                  <a:pos x="97" y="436"/>
                </a:cxn>
              </a:cxnLst>
              <a:rect l="0" t="0" r="r" b="b"/>
              <a:pathLst>
                <a:path w="401" h="569">
                  <a:moveTo>
                    <a:pt x="133" y="452"/>
                  </a:moveTo>
                  <a:lnTo>
                    <a:pt x="401" y="569"/>
                  </a:lnTo>
                  <a:lnTo>
                    <a:pt x="401" y="265"/>
                  </a:lnTo>
                  <a:lnTo>
                    <a:pt x="104" y="69"/>
                  </a:lnTo>
                  <a:lnTo>
                    <a:pt x="0" y="0"/>
                  </a:lnTo>
                  <a:lnTo>
                    <a:pt x="97" y="436"/>
                  </a:lnTo>
                </a:path>
              </a:pathLst>
            </a:custGeom>
            <a:noFill/>
            <a:ln w="19050" cap="rnd">
              <a:solidFill>
                <a:srgbClr val="D5D30F"/>
              </a:solidFill>
              <a:prstDash val="solid"/>
              <a:round/>
            </a:ln>
          </p:spPr>
          <p:txBody>
            <a:bodyPr/>
            <a:lstStyle/>
            <a:p>
              <a:pPr defTabSz="1151890">
                <a:defRPr/>
              </a:pPr>
              <a:endParaRPr lang="en-GB" sz="2270">
                <a:solidFill>
                  <a:srgbClr val="000000"/>
                </a:solidFill>
                <a:cs typeface="Arial" panose="020B0604020202090204" pitchFamily="34" charset="0"/>
              </a:endParaRPr>
            </a:p>
          </p:txBody>
        </p:sp>
        <p:sp>
          <p:nvSpPr>
            <p:cNvPr id="54" name="Freeform 49"/>
            <p:cNvSpPr/>
            <p:nvPr userDrawn="1"/>
          </p:nvSpPr>
          <p:spPr bwMode="auto">
            <a:xfrm>
              <a:off x="7180263" y="3957638"/>
              <a:ext cx="1042987" cy="482600"/>
            </a:xfrm>
            <a:custGeom>
              <a:avLst/>
              <a:gdLst/>
              <a:ahLst/>
              <a:cxnLst>
                <a:cxn ang="0">
                  <a:pos x="657" y="144"/>
                </a:cxn>
                <a:cxn ang="0">
                  <a:pos x="330" y="0"/>
                </a:cxn>
                <a:cxn ang="0">
                  <a:pos x="0" y="160"/>
                </a:cxn>
                <a:cxn ang="0">
                  <a:pos x="326" y="304"/>
                </a:cxn>
                <a:cxn ang="0">
                  <a:pos x="620" y="162"/>
                </a:cxn>
              </a:cxnLst>
              <a:rect l="0" t="0" r="r" b="b"/>
              <a:pathLst>
                <a:path w="657" h="304">
                  <a:moveTo>
                    <a:pt x="657" y="144"/>
                  </a:moveTo>
                  <a:lnTo>
                    <a:pt x="330" y="0"/>
                  </a:lnTo>
                  <a:lnTo>
                    <a:pt x="0" y="160"/>
                  </a:lnTo>
                  <a:lnTo>
                    <a:pt x="326" y="304"/>
                  </a:lnTo>
                  <a:lnTo>
                    <a:pt x="620" y="162"/>
                  </a:lnTo>
                </a:path>
              </a:pathLst>
            </a:custGeom>
            <a:noFill/>
            <a:ln w="19050" cap="rnd">
              <a:solidFill>
                <a:srgbClr val="D5D30F"/>
              </a:solidFill>
              <a:prstDash val="solid"/>
              <a:round/>
            </a:ln>
          </p:spPr>
          <p:txBody>
            <a:bodyPr/>
            <a:lstStyle/>
            <a:p>
              <a:pPr defTabSz="1151890">
                <a:defRPr/>
              </a:pPr>
              <a:endParaRPr lang="en-GB" sz="2270">
                <a:solidFill>
                  <a:srgbClr val="000000"/>
                </a:solidFill>
                <a:cs typeface="Arial" panose="020B0604020202090204" pitchFamily="34" charset="0"/>
              </a:endParaRPr>
            </a:p>
          </p:txBody>
        </p:sp>
        <p:sp>
          <p:nvSpPr>
            <p:cNvPr id="55" name="Freeform 50"/>
            <p:cNvSpPr/>
            <p:nvPr userDrawn="1"/>
          </p:nvSpPr>
          <p:spPr bwMode="auto">
            <a:xfrm>
              <a:off x="8123238" y="4186238"/>
              <a:ext cx="139700" cy="274637"/>
            </a:xfrm>
            <a:custGeom>
              <a:avLst/>
              <a:gdLst/>
              <a:ahLst/>
              <a:cxnLst>
                <a:cxn ang="0">
                  <a:pos x="88" y="0"/>
                </a:cxn>
                <a:cxn ang="0">
                  <a:pos x="65" y="243"/>
                </a:cxn>
              </a:cxnLst>
              <a:rect l="0" t="0" r="r" b="b"/>
              <a:pathLst>
                <a:path w="124" h="243">
                  <a:moveTo>
                    <a:pt x="88" y="0"/>
                  </a:moveTo>
                  <a:cubicBezTo>
                    <a:pt x="124" y="46"/>
                    <a:pt x="0" y="201"/>
                    <a:pt x="65" y="243"/>
                  </a:cubicBezTo>
                </a:path>
              </a:pathLst>
            </a:custGeom>
            <a:noFill/>
            <a:ln w="19050" cap="rnd">
              <a:solidFill>
                <a:srgbClr val="D5D30F"/>
              </a:solidFill>
              <a:prstDash val="solid"/>
              <a:round/>
            </a:ln>
          </p:spPr>
          <p:txBody>
            <a:bodyPr/>
            <a:lstStyle/>
            <a:p>
              <a:pPr defTabSz="1151890">
                <a:defRPr/>
              </a:pPr>
              <a:endParaRPr lang="en-GB" sz="2270">
                <a:solidFill>
                  <a:srgbClr val="000000"/>
                </a:solidFill>
                <a:cs typeface="Arial" panose="020B0604020202090204" pitchFamily="34" charset="0"/>
              </a:endParaRPr>
            </a:p>
          </p:txBody>
        </p:sp>
      </p:grpSp>
    </p:spTree>
  </p:cSld>
  <p:clrMapOvr>
    <a:masterClrMapping/>
  </p:clrMapOvr>
  <p:transition xmlns:p14="http://schemas.microsoft.com/office/powerpoint/2010/main" spd="med"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x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5761038" cy="1282534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vert="horz" lIns="68681" tIns="34340" rIns="68681" bIns="34340" rtlCol="0" anchor="b">
            <a:noAutofit/>
          </a:bodyPr>
          <a:lstStyle>
            <a:lvl1pPr marL="270510" indent="0" algn="l">
              <a:tabLst>
                <a:tab pos="269875" algn="l"/>
              </a:tabLst>
              <a:defRPr kumimoji="0" lang="en-US" sz="378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416300" y="6006258"/>
            <a:ext cx="2689475" cy="34454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6D6890-32F5-4AC7-96AB-D35B68471874}" type="slidenum">
              <a:rPr lang="en-US">
                <a:solidFill>
                  <a:srgbClr val="000000">
                    <a:tint val="75000"/>
                  </a:srgbClr>
                </a:solidFill>
              </a:rPr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8130" name="Rectangle 2"/>
          <p:cNvSpPr>
            <a:spLocks noChangeArrowheads="1"/>
          </p:cNvSpPr>
          <p:nvPr userDrawn="1"/>
        </p:nvSpPr>
        <p:spPr bwMode="auto">
          <a:xfrm>
            <a:off x="0" y="-15682"/>
            <a:ext cx="174815" cy="436379"/>
          </a:xfrm>
          <a:prstGeom prst="rect">
            <a:avLst/>
          </a:prstGeom>
          <a:noFill/>
          <a:ln w="9525">
            <a:noFill/>
            <a:miter lim="800000"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vert="horz" wrap="none" lIns="86530" tIns="43264" rIns="86530" bIns="43264" numCol="1" anchor="ctr" anchorCtr="0" compatLnSpc="1">
            <a:spAutoFit/>
          </a:bodyPr>
          <a:lstStyle/>
          <a:p>
            <a:pPr defTabSz="1151890"/>
            <a:endParaRPr lang="nl-NL" sz="2270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 xmlns:p14="http://schemas.microsoft.com/office/powerpoint/2010/main"/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ub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408075" y="975181"/>
            <a:ext cx="10713315" cy="373511"/>
          </a:xfrm>
          <a:noFill/>
          <a:ln w="9525">
            <a:noFill/>
            <a:miter lim="800000"/>
          </a:ln>
        </p:spPr>
        <p:txBody>
          <a:bodyPr rtlCol="0">
            <a:noAutofit/>
          </a:bodyPr>
          <a:lstStyle>
            <a:lvl1pPr marL="0" indent="0" algn="ctr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lang="en-GB" sz="1765" kern="1200" baseline="0" dirty="0">
                <a:solidFill>
                  <a:schemeClr val="accent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>
          <a:xfrm>
            <a:off x="8052193" y="6153828"/>
            <a:ext cx="3366596" cy="190493"/>
          </a:xfrm>
          <a:prstGeom prst="rect">
            <a:avLst/>
          </a:prstGeom>
        </p:spPr>
        <p:txBody>
          <a:bodyPr lIns="77916" tIns="38958" rIns="77916" bIns="38958"/>
          <a:lstStyle/>
          <a:p>
            <a:pPr defTabSz="1151890">
              <a:defRPr/>
            </a:pPr>
            <a:r>
              <a:rPr lang="de-DE" sz="2270">
                <a:solidFill>
                  <a:srgbClr val="000000"/>
                </a:solidFill>
              </a:rPr>
              <a:t>Copyright © 2012 Capgemini Consulting. All rights reserved.</a:t>
            </a:r>
            <a:endParaRPr lang="en-US" sz="2270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000000">
                    <a:tint val="75000"/>
                  </a:srgbClr>
                </a:solidFill>
              </a:rPr>
              <a:t>‹#›</a:t>
            </a:fld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>
          <a:xfrm>
            <a:off x="4085882" y="6153827"/>
            <a:ext cx="3366596" cy="190493"/>
          </a:xfrm>
          <a:prstGeom prst="rect">
            <a:avLst/>
          </a:prstGeom>
        </p:spPr>
        <p:txBody>
          <a:bodyPr lIns="77916" tIns="38958" rIns="77916" bIns="38958"/>
          <a:lstStyle/>
          <a:p>
            <a:pPr defTabSz="1151890">
              <a:defRPr/>
            </a:pPr>
            <a:r>
              <a:rPr lang="de-DE" sz="2270">
                <a:solidFill>
                  <a:srgbClr val="000000"/>
                </a:solidFill>
              </a:rPr>
              <a:t>AGILE@NUON_V09.PPTX</a:t>
            </a:r>
            <a:endParaRPr lang="de-DE" sz="2270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 xmlns:p14="http://schemas.microsoft.com/office/powerpoint/2010/main" spd="med">
    <p:fade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" y="9"/>
          <a:ext cx="171053" cy="13605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6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图片 2256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" y="9"/>
                        <a:ext cx="171053" cy="13605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54526" y="6"/>
            <a:ext cx="10813024" cy="427727"/>
          </a:xfrm>
        </p:spPr>
        <p:txBody>
          <a:bodyPr/>
          <a:lstStyle>
            <a:lvl1pPr>
              <a:defRPr sz="1765" b="1">
                <a:latin typeface="Calibri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54527" y="427730"/>
            <a:ext cx="10813024" cy="362885"/>
          </a:xfrm>
        </p:spPr>
        <p:txBody>
          <a:bodyPr/>
          <a:lstStyle>
            <a:lvl1pPr marL="0" indent="0">
              <a:buNone/>
              <a:defRPr sz="1510" b="0">
                <a:solidFill>
                  <a:schemeClr val="accent2"/>
                </a:solidFill>
                <a:latin typeface="Calibri" pitchFamily="34" charset="0"/>
              </a:defRPr>
            </a:lvl1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16059" y="1426041"/>
            <a:ext cx="10797945" cy="4354240"/>
          </a:xfrm>
        </p:spPr>
        <p:txBody>
          <a:bodyPr/>
          <a:lstStyle>
            <a:lvl1pPr marL="0" indent="0">
              <a:buNone/>
              <a:defRPr sz="1260">
                <a:latin typeface="Calibri" pitchFamily="34" charset="0"/>
              </a:defRPr>
            </a:lvl1pPr>
            <a:lvl2pPr marL="227965" indent="-227965">
              <a:spcBef>
                <a:spcPts val="755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135">
                <a:latin typeface="Calibri" pitchFamily="34" charset="0"/>
              </a:defRPr>
            </a:lvl2pPr>
            <a:lvl3pPr marL="454025" indent="-226060">
              <a:spcBef>
                <a:spcPts val="755"/>
              </a:spcBef>
              <a:buClr>
                <a:schemeClr val="accent2"/>
              </a:buClr>
              <a:buSzPct val="110000"/>
              <a:buFont typeface="Arial" panose="020B0604020202090204" pitchFamily="34" charset="0"/>
              <a:buChar char="•"/>
              <a:defRPr sz="1135">
                <a:latin typeface="Calibri" pitchFamily="34" charset="0"/>
              </a:defRPr>
            </a:lvl3pPr>
            <a:lvl4pPr marL="681990" indent="-227965">
              <a:spcBef>
                <a:spcPts val="755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135">
                <a:latin typeface="Calibri" pitchFamily="34" charset="0"/>
              </a:defRPr>
            </a:lvl4pPr>
            <a:lvl5pPr>
              <a:defRPr sz="1135">
                <a:latin typeface="Calibri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</p:cSld>
  <p:clrMapOvr>
    <a:masterClrMapping/>
  </p:clrMapOvr>
  <p:transition xmlns:p14="http://schemas.microsoft.com/office/powerpoint/2010/main" spd="med">
    <p:fade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x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"/>
          <a:ext cx="184648" cy="1500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60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图片 2358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184648" cy="15000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54526" y="-26413"/>
            <a:ext cx="10813024" cy="427727"/>
          </a:xfrm>
        </p:spPr>
        <p:txBody>
          <a:bodyPr/>
          <a:lstStyle>
            <a:lvl1pPr>
              <a:lnSpc>
                <a:spcPct val="100000"/>
              </a:lnSpc>
              <a:defRPr sz="1765" b="1">
                <a:latin typeface="Calibri" pitchFamily="34" charset="0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4" name="Espace réservé du texte 7"/>
          <p:cNvSpPr>
            <a:spLocks noGrp="1"/>
          </p:cNvSpPr>
          <p:nvPr>
            <p:ph type="body" sz="quarter" idx="12" hasCustomPrompt="1"/>
            <p:custDataLst>
              <p:tags r:id="rId4"/>
            </p:custDataLst>
          </p:nvPr>
        </p:nvSpPr>
        <p:spPr>
          <a:xfrm>
            <a:off x="354527" y="427730"/>
            <a:ext cx="10813024" cy="362885"/>
          </a:xfrm>
        </p:spPr>
        <p:txBody>
          <a:bodyPr/>
          <a:lstStyle>
            <a:lvl1pPr marL="0" indent="0">
              <a:buNone/>
              <a:defRPr sz="1510" b="0">
                <a:solidFill>
                  <a:schemeClr val="accent2"/>
                </a:solidFill>
                <a:latin typeface="Calibri" pitchFamily="34" charset="0"/>
              </a:defRPr>
            </a:lvl1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</p:spTree>
  </p:cSld>
  <p:clrMapOvr>
    <a:masterClrMapping/>
  </p:clrMapOvr>
  <p:transition xmlns:p14="http://schemas.microsoft.com/office/powerpoint/2010/main" spd="med">
    <p:fade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Just Title Sub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408073" y="975181"/>
            <a:ext cx="10797069" cy="373511"/>
          </a:xfrm>
          <a:noFill/>
          <a:ln w="9525">
            <a:noFill/>
            <a:miter lim="800000"/>
          </a:ln>
        </p:spPr>
        <p:txBody>
          <a:bodyPr rtlCol="0">
            <a:noAutofit/>
          </a:bodyPr>
          <a:lstStyle>
            <a:lvl1pPr marL="0" indent="0" algn="ctr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lang="en-GB" sz="1765" kern="1200" baseline="0" dirty="0">
                <a:solidFill>
                  <a:schemeClr val="accent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3"/>
          </p:nvPr>
        </p:nvSpPr>
        <p:spPr>
          <a:xfrm>
            <a:off x="8833591" y="6343673"/>
            <a:ext cx="2688484" cy="14100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C88543-C925-40B9-B26E-E942602C2AE1}" type="slidenum">
              <a:rPr lang="en-GB">
                <a:solidFill>
                  <a:srgbClr val="000000">
                    <a:tint val="75000"/>
                  </a:srgbClr>
                </a:solidFill>
              </a:rPr>
              <a:t>‹#›</a:t>
            </a:fld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</p:cSld>
  <p:clrMapOvr>
    <a:masterClrMapping/>
  </p:clrMapOvr>
  <p:transition xmlns:p14="http://schemas.microsoft.com/office/powerpoint/2010/main" spd="med">
    <p:fade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/>
          <p:cNvSpPr>
            <a:spLocks noGrp="1"/>
          </p:cNvSpPr>
          <p:nvPr>
            <p:ph type="dt" sz="half" idx="10"/>
          </p:nvPr>
        </p:nvSpPr>
        <p:spPr>
          <a:xfrm>
            <a:off x="576104" y="6006163"/>
            <a:ext cx="2688484" cy="345010"/>
          </a:xfrm>
          <a:prstGeom prst="rect">
            <a:avLst/>
          </a:prstGeom>
        </p:spPr>
        <p:txBody>
          <a:bodyPr/>
          <a:lstStyle/>
          <a:p>
            <a:pPr defTabSz="1151890"/>
            <a:fld id="{F1419FD7-6093-4EC0-9E27-D5FFBF1C6BBC}" type="datetimeFigureOut">
              <a:rPr lang="en-GB" sz="2270" smtClean="0">
                <a:solidFill>
                  <a:prstClr val="black">
                    <a:tint val="75000"/>
                  </a:prstClr>
                </a:solidFill>
              </a:rPr>
              <a:t>19/11/22</a:t>
            </a:fld>
            <a:endParaRPr lang="en-GB" sz="227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11"/>
          </p:nvPr>
        </p:nvSpPr>
        <p:spPr>
          <a:xfrm>
            <a:off x="3936709" y="6006163"/>
            <a:ext cx="3648657" cy="345010"/>
          </a:xfrm>
          <a:prstGeom prst="rect">
            <a:avLst/>
          </a:prstGeom>
        </p:spPr>
        <p:txBody>
          <a:bodyPr/>
          <a:lstStyle/>
          <a:p>
            <a:pPr defTabSz="1151890"/>
            <a:endParaRPr lang="en-GB" sz="227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969-A3C1-4E9B-922D-48ADC3EDAFCD}" type="slidenum">
              <a:rPr lang="en-GB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 xmlns:p14="http://schemas.microsoft.com/office/powerpoint/2010/main" spd="med">
    <p:fade/>
  </p:transition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833591" y="6343674"/>
            <a:ext cx="2688484" cy="14100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6B9E6EF1-C386-48E8-8DB3-8A466EBA5EEF}" type="slidenum">
              <a:rPr lang="en-GB">
                <a:solidFill>
                  <a:srgbClr val="000000">
                    <a:tint val="75000"/>
                  </a:srgbClr>
                </a:solidFill>
              </a:rPr>
              <a:t>‹#›</a:t>
            </a:fld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5267507" y="6078931"/>
            <a:ext cx="1002641" cy="351009"/>
          </a:xfrm>
        </p:spPr>
        <p:txBody>
          <a:bodyPr/>
          <a:lstStyle>
            <a:lvl1pPr marL="0" indent="0" algn="ctr">
              <a:buNone/>
              <a:defRPr sz="880"/>
            </a:lvl1pPr>
          </a:lstStyle>
          <a:p>
            <a:pPr lvl="0"/>
            <a:r>
              <a:rPr lang="en-GB"/>
              <a:t>Insert client logo here</a:t>
            </a:r>
            <a:endParaRPr lang="en-GB" dirty="0"/>
          </a:p>
        </p:txBody>
      </p:sp>
    </p:spTree>
  </p:cSld>
  <p:clrMapOvr>
    <a:masterClrMapping/>
  </p:clrMapOvr>
  <p:transition xmlns:p14="http://schemas.microsoft.com/office/powerpoint/2010/main" spd="med">
    <p:fade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kicker page no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27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08074" y="1306084"/>
            <a:ext cx="10475030" cy="371905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4"/>
          </p:nvPr>
        </p:nvSpPr>
        <p:spPr>
          <a:xfrm>
            <a:off x="8833591" y="6343676"/>
            <a:ext cx="2688484" cy="14100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D1E3DD-2B4E-4B40-BAAE-44B7B98BF3EC}" type="slidenum">
              <a:rPr lang="en-GB">
                <a:solidFill>
                  <a:srgbClr val="000000">
                    <a:tint val="75000"/>
                  </a:srgbClr>
                </a:solidFill>
              </a:rPr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</p:spTree>
  </p:cSld>
  <p:clrMapOvr>
    <a:masterClrMapping/>
  </p:clrMapOvr>
  <p:transition xmlns:p14="http://schemas.microsoft.com/office/powerpoint/2010/main" spd="med">
    <p:fade/>
  </p:transition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page with sub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408075" y="975181"/>
            <a:ext cx="10713315" cy="373511"/>
          </a:xfrm>
          <a:noFill/>
          <a:ln w="9525">
            <a:noFill/>
            <a:miter lim="800000"/>
          </a:ln>
        </p:spPr>
        <p:txBody>
          <a:bodyPr rtlCol="0">
            <a:noAutofit/>
          </a:bodyPr>
          <a:lstStyle>
            <a:lvl1pPr marL="0" indent="0" algn="ctr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lang="en-GB" sz="1765" kern="1200" baseline="0" dirty="0">
                <a:solidFill>
                  <a:schemeClr val="accent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3"/>
          </p:nvPr>
        </p:nvSpPr>
        <p:spPr>
          <a:xfrm>
            <a:off x="8052193" y="6153828"/>
            <a:ext cx="3366596" cy="190493"/>
          </a:xfrm>
          <a:prstGeom prst="rect">
            <a:avLst/>
          </a:prstGeom>
        </p:spPr>
        <p:txBody>
          <a:bodyPr lIns="91410" tIns="45703" rIns="91410" bIns="45703"/>
          <a:lstStyle>
            <a:lvl1pPr defTabSz="1151255">
              <a:defRPr/>
            </a:lvl1pPr>
          </a:lstStyle>
          <a:p>
            <a:pPr>
              <a:defRPr/>
            </a:pPr>
            <a:r>
              <a:rPr lang="de-DE" sz="2270" dirty="0">
                <a:solidFill>
                  <a:srgbClr val="000000"/>
                </a:solidFill>
              </a:rPr>
              <a:t>Copyright © 2012 Capgemini Consulting. All </a:t>
            </a:r>
            <a:r>
              <a:rPr lang="de-DE" sz="2270" dirty="0" err="1">
                <a:solidFill>
                  <a:srgbClr val="000000"/>
                </a:solidFill>
              </a:rPr>
              <a:t>rights</a:t>
            </a:r>
            <a:r>
              <a:rPr lang="de-DE" sz="2270" dirty="0">
                <a:solidFill>
                  <a:srgbClr val="000000"/>
                </a:solidFill>
              </a:rPr>
              <a:t> </a:t>
            </a:r>
            <a:r>
              <a:rPr lang="de-DE" sz="2270" dirty="0" err="1">
                <a:solidFill>
                  <a:srgbClr val="000000"/>
                </a:solidFill>
              </a:rPr>
              <a:t>reserved</a:t>
            </a:r>
            <a:r>
              <a:rPr lang="de-DE" sz="2270" dirty="0">
                <a:solidFill>
                  <a:srgbClr val="000000"/>
                </a:solidFill>
              </a:rPr>
              <a:t>.</a:t>
            </a:r>
            <a:endParaRPr lang="en-US" sz="2270" dirty="0">
              <a:solidFill>
                <a:srgbClr val="000000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000000">
                    <a:tint val="75000"/>
                  </a:srgbClr>
                </a:solidFill>
              </a:rPr>
              <a:t>‹#›</a:t>
            </a:fld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5"/>
          </p:nvPr>
        </p:nvSpPr>
        <p:spPr>
          <a:xfrm>
            <a:off x="4085882" y="6153827"/>
            <a:ext cx="3366596" cy="190493"/>
          </a:xfrm>
          <a:prstGeom prst="rect">
            <a:avLst/>
          </a:prstGeom>
        </p:spPr>
        <p:txBody>
          <a:bodyPr lIns="91410" tIns="45703" rIns="91410" bIns="45703"/>
          <a:lstStyle>
            <a:lvl1pPr defTabSz="1151255">
              <a:defRPr/>
            </a:lvl1pPr>
          </a:lstStyle>
          <a:p>
            <a:pPr>
              <a:defRPr/>
            </a:pPr>
            <a:r>
              <a:rPr lang="de-DE" sz="2270" dirty="0">
                <a:solidFill>
                  <a:srgbClr val="000000"/>
                </a:solidFill>
              </a:rPr>
              <a:t>AGILE@NUON2_V093_JVH.PPTX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408077" y="1694198"/>
            <a:ext cx="10713316" cy="44034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</p:cSld>
  <p:clrMapOvr>
    <a:masterClrMapping/>
  </p:clrMapOvr>
  <p:transition xmlns:p14="http://schemas.microsoft.com/office/powerpoint/2010/main"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2" y="0"/>
            <a:ext cx="11522072" cy="5483487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5875" cap="flat">
            <a:noFill/>
            <a:prstDash val="solid"/>
            <a:miter lim="800000"/>
          </a:ln>
        </p:spPr>
        <p:txBody>
          <a:bodyPr vert="horz" wrap="square" lIns="86136" tIns="43068" rIns="86136" bIns="43068" numCol="1" anchor="t" anchorCtr="0" compatLnSpc="1"/>
          <a:lstStyle/>
          <a:p>
            <a:pPr defTabSz="860425"/>
            <a:endParaRPr lang="de-DE" sz="1765" dirty="0">
              <a:solidFill>
                <a:prstClr val="black"/>
              </a:solidFill>
            </a:endParaRPr>
          </a:p>
        </p:txBody>
      </p:sp>
      <p:sp>
        <p:nvSpPr>
          <p:cNvPr id="9" name="Rechteck 8"/>
          <p:cNvSpPr/>
          <p:nvPr userDrawn="1"/>
        </p:nvSpPr>
        <p:spPr bwMode="auto">
          <a:xfrm flipV="1">
            <a:off x="2" y="5483487"/>
            <a:ext cx="11522072" cy="996688"/>
          </a:xfrm>
          <a:prstGeom prst="rect">
            <a:avLst/>
          </a:prstGeom>
          <a:solidFill>
            <a:srgbClr val="EAEAEA"/>
          </a:solidFill>
          <a:ln w="15875" cap="flat">
            <a:noFill/>
            <a:prstDash val="solid"/>
            <a:miter lim="800000"/>
          </a:ln>
        </p:spPr>
        <p:txBody>
          <a:bodyPr vert="horz" wrap="square" lIns="86136" tIns="43068" rIns="86136" bIns="43068" numCol="1" anchor="t" anchorCtr="0" compatLnSpc="1"/>
          <a:lstStyle/>
          <a:p>
            <a:pPr defTabSz="860425"/>
            <a:endParaRPr lang="de-DE" sz="1765" dirty="0">
              <a:solidFill>
                <a:prstClr val="black"/>
              </a:solidFill>
            </a:endParaRPr>
          </a:p>
        </p:txBody>
      </p:sp>
      <p:sp>
        <p:nvSpPr>
          <p:cNvPr id="6" name="Textfeld 5"/>
          <p:cNvSpPr txBox="1"/>
          <p:nvPr userDrawn="1"/>
        </p:nvSpPr>
        <p:spPr>
          <a:xfrm>
            <a:off x="-98734" y="-2011937"/>
            <a:ext cx="174035" cy="358468"/>
          </a:xfrm>
          <a:prstGeom prst="rect">
            <a:avLst/>
          </a:prstGeom>
          <a:noFill/>
        </p:spPr>
        <p:txBody>
          <a:bodyPr wrap="none" lIns="86144" tIns="43071" rIns="86144" bIns="43071" rtlCol="0">
            <a:spAutoFit/>
          </a:bodyPr>
          <a:lstStyle/>
          <a:p>
            <a:pPr defTabSz="860425"/>
            <a:endParaRPr lang="en-US" sz="1765" dirty="0">
              <a:solidFill>
                <a:prstClr val="black"/>
              </a:solidFill>
            </a:endParaRP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987118" y="42"/>
            <a:ext cx="9547841" cy="3535316"/>
          </a:xfrm>
        </p:spPr>
        <p:txBody>
          <a:bodyPr anchor="b" anchorCtr="0">
            <a:noAutofit/>
          </a:bodyPr>
          <a:lstStyle>
            <a:lvl1pPr algn="l">
              <a:lnSpc>
                <a:spcPct val="80000"/>
              </a:lnSpc>
              <a:defRPr sz="8315" b="0" cap="all">
                <a:solidFill>
                  <a:schemeClr val="bg1"/>
                </a:solidFill>
                <a:latin typeface="Bebas Neue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987118" y="3535360"/>
            <a:ext cx="9547841" cy="1948171"/>
          </a:xfrm>
        </p:spPr>
        <p:txBody>
          <a:bodyPr anchor="t" anchorCtr="0"/>
          <a:lstStyle>
            <a:lvl1pPr marL="0" indent="0">
              <a:lnSpc>
                <a:spcPct val="80000"/>
              </a:lnSpc>
              <a:buNone/>
              <a:defRPr sz="4160">
                <a:solidFill>
                  <a:srgbClr val="B2B2B2"/>
                </a:solidFill>
              </a:defRPr>
            </a:lvl1pPr>
            <a:lvl2pPr marL="430530" indent="0">
              <a:buNone/>
              <a:defRPr sz="1765">
                <a:solidFill>
                  <a:schemeClr val="tx1">
                    <a:tint val="75000"/>
                  </a:schemeClr>
                </a:solidFill>
              </a:defRPr>
            </a:lvl2pPr>
            <a:lvl3pPr marL="861060" indent="0">
              <a:buNone/>
              <a:defRPr sz="1510">
                <a:solidFill>
                  <a:schemeClr val="tx1">
                    <a:tint val="75000"/>
                  </a:schemeClr>
                </a:solidFill>
              </a:defRPr>
            </a:lvl3pPr>
            <a:lvl4pPr marL="129159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4pPr>
            <a:lvl5pPr marL="172212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5pPr>
            <a:lvl6pPr marL="215265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6pPr>
            <a:lvl7pPr marL="258318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7pPr>
            <a:lvl8pPr marL="301371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8pPr>
            <a:lvl9pPr marL="344424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682564" y="5813601"/>
            <a:ext cx="6454429" cy="34016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487949" y="5813601"/>
            <a:ext cx="864181" cy="340167"/>
          </a:xfrm>
        </p:spPr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10" descr="Leadership.jpg"/>
          <p:cNvPicPr>
            <a:picLocks noChangeAspect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592516"/>
            <a:ext cx="11522075" cy="57601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"/>
          <p:cNvPicPr>
            <a:picLocks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0265849" y="130504"/>
            <a:ext cx="914165" cy="673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Freeform 12"/>
          <p:cNvSpPr/>
          <p:nvPr userDrawn="1">
            <p:custDataLst>
              <p:tags r:id="rId1"/>
            </p:custDataLst>
          </p:nvPr>
        </p:nvSpPr>
        <p:spPr bwMode="auto">
          <a:xfrm>
            <a:off x="0" y="544516"/>
            <a:ext cx="11532077" cy="711019"/>
          </a:xfrm>
          <a:custGeom>
            <a:avLst/>
            <a:gdLst>
              <a:gd name="connsiteX0" fmla="*/ 9509 w 10000"/>
              <a:gd name="connsiteY0" fmla="*/ 4537 h 10000"/>
              <a:gd name="connsiteX1" fmla="*/ 972 w 10000"/>
              <a:gd name="connsiteY1" fmla="*/ 4537 h 10000"/>
              <a:gd name="connsiteX2" fmla="*/ 484 w 10000"/>
              <a:gd name="connsiteY2" fmla="*/ 9122 h 10000"/>
              <a:gd name="connsiteX3" fmla="*/ 0 w 10000"/>
              <a:gd name="connsiteY3" fmla="*/ 4537 h 10000"/>
              <a:gd name="connsiteX4" fmla="*/ 0 w 10000"/>
              <a:gd name="connsiteY4" fmla="*/ 5463 h 10000"/>
              <a:gd name="connsiteX5" fmla="*/ 484 w 10000"/>
              <a:gd name="connsiteY5" fmla="*/ 10000 h 10000"/>
              <a:gd name="connsiteX6" fmla="*/ 972 w 10000"/>
              <a:gd name="connsiteY6" fmla="*/ 5463 h 10000"/>
              <a:gd name="connsiteX7" fmla="*/ 8912 w 10000"/>
              <a:gd name="connsiteY7" fmla="*/ 5514 h 10000"/>
              <a:gd name="connsiteX8" fmla="*/ 10000 w 10000"/>
              <a:gd name="connsiteY8" fmla="*/ 927 h 10000"/>
              <a:gd name="connsiteX9" fmla="*/ 10000 w 10000"/>
              <a:gd name="connsiteY9" fmla="*/ 0 h 10000"/>
              <a:gd name="connsiteX10" fmla="*/ 9509 w 10000"/>
              <a:gd name="connsiteY10" fmla="*/ 4537 h 10000"/>
              <a:gd name="connsiteX0-1" fmla="*/ 8912 w 10000"/>
              <a:gd name="connsiteY0-2" fmla="*/ 4577 h 10000"/>
              <a:gd name="connsiteX1-3" fmla="*/ 972 w 10000"/>
              <a:gd name="connsiteY1-4" fmla="*/ 4537 h 10000"/>
              <a:gd name="connsiteX2-5" fmla="*/ 484 w 10000"/>
              <a:gd name="connsiteY2-6" fmla="*/ 9122 h 10000"/>
              <a:gd name="connsiteX3-7" fmla="*/ 0 w 10000"/>
              <a:gd name="connsiteY3-8" fmla="*/ 4537 h 10000"/>
              <a:gd name="connsiteX4-9" fmla="*/ 0 w 10000"/>
              <a:gd name="connsiteY4-10" fmla="*/ 5463 h 10000"/>
              <a:gd name="connsiteX5-11" fmla="*/ 484 w 10000"/>
              <a:gd name="connsiteY5-12" fmla="*/ 10000 h 10000"/>
              <a:gd name="connsiteX6-13" fmla="*/ 972 w 10000"/>
              <a:gd name="connsiteY6-14" fmla="*/ 5463 h 10000"/>
              <a:gd name="connsiteX7-15" fmla="*/ 8912 w 10000"/>
              <a:gd name="connsiteY7-16" fmla="*/ 5514 h 10000"/>
              <a:gd name="connsiteX8-17" fmla="*/ 10000 w 10000"/>
              <a:gd name="connsiteY8-18" fmla="*/ 927 h 10000"/>
              <a:gd name="connsiteX9-19" fmla="*/ 10000 w 10000"/>
              <a:gd name="connsiteY9-20" fmla="*/ 0 h 10000"/>
              <a:gd name="connsiteX10-21" fmla="*/ 8912 w 10000"/>
              <a:gd name="connsiteY10-22" fmla="*/ 4577 h 10000"/>
              <a:gd name="connsiteX0-23" fmla="*/ 8912 w 10000"/>
              <a:gd name="connsiteY0-24" fmla="*/ 4383 h 9806"/>
              <a:gd name="connsiteX1-25" fmla="*/ 972 w 10000"/>
              <a:gd name="connsiteY1-26" fmla="*/ 4343 h 9806"/>
              <a:gd name="connsiteX2-27" fmla="*/ 484 w 10000"/>
              <a:gd name="connsiteY2-28" fmla="*/ 8928 h 9806"/>
              <a:gd name="connsiteX3-29" fmla="*/ 0 w 10000"/>
              <a:gd name="connsiteY3-30" fmla="*/ 4343 h 9806"/>
              <a:gd name="connsiteX4-31" fmla="*/ 0 w 10000"/>
              <a:gd name="connsiteY4-32" fmla="*/ 5269 h 9806"/>
              <a:gd name="connsiteX5-33" fmla="*/ 484 w 10000"/>
              <a:gd name="connsiteY5-34" fmla="*/ 9806 h 9806"/>
              <a:gd name="connsiteX6-35" fmla="*/ 972 w 10000"/>
              <a:gd name="connsiteY6-36" fmla="*/ 5269 h 9806"/>
              <a:gd name="connsiteX7-37" fmla="*/ 8912 w 10000"/>
              <a:gd name="connsiteY7-38" fmla="*/ 5320 h 9806"/>
              <a:gd name="connsiteX8-39" fmla="*/ 10000 w 10000"/>
              <a:gd name="connsiteY8-40" fmla="*/ 733 h 9806"/>
              <a:gd name="connsiteX9-41" fmla="*/ 9231 w 10000"/>
              <a:gd name="connsiteY9-42" fmla="*/ 0 h 9806"/>
              <a:gd name="connsiteX10-43" fmla="*/ 8912 w 10000"/>
              <a:gd name="connsiteY10-44" fmla="*/ 4383 h 9806"/>
              <a:gd name="connsiteX0-45" fmla="*/ 8912 w 9297"/>
              <a:gd name="connsiteY0-46" fmla="*/ 4470 h 10000"/>
              <a:gd name="connsiteX1-47" fmla="*/ 972 w 9297"/>
              <a:gd name="connsiteY1-48" fmla="*/ 4429 h 10000"/>
              <a:gd name="connsiteX2-49" fmla="*/ 484 w 9297"/>
              <a:gd name="connsiteY2-50" fmla="*/ 9105 h 10000"/>
              <a:gd name="connsiteX3-51" fmla="*/ 0 w 9297"/>
              <a:gd name="connsiteY3-52" fmla="*/ 4429 h 10000"/>
              <a:gd name="connsiteX4-53" fmla="*/ 0 w 9297"/>
              <a:gd name="connsiteY4-54" fmla="*/ 5373 h 10000"/>
              <a:gd name="connsiteX5-55" fmla="*/ 484 w 9297"/>
              <a:gd name="connsiteY5-56" fmla="*/ 10000 h 10000"/>
              <a:gd name="connsiteX6-57" fmla="*/ 972 w 9297"/>
              <a:gd name="connsiteY6-58" fmla="*/ 5373 h 10000"/>
              <a:gd name="connsiteX7-59" fmla="*/ 8912 w 9297"/>
              <a:gd name="connsiteY7-60" fmla="*/ 5425 h 10000"/>
              <a:gd name="connsiteX8-61" fmla="*/ 9231 w 9297"/>
              <a:gd name="connsiteY8-62" fmla="*/ 1642 h 10000"/>
              <a:gd name="connsiteX9-63" fmla="*/ 9231 w 9297"/>
              <a:gd name="connsiteY9-64" fmla="*/ 0 h 10000"/>
              <a:gd name="connsiteX10-65" fmla="*/ 8912 w 9297"/>
              <a:gd name="connsiteY10-66" fmla="*/ 4470 h 10000"/>
              <a:gd name="connsiteX0-67" fmla="*/ 9586 w 10000"/>
              <a:gd name="connsiteY0-68" fmla="*/ 4470 h 10000"/>
              <a:gd name="connsiteX1-69" fmla="*/ 1045 w 10000"/>
              <a:gd name="connsiteY1-70" fmla="*/ 4429 h 10000"/>
              <a:gd name="connsiteX2-71" fmla="*/ 521 w 10000"/>
              <a:gd name="connsiteY2-72" fmla="*/ 9105 h 10000"/>
              <a:gd name="connsiteX3-73" fmla="*/ 0 w 10000"/>
              <a:gd name="connsiteY3-74" fmla="*/ 4429 h 10000"/>
              <a:gd name="connsiteX4-75" fmla="*/ 0 w 10000"/>
              <a:gd name="connsiteY4-76" fmla="*/ 5373 h 10000"/>
              <a:gd name="connsiteX5-77" fmla="*/ 521 w 10000"/>
              <a:gd name="connsiteY5-78" fmla="*/ 10000 h 10000"/>
              <a:gd name="connsiteX6-79" fmla="*/ 1045 w 10000"/>
              <a:gd name="connsiteY6-80" fmla="*/ 5373 h 10000"/>
              <a:gd name="connsiteX7-81" fmla="*/ 9281 w 10000"/>
              <a:gd name="connsiteY7-82" fmla="*/ 5426 h 10000"/>
              <a:gd name="connsiteX8-83" fmla="*/ 9929 w 10000"/>
              <a:gd name="connsiteY8-84" fmla="*/ 1642 h 10000"/>
              <a:gd name="connsiteX9-85" fmla="*/ 9929 w 10000"/>
              <a:gd name="connsiteY9-86" fmla="*/ 0 h 10000"/>
              <a:gd name="connsiteX10-87" fmla="*/ 9586 w 10000"/>
              <a:gd name="connsiteY10-88" fmla="*/ 4470 h 10000"/>
              <a:gd name="connsiteX0-89" fmla="*/ 9586 w 10000"/>
              <a:gd name="connsiteY0-90" fmla="*/ 4470 h 10000"/>
              <a:gd name="connsiteX1-91" fmla="*/ 1045 w 10000"/>
              <a:gd name="connsiteY1-92" fmla="*/ 4429 h 10000"/>
              <a:gd name="connsiteX2-93" fmla="*/ 521 w 10000"/>
              <a:gd name="connsiteY2-94" fmla="*/ 9105 h 10000"/>
              <a:gd name="connsiteX3-95" fmla="*/ 0 w 10000"/>
              <a:gd name="connsiteY3-96" fmla="*/ 4429 h 10000"/>
              <a:gd name="connsiteX4-97" fmla="*/ 0 w 10000"/>
              <a:gd name="connsiteY4-98" fmla="*/ 5373 h 10000"/>
              <a:gd name="connsiteX5-99" fmla="*/ 521 w 10000"/>
              <a:gd name="connsiteY5-100" fmla="*/ 10000 h 10000"/>
              <a:gd name="connsiteX6-101" fmla="*/ 1045 w 10000"/>
              <a:gd name="connsiteY6-102" fmla="*/ 5373 h 10000"/>
              <a:gd name="connsiteX7-103" fmla="*/ 9281 w 10000"/>
              <a:gd name="connsiteY7-104" fmla="*/ 5426 h 10000"/>
              <a:gd name="connsiteX8-105" fmla="*/ 9929 w 10000"/>
              <a:gd name="connsiteY8-106" fmla="*/ 1642 h 10000"/>
              <a:gd name="connsiteX9-107" fmla="*/ 9929 w 10000"/>
              <a:gd name="connsiteY9-108" fmla="*/ 0 h 10000"/>
              <a:gd name="connsiteX10-109" fmla="*/ 9586 w 10000"/>
              <a:gd name="connsiteY10-110" fmla="*/ 4470 h 10000"/>
              <a:gd name="connsiteX0-111" fmla="*/ 9586 w 10000"/>
              <a:gd name="connsiteY0-112" fmla="*/ 4470 h 10000"/>
              <a:gd name="connsiteX1-113" fmla="*/ 1045 w 10000"/>
              <a:gd name="connsiteY1-114" fmla="*/ 4429 h 10000"/>
              <a:gd name="connsiteX2-115" fmla="*/ 521 w 10000"/>
              <a:gd name="connsiteY2-116" fmla="*/ 9105 h 10000"/>
              <a:gd name="connsiteX3-117" fmla="*/ 0 w 10000"/>
              <a:gd name="connsiteY3-118" fmla="*/ 4429 h 10000"/>
              <a:gd name="connsiteX4-119" fmla="*/ 0 w 10000"/>
              <a:gd name="connsiteY4-120" fmla="*/ 5373 h 10000"/>
              <a:gd name="connsiteX5-121" fmla="*/ 521 w 10000"/>
              <a:gd name="connsiteY5-122" fmla="*/ 10000 h 10000"/>
              <a:gd name="connsiteX6-123" fmla="*/ 1045 w 10000"/>
              <a:gd name="connsiteY6-124" fmla="*/ 5373 h 10000"/>
              <a:gd name="connsiteX7-125" fmla="*/ 9281 w 10000"/>
              <a:gd name="connsiteY7-126" fmla="*/ 5426 h 10000"/>
              <a:gd name="connsiteX8-127" fmla="*/ 9929 w 10000"/>
              <a:gd name="connsiteY8-128" fmla="*/ 1642 h 10000"/>
              <a:gd name="connsiteX9-129" fmla="*/ 9929 w 10000"/>
              <a:gd name="connsiteY9-130" fmla="*/ 0 h 10000"/>
              <a:gd name="connsiteX10-131" fmla="*/ 9586 w 10000"/>
              <a:gd name="connsiteY10-132" fmla="*/ 4470 h 10000"/>
              <a:gd name="connsiteX0-133" fmla="*/ 9281 w 9929"/>
              <a:gd name="connsiteY0-134" fmla="*/ 4558 h 10000"/>
              <a:gd name="connsiteX1-135" fmla="*/ 1045 w 9929"/>
              <a:gd name="connsiteY1-136" fmla="*/ 4429 h 10000"/>
              <a:gd name="connsiteX2-137" fmla="*/ 521 w 9929"/>
              <a:gd name="connsiteY2-138" fmla="*/ 9105 h 10000"/>
              <a:gd name="connsiteX3-139" fmla="*/ 0 w 9929"/>
              <a:gd name="connsiteY3-140" fmla="*/ 4429 h 10000"/>
              <a:gd name="connsiteX4-141" fmla="*/ 0 w 9929"/>
              <a:gd name="connsiteY4-142" fmla="*/ 5373 h 10000"/>
              <a:gd name="connsiteX5-143" fmla="*/ 521 w 9929"/>
              <a:gd name="connsiteY5-144" fmla="*/ 10000 h 10000"/>
              <a:gd name="connsiteX6-145" fmla="*/ 1045 w 9929"/>
              <a:gd name="connsiteY6-146" fmla="*/ 5373 h 10000"/>
              <a:gd name="connsiteX7-147" fmla="*/ 9281 w 9929"/>
              <a:gd name="connsiteY7-148" fmla="*/ 5426 h 10000"/>
              <a:gd name="connsiteX8-149" fmla="*/ 9929 w 9929"/>
              <a:gd name="connsiteY8-150" fmla="*/ 1642 h 10000"/>
              <a:gd name="connsiteX9-151" fmla="*/ 9929 w 9929"/>
              <a:gd name="connsiteY9-152" fmla="*/ 0 h 10000"/>
              <a:gd name="connsiteX10-153" fmla="*/ 9281 w 9929"/>
              <a:gd name="connsiteY10-154" fmla="*/ 4558 h 10000"/>
              <a:gd name="connsiteX0-155" fmla="*/ 9347 w 10000"/>
              <a:gd name="connsiteY0-156" fmla="*/ 4558 h 10000"/>
              <a:gd name="connsiteX1-157" fmla="*/ 1052 w 10000"/>
              <a:gd name="connsiteY1-158" fmla="*/ 4429 h 10000"/>
              <a:gd name="connsiteX2-159" fmla="*/ 525 w 10000"/>
              <a:gd name="connsiteY2-160" fmla="*/ 9105 h 10000"/>
              <a:gd name="connsiteX3-161" fmla="*/ 0 w 10000"/>
              <a:gd name="connsiteY3-162" fmla="*/ 4429 h 10000"/>
              <a:gd name="connsiteX4-163" fmla="*/ 0 w 10000"/>
              <a:gd name="connsiteY4-164" fmla="*/ 5373 h 10000"/>
              <a:gd name="connsiteX5-165" fmla="*/ 525 w 10000"/>
              <a:gd name="connsiteY5-166" fmla="*/ 10000 h 10000"/>
              <a:gd name="connsiteX6-167" fmla="*/ 1052 w 10000"/>
              <a:gd name="connsiteY6-168" fmla="*/ 5373 h 10000"/>
              <a:gd name="connsiteX7-169" fmla="*/ 9347 w 10000"/>
              <a:gd name="connsiteY7-170" fmla="*/ 5426 h 10000"/>
              <a:gd name="connsiteX8-171" fmla="*/ 10000 w 10000"/>
              <a:gd name="connsiteY8-172" fmla="*/ 0 h 10000"/>
              <a:gd name="connsiteX9-173" fmla="*/ 10000 w 10000"/>
              <a:gd name="connsiteY9-174" fmla="*/ 0 h 10000"/>
              <a:gd name="connsiteX10-175" fmla="*/ 9347 w 10000"/>
              <a:gd name="connsiteY10-176" fmla="*/ 4558 h 10000"/>
              <a:gd name="connsiteX0-177" fmla="*/ 9475 w 10000"/>
              <a:gd name="connsiteY0-178" fmla="*/ 4447 h 10000"/>
              <a:gd name="connsiteX1-179" fmla="*/ 1052 w 10000"/>
              <a:gd name="connsiteY1-180" fmla="*/ 4429 h 10000"/>
              <a:gd name="connsiteX2-181" fmla="*/ 525 w 10000"/>
              <a:gd name="connsiteY2-182" fmla="*/ 9105 h 10000"/>
              <a:gd name="connsiteX3-183" fmla="*/ 0 w 10000"/>
              <a:gd name="connsiteY3-184" fmla="*/ 4429 h 10000"/>
              <a:gd name="connsiteX4-185" fmla="*/ 0 w 10000"/>
              <a:gd name="connsiteY4-186" fmla="*/ 5373 h 10000"/>
              <a:gd name="connsiteX5-187" fmla="*/ 525 w 10000"/>
              <a:gd name="connsiteY5-188" fmla="*/ 10000 h 10000"/>
              <a:gd name="connsiteX6-189" fmla="*/ 1052 w 10000"/>
              <a:gd name="connsiteY6-190" fmla="*/ 5373 h 10000"/>
              <a:gd name="connsiteX7-191" fmla="*/ 9347 w 10000"/>
              <a:gd name="connsiteY7-192" fmla="*/ 5426 h 10000"/>
              <a:gd name="connsiteX8-193" fmla="*/ 10000 w 10000"/>
              <a:gd name="connsiteY8-194" fmla="*/ 0 h 10000"/>
              <a:gd name="connsiteX9-195" fmla="*/ 10000 w 10000"/>
              <a:gd name="connsiteY9-196" fmla="*/ 0 h 10000"/>
              <a:gd name="connsiteX10-197" fmla="*/ 9475 w 10000"/>
              <a:gd name="connsiteY10-198" fmla="*/ 4447 h 10000"/>
              <a:gd name="connsiteX0-199" fmla="*/ 9475 w 10000"/>
              <a:gd name="connsiteY0-200" fmla="*/ 4447 h 10000"/>
              <a:gd name="connsiteX1-201" fmla="*/ 1052 w 10000"/>
              <a:gd name="connsiteY1-202" fmla="*/ 4429 h 10000"/>
              <a:gd name="connsiteX2-203" fmla="*/ 525 w 10000"/>
              <a:gd name="connsiteY2-204" fmla="*/ 9105 h 10000"/>
              <a:gd name="connsiteX3-205" fmla="*/ 0 w 10000"/>
              <a:gd name="connsiteY3-206" fmla="*/ 4429 h 10000"/>
              <a:gd name="connsiteX4-207" fmla="*/ 0 w 10000"/>
              <a:gd name="connsiteY4-208" fmla="*/ 5373 h 10000"/>
              <a:gd name="connsiteX5-209" fmla="*/ 525 w 10000"/>
              <a:gd name="connsiteY5-210" fmla="*/ 10000 h 10000"/>
              <a:gd name="connsiteX6-211" fmla="*/ 1052 w 10000"/>
              <a:gd name="connsiteY6-212" fmla="*/ 5373 h 10000"/>
              <a:gd name="connsiteX7-213" fmla="*/ 9449 w 10000"/>
              <a:gd name="connsiteY7-214" fmla="*/ 5470 h 10000"/>
              <a:gd name="connsiteX8-215" fmla="*/ 10000 w 10000"/>
              <a:gd name="connsiteY8-216" fmla="*/ 0 h 10000"/>
              <a:gd name="connsiteX9-217" fmla="*/ 10000 w 10000"/>
              <a:gd name="connsiteY9-218" fmla="*/ 0 h 10000"/>
              <a:gd name="connsiteX10-219" fmla="*/ 9475 w 10000"/>
              <a:gd name="connsiteY10-220" fmla="*/ 4447 h 10000"/>
              <a:gd name="connsiteX0-221" fmla="*/ 9475 w 10956"/>
              <a:gd name="connsiteY0-222" fmla="*/ 4447 h 10000"/>
              <a:gd name="connsiteX1-223" fmla="*/ 1052 w 10956"/>
              <a:gd name="connsiteY1-224" fmla="*/ 4429 h 10000"/>
              <a:gd name="connsiteX2-225" fmla="*/ 525 w 10956"/>
              <a:gd name="connsiteY2-226" fmla="*/ 9105 h 10000"/>
              <a:gd name="connsiteX3-227" fmla="*/ 0 w 10956"/>
              <a:gd name="connsiteY3-228" fmla="*/ 4429 h 10000"/>
              <a:gd name="connsiteX4-229" fmla="*/ 0 w 10956"/>
              <a:gd name="connsiteY4-230" fmla="*/ 5373 h 10000"/>
              <a:gd name="connsiteX5-231" fmla="*/ 525 w 10956"/>
              <a:gd name="connsiteY5-232" fmla="*/ 10000 h 10000"/>
              <a:gd name="connsiteX6-233" fmla="*/ 1052 w 10956"/>
              <a:gd name="connsiteY6-234" fmla="*/ 5373 h 10000"/>
              <a:gd name="connsiteX7-235" fmla="*/ 9449 w 10956"/>
              <a:gd name="connsiteY7-236" fmla="*/ 5470 h 10000"/>
              <a:gd name="connsiteX8-237" fmla="*/ 10000 w 10956"/>
              <a:gd name="connsiteY8-238" fmla="*/ 0 h 10000"/>
              <a:gd name="connsiteX9-239" fmla="*/ 10000 w 10956"/>
              <a:gd name="connsiteY9-240" fmla="*/ 0 h 10000"/>
              <a:gd name="connsiteX10-241" fmla="*/ 9940 w 10956"/>
              <a:gd name="connsiteY10-242" fmla="*/ 1168 h 10000"/>
              <a:gd name="connsiteX11" fmla="*/ 9475 w 10956"/>
              <a:gd name="connsiteY11" fmla="*/ 4447 h 10000"/>
              <a:gd name="connsiteX0-243" fmla="*/ 9475 w 10956"/>
              <a:gd name="connsiteY0-244" fmla="*/ 4447 h 10000"/>
              <a:gd name="connsiteX1-245" fmla="*/ 1052 w 10956"/>
              <a:gd name="connsiteY1-246" fmla="*/ 4429 h 10000"/>
              <a:gd name="connsiteX2-247" fmla="*/ 525 w 10956"/>
              <a:gd name="connsiteY2-248" fmla="*/ 9105 h 10000"/>
              <a:gd name="connsiteX3-249" fmla="*/ 0 w 10956"/>
              <a:gd name="connsiteY3-250" fmla="*/ 4429 h 10000"/>
              <a:gd name="connsiteX4-251" fmla="*/ 0 w 10956"/>
              <a:gd name="connsiteY4-252" fmla="*/ 5373 h 10000"/>
              <a:gd name="connsiteX5-253" fmla="*/ 525 w 10956"/>
              <a:gd name="connsiteY5-254" fmla="*/ 10000 h 10000"/>
              <a:gd name="connsiteX6-255" fmla="*/ 1052 w 10956"/>
              <a:gd name="connsiteY6-256" fmla="*/ 5373 h 10000"/>
              <a:gd name="connsiteX7-257" fmla="*/ 9449 w 10956"/>
              <a:gd name="connsiteY7-258" fmla="*/ 5470 h 10000"/>
              <a:gd name="connsiteX8-259" fmla="*/ 10000 w 10956"/>
              <a:gd name="connsiteY8-260" fmla="*/ 0 h 10000"/>
              <a:gd name="connsiteX9-261" fmla="*/ 10000 w 10956"/>
              <a:gd name="connsiteY9-262" fmla="*/ 0 h 10000"/>
              <a:gd name="connsiteX10-263" fmla="*/ 10104 w 10956"/>
              <a:gd name="connsiteY10-264" fmla="*/ 1401 h 10000"/>
              <a:gd name="connsiteX11-265" fmla="*/ 9475 w 10956"/>
              <a:gd name="connsiteY11-266" fmla="*/ 4447 h 10000"/>
              <a:gd name="connsiteX0-267" fmla="*/ 9475 w 10966"/>
              <a:gd name="connsiteY0-268" fmla="*/ 4447 h 10000"/>
              <a:gd name="connsiteX1-269" fmla="*/ 1052 w 10966"/>
              <a:gd name="connsiteY1-270" fmla="*/ 4429 h 10000"/>
              <a:gd name="connsiteX2-271" fmla="*/ 525 w 10966"/>
              <a:gd name="connsiteY2-272" fmla="*/ 9105 h 10000"/>
              <a:gd name="connsiteX3-273" fmla="*/ 0 w 10966"/>
              <a:gd name="connsiteY3-274" fmla="*/ 4429 h 10000"/>
              <a:gd name="connsiteX4-275" fmla="*/ 0 w 10966"/>
              <a:gd name="connsiteY4-276" fmla="*/ 5373 h 10000"/>
              <a:gd name="connsiteX5-277" fmla="*/ 525 w 10966"/>
              <a:gd name="connsiteY5-278" fmla="*/ 10000 h 10000"/>
              <a:gd name="connsiteX6-279" fmla="*/ 1052 w 10966"/>
              <a:gd name="connsiteY6-280" fmla="*/ 5373 h 10000"/>
              <a:gd name="connsiteX7-281" fmla="*/ 9449 w 10966"/>
              <a:gd name="connsiteY7-282" fmla="*/ 5470 h 10000"/>
              <a:gd name="connsiteX8-283" fmla="*/ 10000 w 10966"/>
              <a:gd name="connsiteY8-284" fmla="*/ 0 h 10000"/>
              <a:gd name="connsiteX9-285" fmla="*/ 10000 w 10966"/>
              <a:gd name="connsiteY9-286" fmla="*/ 0 h 10000"/>
              <a:gd name="connsiteX10-287" fmla="*/ 9475 w 10966"/>
              <a:gd name="connsiteY10-288" fmla="*/ 4447 h 10000"/>
              <a:gd name="connsiteX0-289" fmla="*/ 9475 w 10966"/>
              <a:gd name="connsiteY0-290" fmla="*/ 4447 h 10000"/>
              <a:gd name="connsiteX1-291" fmla="*/ 1052 w 10966"/>
              <a:gd name="connsiteY1-292" fmla="*/ 4429 h 10000"/>
              <a:gd name="connsiteX2-293" fmla="*/ 525 w 10966"/>
              <a:gd name="connsiteY2-294" fmla="*/ 9105 h 10000"/>
              <a:gd name="connsiteX3-295" fmla="*/ 0 w 10966"/>
              <a:gd name="connsiteY3-296" fmla="*/ 4429 h 10000"/>
              <a:gd name="connsiteX4-297" fmla="*/ 0 w 10966"/>
              <a:gd name="connsiteY4-298" fmla="*/ 5373 h 10000"/>
              <a:gd name="connsiteX5-299" fmla="*/ 525 w 10966"/>
              <a:gd name="connsiteY5-300" fmla="*/ 10000 h 10000"/>
              <a:gd name="connsiteX6-301" fmla="*/ 1052 w 10966"/>
              <a:gd name="connsiteY6-302" fmla="*/ 5373 h 10000"/>
              <a:gd name="connsiteX7-303" fmla="*/ 9449 w 10966"/>
              <a:gd name="connsiteY7-304" fmla="*/ 5470 h 10000"/>
              <a:gd name="connsiteX8-305" fmla="*/ 10000 w 10966"/>
              <a:gd name="connsiteY8-306" fmla="*/ 0 h 10000"/>
              <a:gd name="connsiteX9-307" fmla="*/ 10060 w 10966"/>
              <a:gd name="connsiteY9-308" fmla="*/ 1567 h 10000"/>
              <a:gd name="connsiteX10-309" fmla="*/ 9475 w 10966"/>
              <a:gd name="connsiteY10-310" fmla="*/ 4447 h 10000"/>
              <a:gd name="connsiteX0-311" fmla="*/ 9475 w 10966"/>
              <a:gd name="connsiteY0-312" fmla="*/ 3647 h 9200"/>
              <a:gd name="connsiteX1-313" fmla="*/ 1052 w 10966"/>
              <a:gd name="connsiteY1-314" fmla="*/ 3629 h 9200"/>
              <a:gd name="connsiteX2-315" fmla="*/ 525 w 10966"/>
              <a:gd name="connsiteY2-316" fmla="*/ 8305 h 9200"/>
              <a:gd name="connsiteX3-317" fmla="*/ 0 w 10966"/>
              <a:gd name="connsiteY3-318" fmla="*/ 3629 h 9200"/>
              <a:gd name="connsiteX4-319" fmla="*/ 0 w 10966"/>
              <a:gd name="connsiteY4-320" fmla="*/ 4573 h 9200"/>
              <a:gd name="connsiteX5-321" fmla="*/ 525 w 10966"/>
              <a:gd name="connsiteY5-322" fmla="*/ 9200 h 9200"/>
              <a:gd name="connsiteX6-323" fmla="*/ 1052 w 10966"/>
              <a:gd name="connsiteY6-324" fmla="*/ 4573 h 9200"/>
              <a:gd name="connsiteX7-325" fmla="*/ 9449 w 10966"/>
              <a:gd name="connsiteY7-326" fmla="*/ 4670 h 9200"/>
              <a:gd name="connsiteX8-327" fmla="*/ 10099 w 10966"/>
              <a:gd name="connsiteY8-328" fmla="*/ 0 h 9200"/>
              <a:gd name="connsiteX9-329" fmla="*/ 10060 w 10966"/>
              <a:gd name="connsiteY9-330" fmla="*/ 767 h 9200"/>
              <a:gd name="connsiteX10-331" fmla="*/ 9475 w 10966"/>
              <a:gd name="connsiteY10-332" fmla="*/ 3647 h 9200"/>
              <a:gd name="connsiteX0-333" fmla="*/ 8640 w 10000"/>
              <a:gd name="connsiteY0-334" fmla="*/ 5401 h 11437"/>
              <a:gd name="connsiteX1-335" fmla="*/ 959 w 10000"/>
              <a:gd name="connsiteY1-336" fmla="*/ 5382 h 11437"/>
              <a:gd name="connsiteX2-337" fmla="*/ 479 w 10000"/>
              <a:gd name="connsiteY2-338" fmla="*/ 10464 h 11437"/>
              <a:gd name="connsiteX3-339" fmla="*/ 0 w 10000"/>
              <a:gd name="connsiteY3-340" fmla="*/ 5382 h 11437"/>
              <a:gd name="connsiteX4-341" fmla="*/ 0 w 10000"/>
              <a:gd name="connsiteY4-342" fmla="*/ 6408 h 11437"/>
              <a:gd name="connsiteX5-343" fmla="*/ 479 w 10000"/>
              <a:gd name="connsiteY5-344" fmla="*/ 11437 h 11437"/>
              <a:gd name="connsiteX6-345" fmla="*/ 959 w 10000"/>
              <a:gd name="connsiteY6-346" fmla="*/ 6408 h 11437"/>
              <a:gd name="connsiteX7-347" fmla="*/ 8617 w 10000"/>
              <a:gd name="connsiteY7-348" fmla="*/ 6513 h 11437"/>
              <a:gd name="connsiteX8-349" fmla="*/ 9209 w 10000"/>
              <a:gd name="connsiteY8-350" fmla="*/ 1437 h 11437"/>
              <a:gd name="connsiteX9-351" fmla="*/ 9119 w 10000"/>
              <a:gd name="connsiteY9-352" fmla="*/ 568 h 11437"/>
              <a:gd name="connsiteX10-353" fmla="*/ 8640 w 10000"/>
              <a:gd name="connsiteY10-354" fmla="*/ 5401 h 11437"/>
              <a:gd name="connsiteX0-355" fmla="*/ 8640 w 9228"/>
              <a:gd name="connsiteY0-356" fmla="*/ 5401 h 11437"/>
              <a:gd name="connsiteX1-357" fmla="*/ 959 w 9228"/>
              <a:gd name="connsiteY1-358" fmla="*/ 5382 h 11437"/>
              <a:gd name="connsiteX2-359" fmla="*/ 479 w 9228"/>
              <a:gd name="connsiteY2-360" fmla="*/ 10464 h 11437"/>
              <a:gd name="connsiteX3-361" fmla="*/ 0 w 9228"/>
              <a:gd name="connsiteY3-362" fmla="*/ 5382 h 11437"/>
              <a:gd name="connsiteX4-363" fmla="*/ 0 w 9228"/>
              <a:gd name="connsiteY4-364" fmla="*/ 6408 h 11437"/>
              <a:gd name="connsiteX5-365" fmla="*/ 479 w 9228"/>
              <a:gd name="connsiteY5-366" fmla="*/ 11437 h 11437"/>
              <a:gd name="connsiteX6-367" fmla="*/ 959 w 9228"/>
              <a:gd name="connsiteY6-368" fmla="*/ 6408 h 11437"/>
              <a:gd name="connsiteX7-369" fmla="*/ 8617 w 9228"/>
              <a:gd name="connsiteY7-370" fmla="*/ 6513 h 11437"/>
              <a:gd name="connsiteX8-371" fmla="*/ 9209 w 9228"/>
              <a:gd name="connsiteY8-372" fmla="*/ 1437 h 11437"/>
              <a:gd name="connsiteX9-373" fmla="*/ 9119 w 9228"/>
              <a:gd name="connsiteY9-374" fmla="*/ 568 h 11437"/>
              <a:gd name="connsiteX10-375" fmla="*/ 8640 w 9228"/>
              <a:gd name="connsiteY10-376" fmla="*/ 5401 h 11437"/>
              <a:gd name="connsiteX0-377" fmla="*/ 9363 w 10000"/>
              <a:gd name="connsiteY0-378" fmla="*/ 4722 h 10000"/>
              <a:gd name="connsiteX1-379" fmla="*/ 1039 w 10000"/>
              <a:gd name="connsiteY1-380" fmla="*/ 4706 h 10000"/>
              <a:gd name="connsiteX2-381" fmla="*/ 519 w 10000"/>
              <a:gd name="connsiteY2-382" fmla="*/ 9149 h 10000"/>
              <a:gd name="connsiteX3-383" fmla="*/ 0 w 10000"/>
              <a:gd name="connsiteY3-384" fmla="*/ 4706 h 10000"/>
              <a:gd name="connsiteX4-385" fmla="*/ 0 w 10000"/>
              <a:gd name="connsiteY4-386" fmla="*/ 5603 h 10000"/>
              <a:gd name="connsiteX5-387" fmla="*/ 519 w 10000"/>
              <a:gd name="connsiteY5-388" fmla="*/ 10000 h 10000"/>
              <a:gd name="connsiteX6-389" fmla="*/ 1039 w 10000"/>
              <a:gd name="connsiteY6-390" fmla="*/ 5603 h 10000"/>
              <a:gd name="connsiteX7-391" fmla="*/ 9338 w 10000"/>
              <a:gd name="connsiteY7-392" fmla="*/ 5695 h 10000"/>
              <a:gd name="connsiteX8-393" fmla="*/ 9979 w 10000"/>
              <a:gd name="connsiteY8-394" fmla="*/ 1256 h 10000"/>
              <a:gd name="connsiteX9-395" fmla="*/ 9882 w 10000"/>
              <a:gd name="connsiteY9-396" fmla="*/ 497 h 10000"/>
              <a:gd name="connsiteX10-397" fmla="*/ 9363 w 10000"/>
              <a:gd name="connsiteY10-398" fmla="*/ 4722 h 10000"/>
              <a:gd name="connsiteX0-399" fmla="*/ 9363 w 10000"/>
              <a:gd name="connsiteY0-400" fmla="*/ 4722 h 10000"/>
              <a:gd name="connsiteX1-401" fmla="*/ 1039 w 10000"/>
              <a:gd name="connsiteY1-402" fmla="*/ 4706 h 10000"/>
              <a:gd name="connsiteX2-403" fmla="*/ 519 w 10000"/>
              <a:gd name="connsiteY2-404" fmla="*/ 9149 h 10000"/>
              <a:gd name="connsiteX3-405" fmla="*/ 0 w 10000"/>
              <a:gd name="connsiteY3-406" fmla="*/ 4706 h 10000"/>
              <a:gd name="connsiteX4-407" fmla="*/ 0 w 10000"/>
              <a:gd name="connsiteY4-408" fmla="*/ 5603 h 10000"/>
              <a:gd name="connsiteX5-409" fmla="*/ 519 w 10000"/>
              <a:gd name="connsiteY5-410" fmla="*/ 10000 h 10000"/>
              <a:gd name="connsiteX6-411" fmla="*/ 1039 w 10000"/>
              <a:gd name="connsiteY6-412" fmla="*/ 5603 h 10000"/>
              <a:gd name="connsiteX7-413" fmla="*/ 9338 w 10000"/>
              <a:gd name="connsiteY7-414" fmla="*/ 5695 h 10000"/>
              <a:gd name="connsiteX8-415" fmla="*/ 9979 w 10000"/>
              <a:gd name="connsiteY8-416" fmla="*/ 1256 h 10000"/>
              <a:gd name="connsiteX9-417" fmla="*/ 9882 w 10000"/>
              <a:gd name="connsiteY9-418" fmla="*/ 497 h 10000"/>
              <a:gd name="connsiteX10-419" fmla="*/ 9363 w 10000"/>
              <a:gd name="connsiteY10-420" fmla="*/ 4722 h 10000"/>
              <a:gd name="connsiteX0-421" fmla="*/ 9363 w 10000"/>
              <a:gd name="connsiteY0-422" fmla="*/ 4722 h 10000"/>
              <a:gd name="connsiteX1-423" fmla="*/ 1039 w 10000"/>
              <a:gd name="connsiteY1-424" fmla="*/ 4706 h 10000"/>
              <a:gd name="connsiteX2-425" fmla="*/ 519 w 10000"/>
              <a:gd name="connsiteY2-426" fmla="*/ 9149 h 10000"/>
              <a:gd name="connsiteX3-427" fmla="*/ 0 w 10000"/>
              <a:gd name="connsiteY3-428" fmla="*/ 4706 h 10000"/>
              <a:gd name="connsiteX4-429" fmla="*/ 0 w 10000"/>
              <a:gd name="connsiteY4-430" fmla="*/ 5603 h 10000"/>
              <a:gd name="connsiteX5-431" fmla="*/ 519 w 10000"/>
              <a:gd name="connsiteY5-432" fmla="*/ 10000 h 10000"/>
              <a:gd name="connsiteX6-433" fmla="*/ 1039 w 10000"/>
              <a:gd name="connsiteY6-434" fmla="*/ 5603 h 10000"/>
              <a:gd name="connsiteX7-435" fmla="*/ 9338 w 10000"/>
              <a:gd name="connsiteY7-436" fmla="*/ 5695 h 10000"/>
              <a:gd name="connsiteX8-437" fmla="*/ 9979 w 10000"/>
              <a:gd name="connsiteY8-438" fmla="*/ 1256 h 10000"/>
              <a:gd name="connsiteX9-439" fmla="*/ 9882 w 10000"/>
              <a:gd name="connsiteY9-440" fmla="*/ 497 h 10000"/>
              <a:gd name="connsiteX10-441" fmla="*/ 9363 w 10000"/>
              <a:gd name="connsiteY10-442" fmla="*/ 4722 h 10000"/>
              <a:gd name="connsiteX0-443" fmla="*/ 9363 w 10000"/>
              <a:gd name="connsiteY0-444" fmla="*/ 4722 h 10000"/>
              <a:gd name="connsiteX1-445" fmla="*/ 1039 w 10000"/>
              <a:gd name="connsiteY1-446" fmla="*/ 4706 h 10000"/>
              <a:gd name="connsiteX2-447" fmla="*/ 519 w 10000"/>
              <a:gd name="connsiteY2-448" fmla="*/ 9149 h 10000"/>
              <a:gd name="connsiteX3-449" fmla="*/ 0 w 10000"/>
              <a:gd name="connsiteY3-450" fmla="*/ 4706 h 10000"/>
              <a:gd name="connsiteX4-451" fmla="*/ 0 w 10000"/>
              <a:gd name="connsiteY4-452" fmla="*/ 5603 h 10000"/>
              <a:gd name="connsiteX5-453" fmla="*/ 519 w 10000"/>
              <a:gd name="connsiteY5-454" fmla="*/ 10000 h 10000"/>
              <a:gd name="connsiteX6-455" fmla="*/ 1039 w 10000"/>
              <a:gd name="connsiteY6-456" fmla="*/ 5603 h 10000"/>
              <a:gd name="connsiteX7-457" fmla="*/ 9338 w 10000"/>
              <a:gd name="connsiteY7-458" fmla="*/ 5695 h 10000"/>
              <a:gd name="connsiteX8-459" fmla="*/ 9979 w 10000"/>
              <a:gd name="connsiteY8-460" fmla="*/ 1256 h 10000"/>
              <a:gd name="connsiteX9-461" fmla="*/ 9882 w 10000"/>
              <a:gd name="connsiteY9-462" fmla="*/ 497 h 10000"/>
              <a:gd name="connsiteX10-463" fmla="*/ 9363 w 10000"/>
              <a:gd name="connsiteY10-464" fmla="*/ 4722 h 10000"/>
              <a:gd name="connsiteX0-465" fmla="*/ 9363 w 10000"/>
              <a:gd name="connsiteY0-466" fmla="*/ 4722 h 10000"/>
              <a:gd name="connsiteX1-467" fmla="*/ 1039 w 10000"/>
              <a:gd name="connsiteY1-468" fmla="*/ 4706 h 10000"/>
              <a:gd name="connsiteX2-469" fmla="*/ 519 w 10000"/>
              <a:gd name="connsiteY2-470" fmla="*/ 9149 h 10000"/>
              <a:gd name="connsiteX3-471" fmla="*/ 0 w 10000"/>
              <a:gd name="connsiteY3-472" fmla="*/ 4706 h 10000"/>
              <a:gd name="connsiteX4-473" fmla="*/ 0 w 10000"/>
              <a:gd name="connsiteY4-474" fmla="*/ 5603 h 10000"/>
              <a:gd name="connsiteX5-475" fmla="*/ 519 w 10000"/>
              <a:gd name="connsiteY5-476" fmla="*/ 10000 h 10000"/>
              <a:gd name="connsiteX6-477" fmla="*/ 1039 w 10000"/>
              <a:gd name="connsiteY6-478" fmla="*/ 5603 h 10000"/>
              <a:gd name="connsiteX7-479" fmla="*/ 9338 w 10000"/>
              <a:gd name="connsiteY7-480" fmla="*/ 5695 h 10000"/>
              <a:gd name="connsiteX8-481" fmla="*/ 9979 w 10000"/>
              <a:gd name="connsiteY8-482" fmla="*/ 1256 h 10000"/>
              <a:gd name="connsiteX9-483" fmla="*/ 9882 w 10000"/>
              <a:gd name="connsiteY9-484" fmla="*/ 497 h 10000"/>
              <a:gd name="connsiteX10-485" fmla="*/ 9363 w 10000"/>
              <a:gd name="connsiteY10-486" fmla="*/ 4722 h 10000"/>
              <a:gd name="connsiteX0-487" fmla="*/ 9363 w 10000"/>
              <a:gd name="connsiteY0-488" fmla="*/ 4722 h 10000"/>
              <a:gd name="connsiteX1-489" fmla="*/ 1039 w 10000"/>
              <a:gd name="connsiteY1-490" fmla="*/ 4706 h 10000"/>
              <a:gd name="connsiteX2-491" fmla="*/ 519 w 10000"/>
              <a:gd name="connsiteY2-492" fmla="*/ 9149 h 10000"/>
              <a:gd name="connsiteX3-493" fmla="*/ 0 w 10000"/>
              <a:gd name="connsiteY3-494" fmla="*/ 4706 h 10000"/>
              <a:gd name="connsiteX4-495" fmla="*/ 0 w 10000"/>
              <a:gd name="connsiteY4-496" fmla="*/ 5603 h 10000"/>
              <a:gd name="connsiteX5-497" fmla="*/ 519 w 10000"/>
              <a:gd name="connsiteY5-498" fmla="*/ 10000 h 10000"/>
              <a:gd name="connsiteX6-499" fmla="*/ 1039 w 10000"/>
              <a:gd name="connsiteY6-500" fmla="*/ 5603 h 10000"/>
              <a:gd name="connsiteX7-501" fmla="*/ 9338 w 10000"/>
              <a:gd name="connsiteY7-502" fmla="*/ 5695 h 10000"/>
              <a:gd name="connsiteX8-503" fmla="*/ 9979 w 10000"/>
              <a:gd name="connsiteY8-504" fmla="*/ 1256 h 10000"/>
              <a:gd name="connsiteX9-505" fmla="*/ 9882 w 10000"/>
              <a:gd name="connsiteY9-506" fmla="*/ 497 h 10000"/>
              <a:gd name="connsiteX10-507" fmla="*/ 9363 w 10000"/>
              <a:gd name="connsiteY10-508" fmla="*/ 4722 h 10000"/>
              <a:gd name="connsiteX0-509" fmla="*/ 9363 w 9903"/>
              <a:gd name="connsiteY0-510" fmla="*/ 4722 h 10000"/>
              <a:gd name="connsiteX1-511" fmla="*/ 1039 w 9903"/>
              <a:gd name="connsiteY1-512" fmla="*/ 4706 h 10000"/>
              <a:gd name="connsiteX2-513" fmla="*/ 519 w 9903"/>
              <a:gd name="connsiteY2-514" fmla="*/ 9149 h 10000"/>
              <a:gd name="connsiteX3-515" fmla="*/ 0 w 9903"/>
              <a:gd name="connsiteY3-516" fmla="*/ 4706 h 10000"/>
              <a:gd name="connsiteX4-517" fmla="*/ 0 w 9903"/>
              <a:gd name="connsiteY4-518" fmla="*/ 5603 h 10000"/>
              <a:gd name="connsiteX5-519" fmla="*/ 519 w 9903"/>
              <a:gd name="connsiteY5-520" fmla="*/ 10000 h 10000"/>
              <a:gd name="connsiteX6-521" fmla="*/ 1039 w 9903"/>
              <a:gd name="connsiteY6-522" fmla="*/ 5603 h 10000"/>
              <a:gd name="connsiteX7-523" fmla="*/ 9338 w 9903"/>
              <a:gd name="connsiteY7-524" fmla="*/ 5695 h 10000"/>
              <a:gd name="connsiteX8-525" fmla="*/ 9882 w 9903"/>
              <a:gd name="connsiteY8-526" fmla="*/ 1351 h 10000"/>
              <a:gd name="connsiteX9-527" fmla="*/ 9882 w 9903"/>
              <a:gd name="connsiteY9-528" fmla="*/ 497 h 10000"/>
              <a:gd name="connsiteX10-529" fmla="*/ 9363 w 9903"/>
              <a:gd name="connsiteY10-530" fmla="*/ 4722 h 10000"/>
              <a:gd name="connsiteX0-531" fmla="*/ 9455 w 10003"/>
              <a:gd name="connsiteY0-532" fmla="*/ 4722 h 10000"/>
              <a:gd name="connsiteX1-533" fmla="*/ 1049 w 10003"/>
              <a:gd name="connsiteY1-534" fmla="*/ 4706 h 10000"/>
              <a:gd name="connsiteX2-535" fmla="*/ 524 w 10003"/>
              <a:gd name="connsiteY2-536" fmla="*/ 9149 h 10000"/>
              <a:gd name="connsiteX3-537" fmla="*/ 0 w 10003"/>
              <a:gd name="connsiteY3-538" fmla="*/ 4706 h 10000"/>
              <a:gd name="connsiteX4-539" fmla="*/ 0 w 10003"/>
              <a:gd name="connsiteY4-540" fmla="*/ 5603 h 10000"/>
              <a:gd name="connsiteX5-541" fmla="*/ 524 w 10003"/>
              <a:gd name="connsiteY5-542" fmla="*/ 10000 h 10000"/>
              <a:gd name="connsiteX6-543" fmla="*/ 1049 w 10003"/>
              <a:gd name="connsiteY6-544" fmla="*/ 5603 h 10000"/>
              <a:gd name="connsiteX7-545" fmla="*/ 9429 w 10003"/>
              <a:gd name="connsiteY7-546" fmla="*/ 5695 h 10000"/>
              <a:gd name="connsiteX8-547" fmla="*/ 9979 w 10003"/>
              <a:gd name="connsiteY8-548" fmla="*/ 1351 h 10000"/>
              <a:gd name="connsiteX9-549" fmla="*/ 9979 w 10003"/>
              <a:gd name="connsiteY9-550" fmla="*/ 497 h 10000"/>
              <a:gd name="connsiteX10-551" fmla="*/ 9455 w 10003"/>
              <a:gd name="connsiteY10-552" fmla="*/ 4722 h 10000"/>
              <a:gd name="connsiteX0-553" fmla="*/ 9455 w 10003"/>
              <a:gd name="connsiteY0-554" fmla="*/ 4722 h 10000"/>
              <a:gd name="connsiteX1-555" fmla="*/ 1049 w 10003"/>
              <a:gd name="connsiteY1-556" fmla="*/ 4706 h 10000"/>
              <a:gd name="connsiteX2-557" fmla="*/ 524 w 10003"/>
              <a:gd name="connsiteY2-558" fmla="*/ 9149 h 10000"/>
              <a:gd name="connsiteX3-559" fmla="*/ 0 w 10003"/>
              <a:gd name="connsiteY3-560" fmla="*/ 4706 h 10000"/>
              <a:gd name="connsiteX4-561" fmla="*/ 0 w 10003"/>
              <a:gd name="connsiteY4-562" fmla="*/ 5603 h 10000"/>
              <a:gd name="connsiteX5-563" fmla="*/ 524 w 10003"/>
              <a:gd name="connsiteY5-564" fmla="*/ 10000 h 10000"/>
              <a:gd name="connsiteX6-565" fmla="*/ 1049 w 10003"/>
              <a:gd name="connsiteY6-566" fmla="*/ 5603 h 10000"/>
              <a:gd name="connsiteX7-567" fmla="*/ 9429 w 10003"/>
              <a:gd name="connsiteY7-568" fmla="*/ 5695 h 10000"/>
              <a:gd name="connsiteX8-569" fmla="*/ 9979 w 10003"/>
              <a:gd name="connsiteY8-570" fmla="*/ 1351 h 10000"/>
              <a:gd name="connsiteX9-571" fmla="*/ 9979 w 10003"/>
              <a:gd name="connsiteY9-572" fmla="*/ 497 h 10000"/>
              <a:gd name="connsiteX10-573" fmla="*/ 9455 w 10003"/>
              <a:gd name="connsiteY10-574" fmla="*/ 4722 h 10000"/>
              <a:gd name="connsiteX0-575" fmla="*/ 9455 w 10003"/>
              <a:gd name="connsiteY0-576" fmla="*/ 4722 h 10000"/>
              <a:gd name="connsiteX1-577" fmla="*/ 1049 w 10003"/>
              <a:gd name="connsiteY1-578" fmla="*/ 4706 h 10000"/>
              <a:gd name="connsiteX2-579" fmla="*/ 524 w 10003"/>
              <a:gd name="connsiteY2-580" fmla="*/ 9149 h 10000"/>
              <a:gd name="connsiteX3-581" fmla="*/ 0 w 10003"/>
              <a:gd name="connsiteY3-582" fmla="*/ 4706 h 10000"/>
              <a:gd name="connsiteX4-583" fmla="*/ 0 w 10003"/>
              <a:gd name="connsiteY4-584" fmla="*/ 5603 h 10000"/>
              <a:gd name="connsiteX5-585" fmla="*/ 524 w 10003"/>
              <a:gd name="connsiteY5-586" fmla="*/ 10000 h 10000"/>
              <a:gd name="connsiteX6-587" fmla="*/ 1049 w 10003"/>
              <a:gd name="connsiteY6-588" fmla="*/ 5603 h 10000"/>
              <a:gd name="connsiteX7-589" fmla="*/ 9429 w 10003"/>
              <a:gd name="connsiteY7-590" fmla="*/ 5695 h 10000"/>
              <a:gd name="connsiteX8-591" fmla="*/ 9979 w 10003"/>
              <a:gd name="connsiteY8-592" fmla="*/ 1351 h 10000"/>
              <a:gd name="connsiteX9-593" fmla="*/ 9979 w 10003"/>
              <a:gd name="connsiteY9-594" fmla="*/ 497 h 10000"/>
              <a:gd name="connsiteX10-595" fmla="*/ 9455 w 10003"/>
              <a:gd name="connsiteY10-596" fmla="*/ 4722 h 10000"/>
              <a:gd name="connsiteX0-597" fmla="*/ 9455 w 10003"/>
              <a:gd name="connsiteY0-598" fmla="*/ 4722 h 10000"/>
              <a:gd name="connsiteX1-599" fmla="*/ 1049 w 10003"/>
              <a:gd name="connsiteY1-600" fmla="*/ 4706 h 10000"/>
              <a:gd name="connsiteX2-601" fmla="*/ 524 w 10003"/>
              <a:gd name="connsiteY2-602" fmla="*/ 9149 h 10000"/>
              <a:gd name="connsiteX3-603" fmla="*/ 0 w 10003"/>
              <a:gd name="connsiteY3-604" fmla="*/ 4706 h 10000"/>
              <a:gd name="connsiteX4-605" fmla="*/ 0 w 10003"/>
              <a:gd name="connsiteY4-606" fmla="*/ 5603 h 10000"/>
              <a:gd name="connsiteX5-607" fmla="*/ 524 w 10003"/>
              <a:gd name="connsiteY5-608" fmla="*/ 10000 h 10000"/>
              <a:gd name="connsiteX6-609" fmla="*/ 1049 w 10003"/>
              <a:gd name="connsiteY6-610" fmla="*/ 5603 h 10000"/>
              <a:gd name="connsiteX7-611" fmla="*/ 9429 w 10003"/>
              <a:gd name="connsiteY7-612" fmla="*/ 5695 h 10000"/>
              <a:gd name="connsiteX8-613" fmla="*/ 9979 w 10003"/>
              <a:gd name="connsiteY8-614" fmla="*/ 1351 h 10000"/>
              <a:gd name="connsiteX9-615" fmla="*/ 9979 w 10003"/>
              <a:gd name="connsiteY9-616" fmla="*/ 497 h 10000"/>
              <a:gd name="connsiteX10-617" fmla="*/ 9455 w 10003"/>
              <a:gd name="connsiteY10-618" fmla="*/ 4722 h 10000"/>
              <a:gd name="connsiteX0-619" fmla="*/ 9455 w 10003"/>
              <a:gd name="connsiteY0-620" fmla="*/ 4722 h 10000"/>
              <a:gd name="connsiteX1-621" fmla="*/ 1049 w 10003"/>
              <a:gd name="connsiteY1-622" fmla="*/ 4706 h 10000"/>
              <a:gd name="connsiteX2-623" fmla="*/ 524 w 10003"/>
              <a:gd name="connsiteY2-624" fmla="*/ 9149 h 10000"/>
              <a:gd name="connsiteX3-625" fmla="*/ 0 w 10003"/>
              <a:gd name="connsiteY3-626" fmla="*/ 4706 h 10000"/>
              <a:gd name="connsiteX4-627" fmla="*/ 0 w 10003"/>
              <a:gd name="connsiteY4-628" fmla="*/ 5603 h 10000"/>
              <a:gd name="connsiteX5-629" fmla="*/ 524 w 10003"/>
              <a:gd name="connsiteY5-630" fmla="*/ 10000 h 10000"/>
              <a:gd name="connsiteX6-631" fmla="*/ 1049 w 10003"/>
              <a:gd name="connsiteY6-632" fmla="*/ 5603 h 10000"/>
              <a:gd name="connsiteX7-633" fmla="*/ 9429 w 10003"/>
              <a:gd name="connsiteY7-634" fmla="*/ 5695 h 10000"/>
              <a:gd name="connsiteX8-635" fmla="*/ 9979 w 10003"/>
              <a:gd name="connsiteY8-636" fmla="*/ 1351 h 10000"/>
              <a:gd name="connsiteX9-637" fmla="*/ 9979 w 10003"/>
              <a:gd name="connsiteY9-638" fmla="*/ 497 h 10000"/>
              <a:gd name="connsiteX10-639" fmla="*/ 9455 w 10003"/>
              <a:gd name="connsiteY10-640" fmla="*/ 4722 h 10000"/>
              <a:gd name="connsiteX0-641" fmla="*/ 9455 w 9982"/>
              <a:gd name="connsiteY0-642" fmla="*/ 4722 h 10000"/>
              <a:gd name="connsiteX1-643" fmla="*/ 1049 w 9982"/>
              <a:gd name="connsiteY1-644" fmla="*/ 4706 h 10000"/>
              <a:gd name="connsiteX2-645" fmla="*/ 524 w 9982"/>
              <a:gd name="connsiteY2-646" fmla="*/ 9149 h 10000"/>
              <a:gd name="connsiteX3-647" fmla="*/ 0 w 9982"/>
              <a:gd name="connsiteY3-648" fmla="*/ 4706 h 10000"/>
              <a:gd name="connsiteX4-649" fmla="*/ 0 w 9982"/>
              <a:gd name="connsiteY4-650" fmla="*/ 5603 h 10000"/>
              <a:gd name="connsiteX5-651" fmla="*/ 524 w 9982"/>
              <a:gd name="connsiteY5-652" fmla="*/ 10000 h 10000"/>
              <a:gd name="connsiteX6-653" fmla="*/ 1049 w 9982"/>
              <a:gd name="connsiteY6-654" fmla="*/ 5603 h 10000"/>
              <a:gd name="connsiteX7-655" fmla="*/ 9429 w 9982"/>
              <a:gd name="connsiteY7-656" fmla="*/ 5695 h 10000"/>
              <a:gd name="connsiteX8-657" fmla="*/ 9979 w 9982"/>
              <a:gd name="connsiteY8-658" fmla="*/ 1351 h 10000"/>
              <a:gd name="connsiteX9-659" fmla="*/ 9979 w 9982"/>
              <a:gd name="connsiteY9-660" fmla="*/ 497 h 10000"/>
              <a:gd name="connsiteX10-661" fmla="*/ 9455 w 9982"/>
              <a:gd name="connsiteY10-662" fmla="*/ 4722 h 10000"/>
              <a:gd name="connsiteX0-663" fmla="*/ 9472 w 10005"/>
              <a:gd name="connsiteY0-664" fmla="*/ 4722 h 10000"/>
              <a:gd name="connsiteX1-665" fmla="*/ 1051 w 10005"/>
              <a:gd name="connsiteY1-666" fmla="*/ 4706 h 10000"/>
              <a:gd name="connsiteX2-667" fmla="*/ 525 w 10005"/>
              <a:gd name="connsiteY2-668" fmla="*/ 9149 h 10000"/>
              <a:gd name="connsiteX3-669" fmla="*/ 0 w 10005"/>
              <a:gd name="connsiteY3-670" fmla="*/ 4706 h 10000"/>
              <a:gd name="connsiteX4-671" fmla="*/ 0 w 10005"/>
              <a:gd name="connsiteY4-672" fmla="*/ 5603 h 10000"/>
              <a:gd name="connsiteX5-673" fmla="*/ 525 w 10005"/>
              <a:gd name="connsiteY5-674" fmla="*/ 10000 h 10000"/>
              <a:gd name="connsiteX6-675" fmla="*/ 1051 w 10005"/>
              <a:gd name="connsiteY6-676" fmla="*/ 5603 h 10000"/>
              <a:gd name="connsiteX7-677" fmla="*/ 9446 w 10005"/>
              <a:gd name="connsiteY7-678" fmla="*/ 5695 h 10000"/>
              <a:gd name="connsiteX8-679" fmla="*/ 9997 w 10005"/>
              <a:gd name="connsiteY8-680" fmla="*/ 1351 h 10000"/>
              <a:gd name="connsiteX9-681" fmla="*/ 9997 w 10005"/>
              <a:gd name="connsiteY9-682" fmla="*/ 497 h 10000"/>
              <a:gd name="connsiteX10-683" fmla="*/ 9472 w 10005"/>
              <a:gd name="connsiteY10-684" fmla="*/ 4722 h 10000"/>
              <a:gd name="connsiteX0-685" fmla="*/ 9472 w 9997"/>
              <a:gd name="connsiteY0-686" fmla="*/ 4722 h 10000"/>
              <a:gd name="connsiteX1-687" fmla="*/ 1051 w 9997"/>
              <a:gd name="connsiteY1-688" fmla="*/ 4706 h 10000"/>
              <a:gd name="connsiteX2-689" fmla="*/ 525 w 9997"/>
              <a:gd name="connsiteY2-690" fmla="*/ 9149 h 10000"/>
              <a:gd name="connsiteX3-691" fmla="*/ 0 w 9997"/>
              <a:gd name="connsiteY3-692" fmla="*/ 4706 h 10000"/>
              <a:gd name="connsiteX4-693" fmla="*/ 0 w 9997"/>
              <a:gd name="connsiteY4-694" fmla="*/ 5603 h 10000"/>
              <a:gd name="connsiteX5-695" fmla="*/ 525 w 9997"/>
              <a:gd name="connsiteY5-696" fmla="*/ 10000 h 10000"/>
              <a:gd name="connsiteX6-697" fmla="*/ 1051 w 9997"/>
              <a:gd name="connsiteY6-698" fmla="*/ 5603 h 10000"/>
              <a:gd name="connsiteX7-699" fmla="*/ 9446 w 9997"/>
              <a:gd name="connsiteY7-700" fmla="*/ 5695 h 10000"/>
              <a:gd name="connsiteX8-701" fmla="*/ 9942 w 9997"/>
              <a:gd name="connsiteY8-702" fmla="*/ 1985 h 10000"/>
              <a:gd name="connsiteX9-703" fmla="*/ 9997 w 9997"/>
              <a:gd name="connsiteY9-704" fmla="*/ 497 h 10000"/>
              <a:gd name="connsiteX10-705" fmla="*/ 9472 w 9997"/>
              <a:gd name="connsiteY10-706" fmla="*/ 4722 h 10000"/>
              <a:gd name="connsiteX0-707" fmla="*/ 9475 w 10008"/>
              <a:gd name="connsiteY0-708" fmla="*/ 4722 h 10000"/>
              <a:gd name="connsiteX1-709" fmla="*/ 1051 w 10008"/>
              <a:gd name="connsiteY1-710" fmla="*/ 4706 h 10000"/>
              <a:gd name="connsiteX2-711" fmla="*/ 525 w 10008"/>
              <a:gd name="connsiteY2-712" fmla="*/ 9149 h 10000"/>
              <a:gd name="connsiteX3-713" fmla="*/ 0 w 10008"/>
              <a:gd name="connsiteY3-714" fmla="*/ 4706 h 10000"/>
              <a:gd name="connsiteX4-715" fmla="*/ 0 w 10008"/>
              <a:gd name="connsiteY4-716" fmla="*/ 5603 h 10000"/>
              <a:gd name="connsiteX5-717" fmla="*/ 525 w 10008"/>
              <a:gd name="connsiteY5-718" fmla="*/ 10000 h 10000"/>
              <a:gd name="connsiteX6-719" fmla="*/ 1051 w 10008"/>
              <a:gd name="connsiteY6-720" fmla="*/ 5603 h 10000"/>
              <a:gd name="connsiteX7-721" fmla="*/ 9449 w 10008"/>
              <a:gd name="connsiteY7-722" fmla="*/ 5695 h 10000"/>
              <a:gd name="connsiteX8-723" fmla="*/ 10000 w 10008"/>
              <a:gd name="connsiteY8-724" fmla="*/ 1319 h 10000"/>
              <a:gd name="connsiteX9-725" fmla="*/ 10000 w 10008"/>
              <a:gd name="connsiteY9-726" fmla="*/ 497 h 10000"/>
              <a:gd name="connsiteX10-727" fmla="*/ 9475 w 10008"/>
              <a:gd name="connsiteY10-728" fmla="*/ 4722 h 10000"/>
              <a:gd name="connsiteX0-729" fmla="*/ 9475 w 10008"/>
              <a:gd name="connsiteY0-730" fmla="*/ 4722 h 10000"/>
              <a:gd name="connsiteX1-731" fmla="*/ 1051 w 10008"/>
              <a:gd name="connsiteY1-732" fmla="*/ 4706 h 10000"/>
              <a:gd name="connsiteX2-733" fmla="*/ 525 w 10008"/>
              <a:gd name="connsiteY2-734" fmla="*/ 9149 h 10000"/>
              <a:gd name="connsiteX3-735" fmla="*/ 0 w 10008"/>
              <a:gd name="connsiteY3-736" fmla="*/ 4706 h 10000"/>
              <a:gd name="connsiteX4-737" fmla="*/ 0 w 10008"/>
              <a:gd name="connsiteY4-738" fmla="*/ 5603 h 10000"/>
              <a:gd name="connsiteX5-739" fmla="*/ 525 w 10008"/>
              <a:gd name="connsiteY5-740" fmla="*/ 10000 h 10000"/>
              <a:gd name="connsiteX6-741" fmla="*/ 1051 w 10008"/>
              <a:gd name="connsiteY6-742" fmla="*/ 5603 h 10000"/>
              <a:gd name="connsiteX7-743" fmla="*/ 9449 w 10008"/>
              <a:gd name="connsiteY7-744" fmla="*/ 5695 h 10000"/>
              <a:gd name="connsiteX8-745" fmla="*/ 10000 w 10008"/>
              <a:gd name="connsiteY8-746" fmla="*/ 1224 h 10000"/>
              <a:gd name="connsiteX9-747" fmla="*/ 10000 w 10008"/>
              <a:gd name="connsiteY9-748" fmla="*/ 497 h 10000"/>
              <a:gd name="connsiteX10-749" fmla="*/ 9475 w 10008"/>
              <a:gd name="connsiteY10-750" fmla="*/ 4722 h 10000"/>
              <a:gd name="connsiteX0-751" fmla="*/ 9475 w 10008"/>
              <a:gd name="connsiteY0-752" fmla="*/ 4722 h 10000"/>
              <a:gd name="connsiteX1-753" fmla="*/ 1051 w 10008"/>
              <a:gd name="connsiteY1-754" fmla="*/ 4706 h 10000"/>
              <a:gd name="connsiteX2-755" fmla="*/ 525 w 10008"/>
              <a:gd name="connsiteY2-756" fmla="*/ 9149 h 10000"/>
              <a:gd name="connsiteX3-757" fmla="*/ 0 w 10008"/>
              <a:gd name="connsiteY3-758" fmla="*/ 4706 h 10000"/>
              <a:gd name="connsiteX4-759" fmla="*/ 0 w 10008"/>
              <a:gd name="connsiteY4-760" fmla="*/ 5603 h 10000"/>
              <a:gd name="connsiteX5-761" fmla="*/ 525 w 10008"/>
              <a:gd name="connsiteY5-762" fmla="*/ 10000 h 10000"/>
              <a:gd name="connsiteX6-763" fmla="*/ 1051 w 10008"/>
              <a:gd name="connsiteY6-764" fmla="*/ 5603 h 10000"/>
              <a:gd name="connsiteX7-765" fmla="*/ 9449 w 10008"/>
              <a:gd name="connsiteY7-766" fmla="*/ 5695 h 10000"/>
              <a:gd name="connsiteX8-767" fmla="*/ 10000 w 10008"/>
              <a:gd name="connsiteY8-768" fmla="*/ 1224 h 10000"/>
              <a:gd name="connsiteX9-769" fmla="*/ 10000 w 10008"/>
              <a:gd name="connsiteY9-770" fmla="*/ 497 h 10000"/>
              <a:gd name="connsiteX10-771" fmla="*/ 9475 w 10008"/>
              <a:gd name="connsiteY10-772" fmla="*/ 4722 h 10000"/>
              <a:gd name="connsiteX0-773" fmla="*/ 9475 w 10008"/>
              <a:gd name="connsiteY0-774" fmla="*/ 4722 h 10000"/>
              <a:gd name="connsiteX1-775" fmla="*/ 1051 w 10008"/>
              <a:gd name="connsiteY1-776" fmla="*/ 4706 h 10000"/>
              <a:gd name="connsiteX2-777" fmla="*/ 525 w 10008"/>
              <a:gd name="connsiteY2-778" fmla="*/ 9149 h 10000"/>
              <a:gd name="connsiteX3-779" fmla="*/ 0 w 10008"/>
              <a:gd name="connsiteY3-780" fmla="*/ 4706 h 10000"/>
              <a:gd name="connsiteX4-781" fmla="*/ 0 w 10008"/>
              <a:gd name="connsiteY4-782" fmla="*/ 5603 h 10000"/>
              <a:gd name="connsiteX5-783" fmla="*/ 525 w 10008"/>
              <a:gd name="connsiteY5-784" fmla="*/ 10000 h 10000"/>
              <a:gd name="connsiteX6-785" fmla="*/ 1051 w 10008"/>
              <a:gd name="connsiteY6-786" fmla="*/ 5603 h 10000"/>
              <a:gd name="connsiteX7-787" fmla="*/ 9449 w 10008"/>
              <a:gd name="connsiteY7-788" fmla="*/ 5695 h 10000"/>
              <a:gd name="connsiteX8-789" fmla="*/ 10000 w 10008"/>
              <a:gd name="connsiteY8-790" fmla="*/ 1224 h 10000"/>
              <a:gd name="connsiteX9-791" fmla="*/ 10000 w 10008"/>
              <a:gd name="connsiteY9-792" fmla="*/ 497 h 10000"/>
              <a:gd name="connsiteX10-793" fmla="*/ 9475 w 10008"/>
              <a:gd name="connsiteY10-794" fmla="*/ 4722 h 10000"/>
              <a:gd name="connsiteX0-795" fmla="*/ 9475 w 10008"/>
              <a:gd name="connsiteY0-796" fmla="*/ 4722 h 10000"/>
              <a:gd name="connsiteX1-797" fmla="*/ 1051 w 10008"/>
              <a:gd name="connsiteY1-798" fmla="*/ 4706 h 10000"/>
              <a:gd name="connsiteX2-799" fmla="*/ 525 w 10008"/>
              <a:gd name="connsiteY2-800" fmla="*/ 9149 h 10000"/>
              <a:gd name="connsiteX3-801" fmla="*/ 0 w 10008"/>
              <a:gd name="connsiteY3-802" fmla="*/ 4706 h 10000"/>
              <a:gd name="connsiteX4-803" fmla="*/ 0 w 10008"/>
              <a:gd name="connsiteY4-804" fmla="*/ 5603 h 10000"/>
              <a:gd name="connsiteX5-805" fmla="*/ 525 w 10008"/>
              <a:gd name="connsiteY5-806" fmla="*/ 10000 h 10000"/>
              <a:gd name="connsiteX6-807" fmla="*/ 1051 w 10008"/>
              <a:gd name="connsiteY6-808" fmla="*/ 5603 h 10000"/>
              <a:gd name="connsiteX7-809" fmla="*/ 9449 w 10008"/>
              <a:gd name="connsiteY7-810" fmla="*/ 5695 h 10000"/>
              <a:gd name="connsiteX8-811" fmla="*/ 10000 w 10008"/>
              <a:gd name="connsiteY8-812" fmla="*/ 1224 h 10000"/>
              <a:gd name="connsiteX9-813" fmla="*/ 10000 w 10008"/>
              <a:gd name="connsiteY9-814" fmla="*/ 497 h 10000"/>
              <a:gd name="connsiteX10-815" fmla="*/ 9475 w 10008"/>
              <a:gd name="connsiteY10-816" fmla="*/ 4722 h 10000"/>
              <a:gd name="connsiteX0-817" fmla="*/ 9475 w 10008"/>
              <a:gd name="connsiteY0-818" fmla="*/ 4722 h 10000"/>
              <a:gd name="connsiteX1-819" fmla="*/ 1051 w 10008"/>
              <a:gd name="connsiteY1-820" fmla="*/ 4706 h 10000"/>
              <a:gd name="connsiteX2-821" fmla="*/ 525 w 10008"/>
              <a:gd name="connsiteY2-822" fmla="*/ 9149 h 10000"/>
              <a:gd name="connsiteX3-823" fmla="*/ 0 w 10008"/>
              <a:gd name="connsiteY3-824" fmla="*/ 4706 h 10000"/>
              <a:gd name="connsiteX4-825" fmla="*/ 0 w 10008"/>
              <a:gd name="connsiteY4-826" fmla="*/ 5603 h 10000"/>
              <a:gd name="connsiteX5-827" fmla="*/ 525 w 10008"/>
              <a:gd name="connsiteY5-828" fmla="*/ 10000 h 10000"/>
              <a:gd name="connsiteX6-829" fmla="*/ 1051 w 10008"/>
              <a:gd name="connsiteY6-830" fmla="*/ 5603 h 10000"/>
              <a:gd name="connsiteX7-831" fmla="*/ 9449 w 10008"/>
              <a:gd name="connsiteY7-832" fmla="*/ 5695 h 10000"/>
              <a:gd name="connsiteX8-833" fmla="*/ 10000 w 10008"/>
              <a:gd name="connsiteY8-834" fmla="*/ 1224 h 10000"/>
              <a:gd name="connsiteX9-835" fmla="*/ 10000 w 10008"/>
              <a:gd name="connsiteY9-836" fmla="*/ 497 h 10000"/>
              <a:gd name="connsiteX10-837" fmla="*/ 9475 w 10008"/>
              <a:gd name="connsiteY10-838" fmla="*/ 4722 h 10000"/>
              <a:gd name="connsiteX0-839" fmla="*/ 9475 w 10008"/>
              <a:gd name="connsiteY0-840" fmla="*/ 4722 h 10000"/>
              <a:gd name="connsiteX1-841" fmla="*/ 1051 w 10008"/>
              <a:gd name="connsiteY1-842" fmla="*/ 4706 h 10000"/>
              <a:gd name="connsiteX2-843" fmla="*/ 525 w 10008"/>
              <a:gd name="connsiteY2-844" fmla="*/ 9149 h 10000"/>
              <a:gd name="connsiteX3-845" fmla="*/ 0 w 10008"/>
              <a:gd name="connsiteY3-846" fmla="*/ 4706 h 10000"/>
              <a:gd name="connsiteX4-847" fmla="*/ 0 w 10008"/>
              <a:gd name="connsiteY4-848" fmla="*/ 5603 h 10000"/>
              <a:gd name="connsiteX5-849" fmla="*/ 525 w 10008"/>
              <a:gd name="connsiteY5-850" fmla="*/ 10000 h 10000"/>
              <a:gd name="connsiteX6-851" fmla="*/ 1051 w 10008"/>
              <a:gd name="connsiteY6-852" fmla="*/ 5603 h 10000"/>
              <a:gd name="connsiteX7-853" fmla="*/ 9449 w 10008"/>
              <a:gd name="connsiteY7-854" fmla="*/ 5695 h 10000"/>
              <a:gd name="connsiteX8-855" fmla="*/ 10000 w 10008"/>
              <a:gd name="connsiteY8-856" fmla="*/ 1224 h 10000"/>
              <a:gd name="connsiteX9-857" fmla="*/ 10000 w 10008"/>
              <a:gd name="connsiteY9-858" fmla="*/ 497 h 10000"/>
              <a:gd name="connsiteX10-859" fmla="*/ 9475 w 10008"/>
              <a:gd name="connsiteY10-860" fmla="*/ 4722 h 10000"/>
              <a:gd name="connsiteX0-861" fmla="*/ 9475 w 10008"/>
              <a:gd name="connsiteY0-862" fmla="*/ 4722 h 10000"/>
              <a:gd name="connsiteX1-863" fmla="*/ 1051 w 10008"/>
              <a:gd name="connsiteY1-864" fmla="*/ 4706 h 10000"/>
              <a:gd name="connsiteX2-865" fmla="*/ 525 w 10008"/>
              <a:gd name="connsiteY2-866" fmla="*/ 9149 h 10000"/>
              <a:gd name="connsiteX3-867" fmla="*/ 0 w 10008"/>
              <a:gd name="connsiteY3-868" fmla="*/ 4706 h 10000"/>
              <a:gd name="connsiteX4-869" fmla="*/ 0 w 10008"/>
              <a:gd name="connsiteY4-870" fmla="*/ 5603 h 10000"/>
              <a:gd name="connsiteX5-871" fmla="*/ 525 w 10008"/>
              <a:gd name="connsiteY5-872" fmla="*/ 10000 h 10000"/>
              <a:gd name="connsiteX6-873" fmla="*/ 1051 w 10008"/>
              <a:gd name="connsiteY6-874" fmla="*/ 5603 h 10000"/>
              <a:gd name="connsiteX7-875" fmla="*/ 9449 w 10008"/>
              <a:gd name="connsiteY7-876" fmla="*/ 5695 h 10000"/>
              <a:gd name="connsiteX8-877" fmla="*/ 10000 w 10008"/>
              <a:gd name="connsiteY8-878" fmla="*/ 1224 h 10000"/>
              <a:gd name="connsiteX9-879" fmla="*/ 10000 w 10008"/>
              <a:gd name="connsiteY9-880" fmla="*/ 497 h 10000"/>
              <a:gd name="connsiteX10-881" fmla="*/ 9475 w 10008"/>
              <a:gd name="connsiteY10-882" fmla="*/ 4722 h 100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  <a:cxn ang="0">
                <a:pos x="connsiteX9-19" y="connsiteY9-20"/>
              </a:cxn>
              <a:cxn ang="0">
                <a:pos x="connsiteX10-21" y="connsiteY10-22"/>
              </a:cxn>
            </a:cxnLst>
            <a:rect l="l" t="t" r="r" b="b"/>
            <a:pathLst>
              <a:path w="10008" h="10000">
                <a:moveTo>
                  <a:pt x="9475" y="4722"/>
                </a:moveTo>
                <a:lnTo>
                  <a:pt x="1051" y="4706"/>
                </a:lnTo>
                <a:cubicBezTo>
                  <a:pt x="636" y="4706"/>
                  <a:pt x="525" y="9149"/>
                  <a:pt x="525" y="9149"/>
                </a:cubicBezTo>
                <a:cubicBezTo>
                  <a:pt x="525" y="9149"/>
                  <a:pt x="415" y="4706"/>
                  <a:pt x="0" y="4706"/>
                </a:cubicBezTo>
                <a:lnTo>
                  <a:pt x="0" y="5603"/>
                </a:lnTo>
                <a:cubicBezTo>
                  <a:pt x="415" y="5603"/>
                  <a:pt x="525" y="10000"/>
                  <a:pt x="525" y="10000"/>
                </a:cubicBezTo>
                <a:cubicBezTo>
                  <a:pt x="525" y="10000"/>
                  <a:pt x="636" y="5603"/>
                  <a:pt x="1051" y="5603"/>
                </a:cubicBezTo>
                <a:lnTo>
                  <a:pt x="9449" y="5695"/>
                </a:lnTo>
                <a:cubicBezTo>
                  <a:pt x="9827" y="5410"/>
                  <a:pt x="9934" y="2946"/>
                  <a:pt x="10000" y="1224"/>
                </a:cubicBezTo>
                <a:cubicBezTo>
                  <a:pt x="10008" y="1086"/>
                  <a:pt x="10001" y="0"/>
                  <a:pt x="10000" y="497"/>
                </a:cubicBezTo>
                <a:cubicBezTo>
                  <a:pt x="9937" y="1770"/>
                  <a:pt x="9819" y="4623"/>
                  <a:pt x="9475" y="4722"/>
                </a:cubicBezTo>
                <a:close/>
              </a:path>
            </a:pathLst>
          </a:custGeom>
          <a:solidFill>
            <a:srgbClr val="DD0982"/>
          </a:solidFill>
          <a:ln w="9525">
            <a:noFill/>
            <a:rou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4078" tIns="47039" rIns="94078" bIns="47039"/>
          <a:lstStyle/>
          <a:p>
            <a:pPr defTabSz="863600">
              <a:defRPr/>
            </a:pPr>
            <a:endParaRPr lang="fr-FR" sz="1700" kern="0">
              <a:solidFill>
                <a:sysClr val="windowText" lastClr="000000"/>
              </a:solidFill>
              <a:latin typeface="Arial" panose="020B0604020202090204" pitchFamily="34" charset="0"/>
              <a:ea typeface="MS PGothic" pitchFamily="34" charset="-128"/>
            </a:endParaRPr>
          </a:p>
        </p:txBody>
      </p:sp>
      <p:sp>
        <p:nvSpPr>
          <p:cNvPr id="8" name="Rectangle 7"/>
          <p:cNvSpPr/>
          <p:nvPr userDrawn="1">
            <p:custDataLst>
              <p:tags r:id="rId2"/>
            </p:custDataLst>
          </p:nvPr>
        </p:nvSpPr>
        <p:spPr>
          <a:xfrm>
            <a:off x="0" y="4006609"/>
            <a:ext cx="11522075" cy="2041555"/>
          </a:xfrm>
          <a:prstGeom prst="rect">
            <a:avLst/>
          </a:prstGeom>
          <a:solidFill>
            <a:srgbClr val="D5D30F">
              <a:alpha val="4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9343" tIns="39672" rIns="79343" bIns="39672" anchor="ctr"/>
          <a:lstStyle/>
          <a:p>
            <a:pPr algn="ctr"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30" dirty="0">
              <a:solidFill>
                <a:prstClr val="white"/>
              </a:solidFill>
            </a:endParaRPr>
          </a:p>
        </p:txBody>
      </p:sp>
      <p:sp>
        <p:nvSpPr>
          <p:cNvPr id="9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01" y="1"/>
            <a:ext cx="11526077" cy="2379064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-1" fmla="*/ 0 w 10685085"/>
              <a:gd name="connsiteY0-2" fmla="*/ 0 h 684481"/>
              <a:gd name="connsiteX1-3" fmla="*/ 10685085 w 10685085"/>
              <a:gd name="connsiteY1-4" fmla="*/ 0 h 684481"/>
              <a:gd name="connsiteX2-5" fmla="*/ 10685085 w 10685085"/>
              <a:gd name="connsiteY2-6" fmla="*/ 684481 h 684481"/>
              <a:gd name="connsiteX3-7" fmla="*/ 525849 w 10685085"/>
              <a:gd name="connsiteY3-8" fmla="*/ 678410 h 684481"/>
              <a:gd name="connsiteX4-9" fmla="*/ 0 w 10685085"/>
              <a:gd name="connsiteY4-10" fmla="*/ 684481 h 684481"/>
              <a:gd name="connsiteX5" fmla="*/ 0 w 10685085"/>
              <a:gd name="connsiteY5" fmla="*/ 0 h 684481"/>
              <a:gd name="connsiteX0-11" fmla="*/ 0 w 10685085"/>
              <a:gd name="connsiteY0-12" fmla="*/ 0 h 684481"/>
              <a:gd name="connsiteX1-13" fmla="*/ 10685085 w 10685085"/>
              <a:gd name="connsiteY1-14" fmla="*/ 0 h 684481"/>
              <a:gd name="connsiteX2-15" fmla="*/ 10685085 w 10685085"/>
              <a:gd name="connsiteY2-16" fmla="*/ 684481 h 684481"/>
              <a:gd name="connsiteX3-17" fmla="*/ 1063736 w 10685085"/>
              <a:gd name="connsiteY3-18" fmla="*/ 670939 h 684481"/>
              <a:gd name="connsiteX4-19" fmla="*/ 525849 w 10685085"/>
              <a:gd name="connsiteY4-20" fmla="*/ 678410 h 684481"/>
              <a:gd name="connsiteX5-21" fmla="*/ 0 w 10685085"/>
              <a:gd name="connsiteY5-22" fmla="*/ 684481 h 684481"/>
              <a:gd name="connsiteX6" fmla="*/ 0 w 10685085"/>
              <a:gd name="connsiteY6" fmla="*/ 0 h 684481"/>
              <a:gd name="connsiteX0-23" fmla="*/ 0 w 10685085"/>
              <a:gd name="connsiteY0-24" fmla="*/ 0 h 684481"/>
              <a:gd name="connsiteX1-25" fmla="*/ 10685085 w 10685085"/>
              <a:gd name="connsiteY1-26" fmla="*/ 0 h 684481"/>
              <a:gd name="connsiteX2-27" fmla="*/ 10685085 w 10685085"/>
              <a:gd name="connsiteY2-28" fmla="*/ 684481 h 684481"/>
              <a:gd name="connsiteX3-29" fmla="*/ 1063736 w 10685085"/>
              <a:gd name="connsiteY3-30" fmla="*/ 670939 h 684481"/>
              <a:gd name="connsiteX4-31" fmla="*/ 525849 w 10685085"/>
              <a:gd name="connsiteY4-32" fmla="*/ 678410 h 684481"/>
              <a:gd name="connsiteX5-33" fmla="*/ 0 w 10685085"/>
              <a:gd name="connsiteY5-34" fmla="*/ 684481 h 684481"/>
              <a:gd name="connsiteX6-35" fmla="*/ 0 w 10685085"/>
              <a:gd name="connsiteY6-36" fmla="*/ 0 h 684481"/>
              <a:gd name="connsiteX0-37" fmla="*/ 0 w 10685085"/>
              <a:gd name="connsiteY0-38" fmla="*/ 0 h 1022049"/>
              <a:gd name="connsiteX1-39" fmla="*/ 10685085 w 10685085"/>
              <a:gd name="connsiteY1-40" fmla="*/ 0 h 1022049"/>
              <a:gd name="connsiteX2-41" fmla="*/ 10685085 w 10685085"/>
              <a:gd name="connsiteY2-42" fmla="*/ 684481 h 1022049"/>
              <a:gd name="connsiteX3-43" fmla="*/ 1063736 w 10685085"/>
              <a:gd name="connsiteY3-44" fmla="*/ 670939 h 1022049"/>
              <a:gd name="connsiteX4-45" fmla="*/ 533320 w 10685085"/>
              <a:gd name="connsiteY4-46" fmla="*/ 1022049 h 1022049"/>
              <a:gd name="connsiteX5-47" fmla="*/ 0 w 10685085"/>
              <a:gd name="connsiteY5-48" fmla="*/ 684481 h 1022049"/>
              <a:gd name="connsiteX6-49" fmla="*/ 0 w 10685085"/>
              <a:gd name="connsiteY6-50" fmla="*/ 0 h 1022049"/>
              <a:gd name="connsiteX0-51" fmla="*/ 0 w 10685085"/>
              <a:gd name="connsiteY0-52" fmla="*/ 0 h 1022049"/>
              <a:gd name="connsiteX1-53" fmla="*/ 10685085 w 10685085"/>
              <a:gd name="connsiteY1-54" fmla="*/ 0 h 1022049"/>
              <a:gd name="connsiteX2-55" fmla="*/ 10685085 w 10685085"/>
              <a:gd name="connsiteY2-56" fmla="*/ 684481 h 1022049"/>
              <a:gd name="connsiteX3-57" fmla="*/ 1063736 w 10685085"/>
              <a:gd name="connsiteY3-58" fmla="*/ 670939 h 1022049"/>
              <a:gd name="connsiteX4-59" fmla="*/ 533320 w 10685085"/>
              <a:gd name="connsiteY4-60" fmla="*/ 1022049 h 1022049"/>
              <a:gd name="connsiteX5-61" fmla="*/ 0 w 10685085"/>
              <a:gd name="connsiteY5-62" fmla="*/ 684481 h 1022049"/>
              <a:gd name="connsiteX6-63" fmla="*/ 0 w 10685085"/>
              <a:gd name="connsiteY6-64" fmla="*/ 0 h 1022049"/>
              <a:gd name="connsiteX0-65" fmla="*/ 0 w 10685085"/>
              <a:gd name="connsiteY0-66" fmla="*/ 0 h 1022049"/>
              <a:gd name="connsiteX1-67" fmla="*/ 10685085 w 10685085"/>
              <a:gd name="connsiteY1-68" fmla="*/ 0 h 1022049"/>
              <a:gd name="connsiteX2-69" fmla="*/ 10685085 w 10685085"/>
              <a:gd name="connsiteY2-70" fmla="*/ 684481 h 1022049"/>
              <a:gd name="connsiteX3-71" fmla="*/ 1063736 w 10685085"/>
              <a:gd name="connsiteY3-72" fmla="*/ 670939 h 1022049"/>
              <a:gd name="connsiteX4-73" fmla="*/ 533320 w 10685085"/>
              <a:gd name="connsiteY4-74" fmla="*/ 1022049 h 1022049"/>
              <a:gd name="connsiteX5-75" fmla="*/ 0 w 10685085"/>
              <a:gd name="connsiteY5-76" fmla="*/ 684481 h 1022049"/>
              <a:gd name="connsiteX6-77" fmla="*/ 0 w 10685085"/>
              <a:gd name="connsiteY6-78" fmla="*/ 0 h 1022049"/>
              <a:gd name="connsiteX0-79" fmla="*/ 0 w 10685085"/>
              <a:gd name="connsiteY0-80" fmla="*/ 0 h 1022049"/>
              <a:gd name="connsiteX1-81" fmla="*/ 10685085 w 10685085"/>
              <a:gd name="connsiteY1-82" fmla="*/ 0 h 1022049"/>
              <a:gd name="connsiteX2-83" fmla="*/ 10685085 w 10685085"/>
              <a:gd name="connsiteY2-84" fmla="*/ 684481 h 1022049"/>
              <a:gd name="connsiteX3-85" fmla="*/ 1063736 w 10685085"/>
              <a:gd name="connsiteY3-86" fmla="*/ 670939 h 1022049"/>
              <a:gd name="connsiteX4-87" fmla="*/ 533320 w 10685085"/>
              <a:gd name="connsiteY4-88" fmla="*/ 1022049 h 1022049"/>
              <a:gd name="connsiteX5-89" fmla="*/ 0 w 10685085"/>
              <a:gd name="connsiteY5-90" fmla="*/ 684481 h 1022049"/>
              <a:gd name="connsiteX6-91" fmla="*/ 0 w 10685085"/>
              <a:gd name="connsiteY6-92" fmla="*/ 0 h 1022049"/>
              <a:gd name="connsiteX0-93" fmla="*/ 0 w 10685085"/>
              <a:gd name="connsiteY0-94" fmla="*/ 0 h 1022049"/>
              <a:gd name="connsiteX1-95" fmla="*/ 10685085 w 10685085"/>
              <a:gd name="connsiteY1-96" fmla="*/ 0 h 1022049"/>
              <a:gd name="connsiteX2-97" fmla="*/ 10685085 w 10685085"/>
              <a:gd name="connsiteY2-98" fmla="*/ 684481 h 1022049"/>
              <a:gd name="connsiteX3-99" fmla="*/ 1063736 w 10685085"/>
              <a:gd name="connsiteY3-100" fmla="*/ 670939 h 1022049"/>
              <a:gd name="connsiteX4-101" fmla="*/ 533320 w 10685085"/>
              <a:gd name="connsiteY4-102" fmla="*/ 1022049 h 1022049"/>
              <a:gd name="connsiteX5-103" fmla="*/ 0 w 10685085"/>
              <a:gd name="connsiteY5-104" fmla="*/ 684481 h 1022049"/>
              <a:gd name="connsiteX6-105" fmla="*/ 0 w 10685085"/>
              <a:gd name="connsiteY6-106" fmla="*/ 0 h 1022049"/>
              <a:gd name="connsiteX0-107" fmla="*/ 0 w 10685085"/>
              <a:gd name="connsiteY0-108" fmla="*/ 0 h 1022049"/>
              <a:gd name="connsiteX1-109" fmla="*/ 10685085 w 10685085"/>
              <a:gd name="connsiteY1-110" fmla="*/ 0 h 1022049"/>
              <a:gd name="connsiteX2-111" fmla="*/ 10685085 w 10685085"/>
              <a:gd name="connsiteY2-112" fmla="*/ 684481 h 1022049"/>
              <a:gd name="connsiteX3-113" fmla="*/ 10222758 w 10685085"/>
              <a:gd name="connsiteY3-114" fmla="*/ 678410 h 1022049"/>
              <a:gd name="connsiteX4-115" fmla="*/ 1063736 w 10685085"/>
              <a:gd name="connsiteY4-116" fmla="*/ 670939 h 1022049"/>
              <a:gd name="connsiteX5-117" fmla="*/ 533320 w 10685085"/>
              <a:gd name="connsiteY5-118" fmla="*/ 1022049 h 1022049"/>
              <a:gd name="connsiteX6-119" fmla="*/ 0 w 10685085"/>
              <a:gd name="connsiteY6-120" fmla="*/ 684481 h 1022049"/>
              <a:gd name="connsiteX7" fmla="*/ 0 w 10685085"/>
              <a:gd name="connsiteY7" fmla="*/ 0 h 1022049"/>
              <a:gd name="connsiteX0-121" fmla="*/ 0 w 10685085"/>
              <a:gd name="connsiteY0-122" fmla="*/ 0 h 1022049"/>
              <a:gd name="connsiteX1-123" fmla="*/ 10685085 w 10685085"/>
              <a:gd name="connsiteY1-124" fmla="*/ 0 h 1022049"/>
              <a:gd name="connsiteX2-125" fmla="*/ 10685085 w 10685085"/>
              <a:gd name="connsiteY2-126" fmla="*/ 303491 h 1022049"/>
              <a:gd name="connsiteX3-127" fmla="*/ 10222758 w 10685085"/>
              <a:gd name="connsiteY3-128" fmla="*/ 678410 h 1022049"/>
              <a:gd name="connsiteX4-129" fmla="*/ 1063736 w 10685085"/>
              <a:gd name="connsiteY4-130" fmla="*/ 670939 h 1022049"/>
              <a:gd name="connsiteX5-131" fmla="*/ 533320 w 10685085"/>
              <a:gd name="connsiteY5-132" fmla="*/ 1022049 h 1022049"/>
              <a:gd name="connsiteX6-133" fmla="*/ 0 w 10685085"/>
              <a:gd name="connsiteY6-134" fmla="*/ 684481 h 1022049"/>
              <a:gd name="connsiteX7-135" fmla="*/ 0 w 10685085"/>
              <a:gd name="connsiteY7-136" fmla="*/ 0 h 1022049"/>
              <a:gd name="connsiteX0-137" fmla="*/ 0 w 10685085"/>
              <a:gd name="connsiteY0-138" fmla="*/ 0 h 1022049"/>
              <a:gd name="connsiteX1-139" fmla="*/ 10685085 w 10685085"/>
              <a:gd name="connsiteY1-140" fmla="*/ 0 h 1022049"/>
              <a:gd name="connsiteX2-141" fmla="*/ 10685085 w 10685085"/>
              <a:gd name="connsiteY2-142" fmla="*/ 303491 h 1022049"/>
              <a:gd name="connsiteX3-143" fmla="*/ 10222758 w 10685085"/>
              <a:gd name="connsiteY3-144" fmla="*/ 678410 h 1022049"/>
              <a:gd name="connsiteX4-145" fmla="*/ 1063736 w 10685085"/>
              <a:gd name="connsiteY4-146" fmla="*/ 670939 h 1022049"/>
              <a:gd name="connsiteX5-147" fmla="*/ 533320 w 10685085"/>
              <a:gd name="connsiteY5-148" fmla="*/ 1022049 h 1022049"/>
              <a:gd name="connsiteX6-149" fmla="*/ 0 w 10685085"/>
              <a:gd name="connsiteY6-150" fmla="*/ 684481 h 1022049"/>
              <a:gd name="connsiteX7-151" fmla="*/ 0 w 10685085"/>
              <a:gd name="connsiteY7-152" fmla="*/ 0 h 1022049"/>
              <a:gd name="connsiteX0-153" fmla="*/ 0 w 10685085"/>
              <a:gd name="connsiteY0-154" fmla="*/ 0 h 1022049"/>
              <a:gd name="connsiteX1-155" fmla="*/ 10685085 w 10685085"/>
              <a:gd name="connsiteY1-156" fmla="*/ 0 h 1022049"/>
              <a:gd name="connsiteX2-157" fmla="*/ 10685085 w 10685085"/>
              <a:gd name="connsiteY2-158" fmla="*/ 303491 h 1022049"/>
              <a:gd name="connsiteX3-159" fmla="*/ 10222758 w 10685085"/>
              <a:gd name="connsiteY3-160" fmla="*/ 678410 h 1022049"/>
              <a:gd name="connsiteX4-161" fmla="*/ 1063736 w 10685085"/>
              <a:gd name="connsiteY4-162" fmla="*/ 670939 h 1022049"/>
              <a:gd name="connsiteX5-163" fmla="*/ 533320 w 10685085"/>
              <a:gd name="connsiteY5-164" fmla="*/ 1022049 h 1022049"/>
              <a:gd name="connsiteX6-165" fmla="*/ 0 w 10685085"/>
              <a:gd name="connsiteY6-166" fmla="*/ 684481 h 1022049"/>
              <a:gd name="connsiteX7-167" fmla="*/ 0 w 10685085"/>
              <a:gd name="connsiteY7-168" fmla="*/ 0 h 1022049"/>
              <a:gd name="connsiteX0-169" fmla="*/ 0 w 10685085"/>
              <a:gd name="connsiteY0-170" fmla="*/ 0 h 1022049"/>
              <a:gd name="connsiteX1-171" fmla="*/ 10685085 w 10685085"/>
              <a:gd name="connsiteY1-172" fmla="*/ 0 h 1022049"/>
              <a:gd name="connsiteX2-173" fmla="*/ 10685085 w 10685085"/>
              <a:gd name="connsiteY2-174" fmla="*/ 303491 h 1022049"/>
              <a:gd name="connsiteX3-175" fmla="*/ 10222758 w 10685085"/>
              <a:gd name="connsiteY3-176" fmla="*/ 678410 h 1022049"/>
              <a:gd name="connsiteX4-177" fmla="*/ 1063736 w 10685085"/>
              <a:gd name="connsiteY4-178" fmla="*/ 670939 h 1022049"/>
              <a:gd name="connsiteX5-179" fmla="*/ 533320 w 10685085"/>
              <a:gd name="connsiteY5-180" fmla="*/ 1022049 h 1022049"/>
              <a:gd name="connsiteX6-181" fmla="*/ 0 w 10685085"/>
              <a:gd name="connsiteY6-182" fmla="*/ 684481 h 1022049"/>
              <a:gd name="connsiteX7-183" fmla="*/ 0 w 10685085"/>
              <a:gd name="connsiteY7-184" fmla="*/ 0 h 1022049"/>
              <a:gd name="connsiteX0-185" fmla="*/ 0 w 10685085"/>
              <a:gd name="connsiteY0-186" fmla="*/ 0 h 1022049"/>
              <a:gd name="connsiteX1-187" fmla="*/ 10685085 w 10685085"/>
              <a:gd name="connsiteY1-188" fmla="*/ 0 h 1022049"/>
              <a:gd name="connsiteX2-189" fmla="*/ 10685085 w 10685085"/>
              <a:gd name="connsiteY2-190" fmla="*/ 303491 h 1022049"/>
              <a:gd name="connsiteX3-191" fmla="*/ 10222758 w 10685085"/>
              <a:gd name="connsiteY3-192" fmla="*/ 678410 h 1022049"/>
              <a:gd name="connsiteX4-193" fmla="*/ 1063736 w 10685085"/>
              <a:gd name="connsiteY4-194" fmla="*/ 670939 h 1022049"/>
              <a:gd name="connsiteX5-195" fmla="*/ 533320 w 10685085"/>
              <a:gd name="connsiteY5-196" fmla="*/ 1022049 h 1022049"/>
              <a:gd name="connsiteX6-197" fmla="*/ 0 w 10685085"/>
              <a:gd name="connsiteY6-198" fmla="*/ 684481 h 1022049"/>
              <a:gd name="connsiteX7-199" fmla="*/ 0 w 10685085"/>
              <a:gd name="connsiteY7-200" fmla="*/ 0 h 1022049"/>
              <a:gd name="connsiteX0-201" fmla="*/ 0 w 10685085"/>
              <a:gd name="connsiteY0-202" fmla="*/ 0 h 1022049"/>
              <a:gd name="connsiteX1-203" fmla="*/ 10685085 w 10685085"/>
              <a:gd name="connsiteY1-204" fmla="*/ 0 h 1022049"/>
              <a:gd name="connsiteX2-205" fmla="*/ 10685085 w 10685085"/>
              <a:gd name="connsiteY2-206" fmla="*/ 303491 h 1022049"/>
              <a:gd name="connsiteX3-207" fmla="*/ 10222758 w 10685085"/>
              <a:gd name="connsiteY3-208" fmla="*/ 678410 h 1022049"/>
              <a:gd name="connsiteX4-209" fmla="*/ 1063736 w 10685085"/>
              <a:gd name="connsiteY4-210" fmla="*/ 670939 h 1022049"/>
              <a:gd name="connsiteX5-211" fmla="*/ 533320 w 10685085"/>
              <a:gd name="connsiteY5-212" fmla="*/ 1022049 h 1022049"/>
              <a:gd name="connsiteX6-213" fmla="*/ 0 w 10685085"/>
              <a:gd name="connsiteY6-214" fmla="*/ 684481 h 1022049"/>
              <a:gd name="connsiteX7-215" fmla="*/ 0 w 10685085"/>
              <a:gd name="connsiteY7-216" fmla="*/ 0 h 1022049"/>
              <a:gd name="connsiteX0-217" fmla="*/ 0 w 10685085"/>
              <a:gd name="connsiteY0-218" fmla="*/ 0 h 1022049"/>
              <a:gd name="connsiteX1-219" fmla="*/ 10685085 w 10685085"/>
              <a:gd name="connsiteY1-220" fmla="*/ 0 h 1022049"/>
              <a:gd name="connsiteX2-221" fmla="*/ 10685085 w 10685085"/>
              <a:gd name="connsiteY2-222" fmla="*/ 303491 h 1022049"/>
              <a:gd name="connsiteX3-223" fmla="*/ 10222758 w 10685085"/>
              <a:gd name="connsiteY3-224" fmla="*/ 678410 h 1022049"/>
              <a:gd name="connsiteX4-225" fmla="*/ 1157465 w 10685085"/>
              <a:gd name="connsiteY4-226" fmla="*/ 670939 h 1022049"/>
              <a:gd name="connsiteX5-227" fmla="*/ 533320 w 10685085"/>
              <a:gd name="connsiteY5-228" fmla="*/ 1022049 h 1022049"/>
              <a:gd name="connsiteX6-229" fmla="*/ 0 w 10685085"/>
              <a:gd name="connsiteY6-230" fmla="*/ 684481 h 1022049"/>
              <a:gd name="connsiteX7-231" fmla="*/ 0 w 10685085"/>
              <a:gd name="connsiteY7-232" fmla="*/ 0 h 1022049"/>
              <a:gd name="connsiteX0-233" fmla="*/ 0 w 10685085"/>
              <a:gd name="connsiteY0-234" fmla="*/ 0 h 1022049"/>
              <a:gd name="connsiteX1-235" fmla="*/ 10685085 w 10685085"/>
              <a:gd name="connsiteY1-236" fmla="*/ 0 h 1022049"/>
              <a:gd name="connsiteX2-237" fmla="*/ 10685085 w 10685085"/>
              <a:gd name="connsiteY2-238" fmla="*/ 303491 h 1022049"/>
              <a:gd name="connsiteX3-239" fmla="*/ 10222758 w 10685085"/>
              <a:gd name="connsiteY3-240" fmla="*/ 678410 h 1022049"/>
              <a:gd name="connsiteX4-241" fmla="*/ 1157465 w 10685085"/>
              <a:gd name="connsiteY4-242" fmla="*/ 670939 h 1022049"/>
              <a:gd name="connsiteX5-243" fmla="*/ 533320 w 10685085"/>
              <a:gd name="connsiteY5-244" fmla="*/ 1022049 h 1022049"/>
              <a:gd name="connsiteX6-245" fmla="*/ 0 w 10685085"/>
              <a:gd name="connsiteY6-246" fmla="*/ 684481 h 1022049"/>
              <a:gd name="connsiteX7-247" fmla="*/ 0 w 10685085"/>
              <a:gd name="connsiteY7-248" fmla="*/ 0 h 1022049"/>
              <a:gd name="connsiteX0-249" fmla="*/ 0 w 10685085"/>
              <a:gd name="connsiteY0-250" fmla="*/ 0 h 1022049"/>
              <a:gd name="connsiteX1-251" fmla="*/ 10685085 w 10685085"/>
              <a:gd name="connsiteY1-252" fmla="*/ 0 h 1022049"/>
              <a:gd name="connsiteX2-253" fmla="*/ 10685085 w 10685085"/>
              <a:gd name="connsiteY2-254" fmla="*/ 303491 h 1022049"/>
              <a:gd name="connsiteX3-255" fmla="*/ 10222758 w 10685085"/>
              <a:gd name="connsiteY3-256" fmla="*/ 678410 h 1022049"/>
              <a:gd name="connsiteX4-257" fmla="*/ 1157465 w 10685085"/>
              <a:gd name="connsiteY4-258" fmla="*/ 670939 h 1022049"/>
              <a:gd name="connsiteX5-259" fmla="*/ 533320 w 10685085"/>
              <a:gd name="connsiteY5-260" fmla="*/ 1022049 h 1022049"/>
              <a:gd name="connsiteX6-261" fmla="*/ 23183 w 10685085"/>
              <a:gd name="connsiteY6-262" fmla="*/ 684481 h 1022049"/>
              <a:gd name="connsiteX7-263" fmla="*/ 0 w 10685085"/>
              <a:gd name="connsiteY7-264" fmla="*/ 0 h 1022049"/>
              <a:gd name="connsiteX0-265" fmla="*/ 0 w 10673494"/>
              <a:gd name="connsiteY0-266" fmla="*/ 5825 h 1022049"/>
              <a:gd name="connsiteX1-267" fmla="*/ 10673494 w 10673494"/>
              <a:gd name="connsiteY1-268" fmla="*/ 0 h 1022049"/>
              <a:gd name="connsiteX2-269" fmla="*/ 10673494 w 10673494"/>
              <a:gd name="connsiteY2-270" fmla="*/ 303491 h 1022049"/>
              <a:gd name="connsiteX3-271" fmla="*/ 10211167 w 10673494"/>
              <a:gd name="connsiteY3-272" fmla="*/ 678410 h 1022049"/>
              <a:gd name="connsiteX4-273" fmla="*/ 1145874 w 10673494"/>
              <a:gd name="connsiteY4-274" fmla="*/ 670939 h 1022049"/>
              <a:gd name="connsiteX5-275" fmla="*/ 521729 w 10673494"/>
              <a:gd name="connsiteY5-276" fmla="*/ 1022049 h 1022049"/>
              <a:gd name="connsiteX6-277" fmla="*/ 11592 w 10673494"/>
              <a:gd name="connsiteY6-278" fmla="*/ 684481 h 1022049"/>
              <a:gd name="connsiteX7-279" fmla="*/ 0 w 10673494"/>
              <a:gd name="connsiteY7-280" fmla="*/ 5825 h 1022049"/>
              <a:gd name="connsiteX0-281" fmla="*/ 0 w 10673494"/>
              <a:gd name="connsiteY0-282" fmla="*/ 0 h 1045351"/>
              <a:gd name="connsiteX1-283" fmla="*/ 10673494 w 10673494"/>
              <a:gd name="connsiteY1-284" fmla="*/ 23302 h 1045351"/>
              <a:gd name="connsiteX2-285" fmla="*/ 10673494 w 10673494"/>
              <a:gd name="connsiteY2-286" fmla="*/ 326793 h 1045351"/>
              <a:gd name="connsiteX3-287" fmla="*/ 10211167 w 10673494"/>
              <a:gd name="connsiteY3-288" fmla="*/ 701712 h 1045351"/>
              <a:gd name="connsiteX4-289" fmla="*/ 1145874 w 10673494"/>
              <a:gd name="connsiteY4-290" fmla="*/ 694241 h 1045351"/>
              <a:gd name="connsiteX5-291" fmla="*/ 521729 w 10673494"/>
              <a:gd name="connsiteY5-292" fmla="*/ 1045351 h 1045351"/>
              <a:gd name="connsiteX6-293" fmla="*/ 11592 w 10673494"/>
              <a:gd name="connsiteY6-294" fmla="*/ 707783 h 1045351"/>
              <a:gd name="connsiteX7-295" fmla="*/ 0 w 10673494"/>
              <a:gd name="connsiteY7-296" fmla="*/ 0 h 1045351"/>
              <a:gd name="connsiteX0-297" fmla="*/ 0 w 10667698"/>
              <a:gd name="connsiteY0-298" fmla="*/ 0 h 1027875"/>
              <a:gd name="connsiteX1-299" fmla="*/ 10667698 w 10667698"/>
              <a:gd name="connsiteY1-300" fmla="*/ 5826 h 1027875"/>
              <a:gd name="connsiteX2-301" fmla="*/ 10667698 w 10667698"/>
              <a:gd name="connsiteY2-302" fmla="*/ 309317 h 1027875"/>
              <a:gd name="connsiteX3-303" fmla="*/ 10205371 w 10667698"/>
              <a:gd name="connsiteY3-304" fmla="*/ 684236 h 1027875"/>
              <a:gd name="connsiteX4-305" fmla="*/ 1140078 w 10667698"/>
              <a:gd name="connsiteY4-306" fmla="*/ 676765 h 1027875"/>
              <a:gd name="connsiteX5-307" fmla="*/ 515933 w 10667698"/>
              <a:gd name="connsiteY5-308" fmla="*/ 1027875 h 1027875"/>
              <a:gd name="connsiteX6-309" fmla="*/ 5796 w 10667698"/>
              <a:gd name="connsiteY6-310" fmla="*/ 690307 h 1027875"/>
              <a:gd name="connsiteX7-311" fmla="*/ 0 w 10667698"/>
              <a:gd name="connsiteY7-312" fmla="*/ 0 h 1027875"/>
              <a:gd name="connsiteX0-313" fmla="*/ 5796 w 10661902"/>
              <a:gd name="connsiteY0-314" fmla="*/ 0 h 1027875"/>
              <a:gd name="connsiteX1-315" fmla="*/ 10661902 w 10661902"/>
              <a:gd name="connsiteY1-316" fmla="*/ 5826 h 1027875"/>
              <a:gd name="connsiteX2-317" fmla="*/ 10661902 w 10661902"/>
              <a:gd name="connsiteY2-318" fmla="*/ 309317 h 1027875"/>
              <a:gd name="connsiteX3-319" fmla="*/ 10199575 w 10661902"/>
              <a:gd name="connsiteY3-320" fmla="*/ 684236 h 1027875"/>
              <a:gd name="connsiteX4-321" fmla="*/ 1134282 w 10661902"/>
              <a:gd name="connsiteY4-322" fmla="*/ 676765 h 1027875"/>
              <a:gd name="connsiteX5-323" fmla="*/ 510137 w 10661902"/>
              <a:gd name="connsiteY5-324" fmla="*/ 1027875 h 1027875"/>
              <a:gd name="connsiteX6-325" fmla="*/ 0 w 10661902"/>
              <a:gd name="connsiteY6-326" fmla="*/ 690307 h 1027875"/>
              <a:gd name="connsiteX7-327" fmla="*/ 5796 w 10661902"/>
              <a:gd name="connsiteY7-328" fmla="*/ 0 h 1027875"/>
              <a:gd name="connsiteX0-329" fmla="*/ 1 w 10661902"/>
              <a:gd name="connsiteY0-330" fmla="*/ 0 h 1027875"/>
              <a:gd name="connsiteX1-331" fmla="*/ 10661902 w 10661902"/>
              <a:gd name="connsiteY1-332" fmla="*/ 5826 h 1027875"/>
              <a:gd name="connsiteX2-333" fmla="*/ 10661902 w 10661902"/>
              <a:gd name="connsiteY2-334" fmla="*/ 309317 h 1027875"/>
              <a:gd name="connsiteX3-335" fmla="*/ 10199575 w 10661902"/>
              <a:gd name="connsiteY3-336" fmla="*/ 684236 h 1027875"/>
              <a:gd name="connsiteX4-337" fmla="*/ 1134282 w 10661902"/>
              <a:gd name="connsiteY4-338" fmla="*/ 676765 h 1027875"/>
              <a:gd name="connsiteX5-339" fmla="*/ 510137 w 10661902"/>
              <a:gd name="connsiteY5-340" fmla="*/ 1027875 h 1027875"/>
              <a:gd name="connsiteX6-341" fmla="*/ 0 w 10661902"/>
              <a:gd name="connsiteY6-342" fmla="*/ 690307 h 1027875"/>
              <a:gd name="connsiteX7-343" fmla="*/ 1 w 10661902"/>
              <a:gd name="connsiteY7-344" fmla="*/ 0 h 1027875"/>
              <a:gd name="connsiteX0-345" fmla="*/ 1 w 10661902"/>
              <a:gd name="connsiteY0-346" fmla="*/ 0 h 1027875"/>
              <a:gd name="connsiteX1-347" fmla="*/ 10661902 w 10661902"/>
              <a:gd name="connsiteY1-348" fmla="*/ 5826 h 1027875"/>
              <a:gd name="connsiteX2-349" fmla="*/ 10661902 w 10661902"/>
              <a:gd name="connsiteY2-350" fmla="*/ 309317 h 1027875"/>
              <a:gd name="connsiteX3-351" fmla="*/ 10199575 w 10661902"/>
              <a:gd name="connsiteY3-352" fmla="*/ 684236 h 1027875"/>
              <a:gd name="connsiteX4-353" fmla="*/ 1134282 w 10661902"/>
              <a:gd name="connsiteY4-354" fmla="*/ 676765 h 1027875"/>
              <a:gd name="connsiteX5-355" fmla="*/ 560676 w 10661902"/>
              <a:gd name="connsiteY5-356" fmla="*/ 1027875 h 1027875"/>
              <a:gd name="connsiteX6-357" fmla="*/ 0 w 10661902"/>
              <a:gd name="connsiteY6-358" fmla="*/ 690307 h 1027875"/>
              <a:gd name="connsiteX7-359" fmla="*/ 1 w 10661902"/>
              <a:gd name="connsiteY7-360" fmla="*/ 0 h 1027875"/>
              <a:gd name="connsiteX0-361" fmla="*/ 1 w 10661902"/>
              <a:gd name="connsiteY0-362" fmla="*/ 0 h 1027875"/>
              <a:gd name="connsiteX1-363" fmla="*/ 10661902 w 10661902"/>
              <a:gd name="connsiteY1-364" fmla="*/ 5826 h 1027875"/>
              <a:gd name="connsiteX2-365" fmla="*/ 10661902 w 10661902"/>
              <a:gd name="connsiteY2-366" fmla="*/ 309317 h 1027875"/>
              <a:gd name="connsiteX3-367" fmla="*/ 10199575 w 10661902"/>
              <a:gd name="connsiteY3-368" fmla="*/ 684236 h 1027875"/>
              <a:gd name="connsiteX4-369" fmla="*/ 1137441 w 10661902"/>
              <a:gd name="connsiteY4-370" fmla="*/ 689465 h 1027875"/>
              <a:gd name="connsiteX5-371" fmla="*/ 560676 w 10661902"/>
              <a:gd name="connsiteY5-372" fmla="*/ 1027875 h 1027875"/>
              <a:gd name="connsiteX6-373" fmla="*/ 0 w 10661902"/>
              <a:gd name="connsiteY6-374" fmla="*/ 690307 h 1027875"/>
              <a:gd name="connsiteX7-375" fmla="*/ 1 w 10661902"/>
              <a:gd name="connsiteY7-376" fmla="*/ 0 h 1027875"/>
              <a:gd name="connsiteX0-377" fmla="*/ 1 w 10661902"/>
              <a:gd name="connsiteY0-378" fmla="*/ 0 h 1027875"/>
              <a:gd name="connsiteX1-379" fmla="*/ 10661902 w 10661902"/>
              <a:gd name="connsiteY1-380" fmla="*/ 5826 h 1027875"/>
              <a:gd name="connsiteX2-381" fmla="*/ 10661902 w 10661902"/>
              <a:gd name="connsiteY2-382" fmla="*/ 309317 h 1027875"/>
              <a:gd name="connsiteX3-383" fmla="*/ 10199575 w 10661902"/>
              <a:gd name="connsiteY3-384" fmla="*/ 684236 h 1027875"/>
              <a:gd name="connsiteX4-385" fmla="*/ 1143758 w 10661902"/>
              <a:gd name="connsiteY4-386" fmla="*/ 629140 h 1027875"/>
              <a:gd name="connsiteX5-387" fmla="*/ 560676 w 10661902"/>
              <a:gd name="connsiteY5-388" fmla="*/ 1027875 h 1027875"/>
              <a:gd name="connsiteX6-389" fmla="*/ 0 w 10661902"/>
              <a:gd name="connsiteY6-390" fmla="*/ 690307 h 1027875"/>
              <a:gd name="connsiteX7-391" fmla="*/ 1 w 10661902"/>
              <a:gd name="connsiteY7-392" fmla="*/ 0 h 1027875"/>
              <a:gd name="connsiteX0-393" fmla="*/ 1 w 10661902"/>
              <a:gd name="connsiteY0-394" fmla="*/ 0 h 1027875"/>
              <a:gd name="connsiteX1-395" fmla="*/ 10661902 w 10661902"/>
              <a:gd name="connsiteY1-396" fmla="*/ 5826 h 1027875"/>
              <a:gd name="connsiteX2-397" fmla="*/ 10661902 w 10661902"/>
              <a:gd name="connsiteY2-398" fmla="*/ 309317 h 1027875"/>
              <a:gd name="connsiteX3-399" fmla="*/ 10199575 w 10661902"/>
              <a:gd name="connsiteY3-400" fmla="*/ 684236 h 1027875"/>
              <a:gd name="connsiteX4-401" fmla="*/ 1140599 w 10661902"/>
              <a:gd name="connsiteY4-402" fmla="*/ 686290 h 1027875"/>
              <a:gd name="connsiteX5-403" fmla="*/ 560676 w 10661902"/>
              <a:gd name="connsiteY5-404" fmla="*/ 1027875 h 1027875"/>
              <a:gd name="connsiteX6-405" fmla="*/ 0 w 10661902"/>
              <a:gd name="connsiteY6-406" fmla="*/ 690307 h 1027875"/>
              <a:gd name="connsiteX7-407" fmla="*/ 1 w 10661902"/>
              <a:gd name="connsiteY7-408" fmla="*/ 0 h 1027875"/>
              <a:gd name="connsiteX0-409" fmla="*/ 1 w 10661902"/>
              <a:gd name="connsiteY0-410" fmla="*/ 0 h 1027875"/>
              <a:gd name="connsiteX1-411" fmla="*/ 10661902 w 10661902"/>
              <a:gd name="connsiteY1-412" fmla="*/ 5826 h 1027875"/>
              <a:gd name="connsiteX2-413" fmla="*/ 10661902 w 10661902"/>
              <a:gd name="connsiteY2-414" fmla="*/ 309317 h 1027875"/>
              <a:gd name="connsiteX3-415" fmla="*/ 10199575 w 10661902"/>
              <a:gd name="connsiteY3-416" fmla="*/ 684236 h 1027875"/>
              <a:gd name="connsiteX4-417" fmla="*/ 1140599 w 10661902"/>
              <a:gd name="connsiteY4-418" fmla="*/ 686290 h 1027875"/>
              <a:gd name="connsiteX5-419" fmla="*/ 560676 w 10661902"/>
              <a:gd name="connsiteY5-420" fmla="*/ 1027875 h 1027875"/>
              <a:gd name="connsiteX6-421" fmla="*/ 0 w 10661902"/>
              <a:gd name="connsiteY6-422" fmla="*/ 690307 h 1027875"/>
              <a:gd name="connsiteX7-423" fmla="*/ 1 w 10661902"/>
              <a:gd name="connsiteY7-424" fmla="*/ 0 h 1027875"/>
              <a:gd name="connsiteX0-425" fmla="*/ 1 w 10661902"/>
              <a:gd name="connsiteY0-426" fmla="*/ 0 h 1027875"/>
              <a:gd name="connsiteX1-427" fmla="*/ 10661902 w 10661902"/>
              <a:gd name="connsiteY1-428" fmla="*/ 5826 h 1027875"/>
              <a:gd name="connsiteX2-429" fmla="*/ 10661902 w 10661902"/>
              <a:gd name="connsiteY2-430" fmla="*/ 309317 h 1027875"/>
              <a:gd name="connsiteX3-431" fmla="*/ 10199575 w 10661902"/>
              <a:gd name="connsiteY3-432" fmla="*/ 684236 h 1027875"/>
              <a:gd name="connsiteX4-433" fmla="*/ 1140599 w 10661902"/>
              <a:gd name="connsiteY4-434" fmla="*/ 686290 h 1027875"/>
              <a:gd name="connsiteX5-435" fmla="*/ 560676 w 10661902"/>
              <a:gd name="connsiteY5-436" fmla="*/ 1027875 h 1027875"/>
              <a:gd name="connsiteX6-437" fmla="*/ 0 w 10661902"/>
              <a:gd name="connsiteY6-438" fmla="*/ 690307 h 1027875"/>
              <a:gd name="connsiteX7-439" fmla="*/ 1 w 10661902"/>
              <a:gd name="connsiteY7-440" fmla="*/ 0 h 1027875"/>
              <a:gd name="connsiteX0-441" fmla="*/ 1 w 10661902"/>
              <a:gd name="connsiteY0-442" fmla="*/ 0 h 1027875"/>
              <a:gd name="connsiteX1-443" fmla="*/ 10661902 w 10661902"/>
              <a:gd name="connsiteY1-444" fmla="*/ 5826 h 1027875"/>
              <a:gd name="connsiteX2-445" fmla="*/ 10661902 w 10661902"/>
              <a:gd name="connsiteY2-446" fmla="*/ 309317 h 1027875"/>
              <a:gd name="connsiteX3-447" fmla="*/ 10199575 w 10661902"/>
              <a:gd name="connsiteY3-448" fmla="*/ 684236 h 1027875"/>
              <a:gd name="connsiteX4-449" fmla="*/ 1140599 w 10661902"/>
              <a:gd name="connsiteY4-450" fmla="*/ 686290 h 1027875"/>
              <a:gd name="connsiteX5-451" fmla="*/ 560676 w 10661902"/>
              <a:gd name="connsiteY5-452" fmla="*/ 1027875 h 1027875"/>
              <a:gd name="connsiteX6-453" fmla="*/ 0 w 10661902"/>
              <a:gd name="connsiteY6-454" fmla="*/ 690307 h 1027875"/>
              <a:gd name="connsiteX7-455" fmla="*/ 1 w 10661902"/>
              <a:gd name="connsiteY7-456" fmla="*/ 0 h 1027875"/>
              <a:gd name="connsiteX0-457" fmla="*/ 1 w 10661902"/>
              <a:gd name="connsiteY0-458" fmla="*/ 0 h 1027875"/>
              <a:gd name="connsiteX1-459" fmla="*/ 10661902 w 10661902"/>
              <a:gd name="connsiteY1-460" fmla="*/ 5826 h 1027875"/>
              <a:gd name="connsiteX2-461" fmla="*/ 10661902 w 10661902"/>
              <a:gd name="connsiteY2-462" fmla="*/ 309317 h 1027875"/>
              <a:gd name="connsiteX3-463" fmla="*/ 10199575 w 10661902"/>
              <a:gd name="connsiteY3-464" fmla="*/ 684236 h 1027875"/>
              <a:gd name="connsiteX4-465" fmla="*/ 1140599 w 10661902"/>
              <a:gd name="connsiteY4-466" fmla="*/ 686290 h 1027875"/>
              <a:gd name="connsiteX5-467" fmla="*/ 560676 w 10661902"/>
              <a:gd name="connsiteY5-468" fmla="*/ 1027875 h 1027875"/>
              <a:gd name="connsiteX6-469" fmla="*/ 0 w 10661902"/>
              <a:gd name="connsiteY6-470" fmla="*/ 690307 h 1027875"/>
              <a:gd name="connsiteX7-471" fmla="*/ 1 w 10661902"/>
              <a:gd name="connsiteY7-472" fmla="*/ 0 h 1027875"/>
              <a:gd name="connsiteX0-473" fmla="*/ 0 w 10661901"/>
              <a:gd name="connsiteY0-474" fmla="*/ 0 h 1027875"/>
              <a:gd name="connsiteX1-475" fmla="*/ 10661901 w 10661901"/>
              <a:gd name="connsiteY1-476" fmla="*/ 5826 h 1027875"/>
              <a:gd name="connsiteX2-477" fmla="*/ 10661901 w 10661901"/>
              <a:gd name="connsiteY2-478" fmla="*/ 309317 h 1027875"/>
              <a:gd name="connsiteX3-479" fmla="*/ 10199574 w 10661901"/>
              <a:gd name="connsiteY3-480" fmla="*/ 684236 h 1027875"/>
              <a:gd name="connsiteX4-481" fmla="*/ 1140598 w 10661901"/>
              <a:gd name="connsiteY4-482" fmla="*/ 686290 h 1027875"/>
              <a:gd name="connsiteX5-483" fmla="*/ 560675 w 10661901"/>
              <a:gd name="connsiteY5-484" fmla="*/ 1027875 h 1027875"/>
              <a:gd name="connsiteX6-485" fmla="*/ 3158 w 10661901"/>
              <a:gd name="connsiteY6-486" fmla="*/ 674432 h 1027875"/>
              <a:gd name="connsiteX7-487" fmla="*/ 0 w 10661901"/>
              <a:gd name="connsiteY7-488" fmla="*/ 0 h 1027875"/>
              <a:gd name="connsiteX0-489" fmla="*/ 0 w 10661901"/>
              <a:gd name="connsiteY0-490" fmla="*/ 0 h 1027875"/>
              <a:gd name="connsiteX1-491" fmla="*/ 10661901 w 10661901"/>
              <a:gd name="connsiteY1-492" fmla="*/ 5826 h 1027875"/>
              <a:gd name="connsiteX2-493" fmla="*/ 10661901 w 10661901"/>
              <a:gd name="connsiteY2-494" fmla="*/ 309317 h 1027875"/>
              <a:gd name="connsiteX3-495" fmla="*/ 10199574 w 10661901"/>
              <a:gd name="connsiteY3-496" fmla="*/ 684236 h 1027875"/>
              <a:gd name="connsiteX4-497" fmla="*/ 1140598 w 10661901"/>
              <a:gd name="connsiteY4-498" fmla="*/ 686290 h 1027875"/>
              <a:gd name="connsiteX5-499" fmla="*/ 560675 w 10661901"/>
              <a:gd name="connsiteY5-500" fmla="*/ 1027875 h 1027875"/>
              <a:gd name="connsiteX6-501" fmla="*/ 3158 w 10661901"/>
              <a:gd name="connsiteY6-502" fmla="*/ 683957 h 1027875"/>
              <a:gd name="connsiteX7-503" fmla="*/ 0 w 10661901"/>
              <a:gd name="connsiteY7-504" fmla="*/ 0 h 1027875"/>
              <a:gd name="connsiteX0-505" fmla="*/ 0 w 10710088"/>
              <a:gd name="connsiteY0-506" fmla="*/ 0 h 1027875"/>
              <a:gd name="connsiteX1-507" fmla="*/ 10661901 w 10710088"/>
              <a:gd name="connsiteY1-508" fmla="*/ 5826 h 1027875"/>
              <a:gd name="connsiteX2-509" fmla="*/ 10661901 w 10710088"/>
              <a:gd name="connsiteY2-510" fmla="*/ 309317 h 1027875"/>
              <a:gd name="connsiteX3-511" fmla="*/ 10668871 w 10710088"/>
              <a:gd name="connsiteY3-512" fmla="*/ 684236 h 1027875"/>
              <a:gd name="connsiteX4-513" fmla="*/ 1140598 w 10710088"/>
              <a:gd name="connsiteY4-514" fmla="*/ 686290 h 1027875"/>
              <a:gd name="connsiteX5-515" fmla="*/ 560675 w 10710088"/>
              <a:gd name="connsiteY5-516" fmla="*/ 1027875 h 1027875"/>
              <a:gd name="connsiteX6-517" fmla="*/ 3158 w 10710088"/>
              <a:gd name="connsiteY6-518" fmla="*/ 683957 h 1027875"/>
              <a:gd name="connsiteX7-519" fmla="*/ 0 w 10710088"/>
              <a:gd name="connsiteY7-520" fmla="*/ 0 h 1027875"/>
              <a:gd name="connsiteX0-521" fmla="*/ 0 w 10668871"/>
              <a:gd name="connsiteY0-522" fmla="*/ 0 h 1027875"/>
              <a:gd name="connsiteX1-523" fmla="*/ 10661901 w 10668871"/>
              <a:gd name="connsiteY1-524" fmla="*/ 5826 h 1027875"/>
              <a:gd name="connsiteX2-525" fmla="*/ 10668871 w 10668871"/>
              <a:gd name="connsiteY2-526" fmla="*/ 684236 h 1027875"/>
              <a:gd name="connsiteX3-527" fmla="*/ 1140598 w 10668871"/>
              <a:gd name="connsiteY3-528" fmla="*/ 686290 h 1027875"/>
              <a:gd name="connsiteX4-529" fmla="*/ 560675 w 10668871"/>
              <a:gd name="connsiteY4-530" fmla="*/ 1027875 h 1027875"/>
              <a:gd name="connsiteX5-531" fmla="*/ 3158 w 10668871"/>
              <a:gd name="connsiteY5-532" fmla="*/ 683957 h 1027875"/>
              <a:gd name="connsiteX6-533" fmla="*/ 0 w 10668871"/>
              <a:gd name="connsiteY6-534" fmla="*/ 0 h 1027875"/>
              <a:gd name="connsiteX0-535" fmla="*/ 0 w 10662015"/>
              <a:gd name="connsiteY0-536" fmla="*/ 0 h 1027875"/>
              <a:gd name="connsiteX1-537" fmla="*/ 10661901 w 10662015"/>
              <a:gd name="connsiteY1-538" fmla="*/ 5826 h 1027875"/>
              <a:gd name="connsiteX2-539" fmla="*/ 10632772 w 10662015"/>
              <a:gd name="connsiteY2-540" fmla="*/ 684236 h 1027875"/>
              <a:gd name="connsiteX3-541" fmla="*/ 1140598 w 10662015"/>
              <a:gd name="connsiteY3-542" fmla="*/ 686290 h 1027875"/>
              <a:gd name="connsiteX4-543" fmla="*/ 560675 w 10662015"/>
              <a:gd name="connsiteY4-544" fmla="*/ 1027875 h 1027875"/>
              <a:gd name="connsiteX5-545" fmla="*/ 3158 w 10662015"/>
              <a:gd name="connsiteY5-546" fmla="*/ 683957 h 1027875"/>
              <a:gd name="connsiteX6-547" fmla="*/ 0 w 10662015"/>
              <a:gd name="connsiteY6-548" fmla="*/ 0 h 1027875"/>
              <a:gd name="connsiteX0-549" fmla="*/ 0 w 10632772"/>
              <a:gd name="connsiteY0-550" fmla="*/ 0 h 1027875"/>
              <a:gd name="connsiteX1-551" fmla="*/ 10616776 w 10632772"/>
              <a:gd name="connsiteY1-552" fmla="*/ 559150 h 1027875"/>
              <a:gd name="connsiteX2-553" fmla="*/ 10632772 w 10632772"/>
              <a:gd name="connsiteY2-554" fmla="*/ 684236 h 1027875"/>
              <a:gd name="connsiteX3-555" fmla="*/ 1140598 w 10632772"/>
              <a:gd name="connsiteY3-556" fmla="*/ 686290 h 1027875"/>
              <a:gd name="connsiteX4-557" fmla="*/ 560675 w 10632772"/>
              <a:gd name="connsiteY4-558" fmla="*/ 1027875 h 1027875"/>
              <a:gd name="connsiteX5-559" fmla="*/ 3158 w 10632772"/>
              <a:gd name="connsiteY5-560" fmla="*/ 683957 h 1027875"/>
              <a:gd name="connsiteX6-561" fmla="*/ 0 w 10632772"/>
              <a:gd name="connsiteY6-562" fmla="*/ 0 h 1027875"/>
              <a:gd name="connsiteX0-563" fmla="*/ 5867 w 10629614"/>
              <a:gd name="connsiteY0-564" fmla="*/ 12316 h 468725"/>
              <a:gd name="connsiteX1-565" fmla="*/ 10613618 w 10629614"/>
              <a:gd name="connsiteY1-566" fmla="*/ 0 h 468725"/>
              <a:gd name="connsiteX2-567" fmla="*/ 10629614 w 10629614"/>
              <a:gd name="connsiteY2-568" fmla="*/ 125086 h 468725"/>
              <a:gd name="connsiteX3-569" fmla="*/ 1137440 w 10629614"/>
              <a:gd name="connsiteY3-570" fmla="*/ 127140 h 468725"/>
              <a:gd name="connsiteX4-571" fmla="*/ 557517 w 10629614"/>
              <a:gd name="connsiteY4-572" fmla="*/ 468725 h 468725"/>
              <a:gd name="connsiteX5-573" fmla="*/ 0 w 10629614"/>
              <a:gd name="connsiteY5-574" fmla="*/ 124807 h 468725"/>
              <a:gd name="connsiteX6-575" fmla="*/ 5867 w 10629614"/>
              <a:gd name="connsiteY6-576" fmla="*/ 12316 h 468725"/>
              <a:gd name="connsiteX0-577" fmla="*/ 0 w 10636382"/>
              <a:gd name="connsiteY0-578" fmla="*/ 12316 h 468725"/>
              <a:gd name="connsiteX1-579" fmla="*/ 10620386 w 10636382"/>
              <a:gd name="connsiteY1-580" fmla="*/ 0 h 468725"/>
              <a:gd name="connsiteX2-581" fmla="*/ 10636382 w 10636382"/>
              <a:gd name="connsiteY2-582" fmla="*/ 125086 h 468725"/>
              <a:gd name="connsiteX3-583" fmla="*/ 1144208 w 10636382"/>
              <a:gd name="connsiteY3-584" fmla="*/ 127140 h 468725"/>
              <a:gd name="connsiteX4-585" fmla="*/ 564285 w 10636382"/>
              <a:gd name="connsiteY4-586" fmla="*/ 468725 h 468725"/>
              <a:gd name="connsiteX5-587" fmla="*/ 6768 w 10636382"/>
              <a:gd name="connsiteY5-588" fmla="*/ 124807 h 468725"/>
              <a:gd name="connsiteX6-589" fmla="*/ 0 w 10636382"/>
              <a:gd name="connsiteY6-590" fmla="*/ 12316 h 468725"/>
              <a:gd name="connsiteX0-591" fmla="*/ 239608 w 10629614"/>
              <a:gd name="connsiteY0-592" fmla="*/ 21841 h 468725"/>
              <a:gd name="connsiteX1-593" fmla="*/ 10613618 w 10629614"/>
              <a:gd name="connsiteY1-594" fmla="*/ 0 h 468725"/>
              <a:gd name="connsiteX2-595" fmla="*/ 10629614 w 10629614"/>
              <a:gd name="connsiteY2-596" fmla="*/ 125086 h 468725"/>
              <a:gd name="connsiteX3-597" fmla="*/ 1137440 w 10629614"/>
              <a:gd name="connsiteY3-598" fmla="*/ 127140 h 468725"/>
              <a:gd name="connsiteX4-599" fmla="*/ 557517 w 10629614"/>
              <a:gd name="connsiteY4-600" fmla="*/ 468725 h 468725"/>
              <a:gd name="connsiteX5-601" fmla="*/ 0 w 10629614"/>
              <a:gd name="connsiteY5-602" fmla="*/ 124807 h 468725"/>
              <a:gd name="connsiteX6-603" fmla="*/ 239608 w 10629614"/>
              <a:gd name="connsiteY6-604" fmla="*/ 21841 h 468725"/>
              <a:gd name="connsiteX0-605" fmla="*/ 239608 w 10629614"/>
              <a:gd name="connsiteY0-606" fmla="*/ 21841 h 468725"/>
              <a:gd name="connsiteX1-607" fmla="*/ 10613618 w 10629614"/>
              <a:gd name="connsiteY1-608" fmla="*/ 0 h 468725"/>
              <a:gd name="connsiteX2-609" fmla="*/ 10629614 w 10629614"/>
              <a:gd name="connsiteY2-610" fmla="*/ 125086 h 468725"/>
              <a:gd name="connsiteX3-611" fmla="*/ 1137440 w 10629614"/>
              <a:gd name="connsiteY3-612" fmla="*/ 127140 h 468725"/>
              <a:gd name="connsiteX4-613" fmla="*/ 557517 w 10629614"/>
              <a:gd name="connsiteY4-614" fmla="*/ 468725 h 468725"/>
              <a:gd name="connsiteX5-615" fmla="*/ 0 w 10629614"/>
              <a:gd name="connsiteY5-616" fmla="*/ 124807 h 468725"/>
              <a:gd name="connsiteX6-617" fmla="*/ 239608 w 10629614"/>
              <a:gd name="connsiteY6-618" fmla="*/ 21841 h 468725"/>
              <a:gd name="connsiteX0-619" fmla="*/ 0 w 10630065"/>
              <a:gd name="connsiteY0-620" fmla="*/ 2791 h 468725"/>
              <a:gd name="connsiteX1-621" fmla="*/ 10614069 w 10630065"/>
              <a:gd name="connsiteY1-622" fmla="*/ 0 h 468725"/>
              <a:gd name="connsiteX2-623" fmla="*/ 10630065 w 10630065"/>
              <a:gd name="connsiteY2-624" fmla="*/ 125086 h 468725"/>
              <a:gd name="connsiteX3-625" fmla="*/ 1137891 w 10630065"/>
              <a:gd name="connsiteY3-626" fmla="*/ 127140 h 468725"/>
              <a:gd name="connsiteX4-627" fmla="*/ 557968 w 10630065"/>
              <a:gd name="connsiteY4-628" fmla="*/ 468725 h 468725"/>
              <a:gd name="connsiteX5-629" fmla="*/ 451 w 10630065"/>
              <a:gd name="connsiteY5-630" fmla="*/ 124807 h 468725"/>
              <a:gd name="connsiteX6-631" fmla="*/ 0 w 10630065"/>
              <a:gd name="connsiteY6-632" fmla="*/ 2791 h 468725"/>
              <a:gd name="connsiteX0-633" fmla="*/ 0 w 10630065"/>
              <a:gd name="connsiteY0-634" fmla="*/ 2791 h 468725"/>
              <a:gd name="connsiteX1-635" fmla="*/ 10614069 w 10630065"/>
              <a:gd name="connsiteY1-636" fmla="*/ 0 h 468725"/>
              <a:gd name="connsiteX2-637" fmla="*/ 10630065 w 10630065"/>
              <a:gd name="connsiteY2-638" fmla="*/ 125086 h 468725"/>
              <a:gd name="connsiteX3-639" fmla="*/ 1137891 w 10630065"/>
              <a:gd name="connsiteY3-640" fmla="*/ 127140 h 468725"/>
              <a:gd name="connsiteX4-641" fmla="*/ 557968 w 10630065"/>
              <a:gd name="connsiteY4-642" fmla="*/ 468725 h 468725"/>
              <a:gd name="connsiteX5-643" fmla="*/ 451 w 10630065"/>
              <a:gd name="connsiteY5-644" fmla="*/ 124807 h 468725"/>
              <a:gd name="connsiteX6-645" fmla="*/ 0 w 10630065"/>
              <a:gd name="connsiteY6-646" fmla="*/ 2791 h 468725"/>
              <a:gd name="connsiteX0-647" fmla="*/ 0 w 10630556"/>
              <a:gd name="connsiteY0-648" fmla="*/ 2791 h 468725"/>
              <a:gd name="connsiteX1-649" fmla="*/ 10629862 w 10630556"/>
              <a:gd name="connsiteY1-650" fmla="*/ 0 h 468725"/>
              <a:gd name="connsiteX2-651" fmla="*/ 10630065 w 10630556"/>
              <a:gd name="connsiteY2-652" fmla="*/ 125086 h 468725"/>
              <a:gd name="connsiteX3-653" fmla="*/ 1137891 w 10630556"/>
              <a:gd name="connsiteY3-654" fmla="*/ 127140 h 468725"/>
              <a:gd name="connsiteX4-655" fmla="*/ 557968 w 10630556"/>
              <a:gd name="connsiteY4-656" fmla="*/ 468725 h 468725"/>
              <a:gd name="connsiteX5-657" fmla="*/ 451 w 10630556"/>
              <a:gd name="connsiteY5-658" fmla="*/ 124807 h 468725"/>
              <a:gd name="connsiteX6-659" fmla="*/ 0 w 10630556"/>
              <a:gd name="connsiteY6-660" fmla="*/ 2791 h 468725"/>
              <a:gd name="connsiteX0-661" fmla="*/ 0 w 10630556"/>
              <a:gd name="connsiteY0-662" fmla="*/ 2791 h 468725"/>
              <a:gd name="connsiteX1-663" fmla="*/ 10629862 w 10630556"/>
              <a:gd name="connsiteY1-664" fmla="*/ 0 h 468725"/>
              <a:gd name="connsiteX2-665" fmla="*/ 10630065 w 10630556"/>
              <a:gd name="connsiteY2-666" fmla="*/ 125086 h 468725"/>
              <a:gd name="connsiteX3-667" fmla="*/ 1137891 w 10630556"/>
              <a:gd name="connsiteY3-668" fmla="*/ 127140 h 468725"/>
              <a:gd name="connsiteX4-669" fmla="*/ 557968 w 10630556"/>
              <a:gd name="connsiteY4-670" fmla="*/ 468725 h 468725"/>
              <a:gd name="connsiteX5-671" fmla="*/ 75946 w 10630556"/>
              <a:gd name="connsiteY5-672" fmla="*/ 125867 h 468725"/>
              <a:gd name="connsiteX6-673" fmla="*/ 451 w 10630556"/>
              <a:gd name="connsiteY6-674" fmla="*/ 124807 h 468725"/>
              <a:gd name="connsiteX7-675" fmla="*/ 0 w 10630556"/>
              <a:gd name="connsiteY7-676" fmla="*/ 2791 h 468725"/>
              <a:gd name="connsiteX0-677" fmla="*/ 0 w 10630556"/>
              <a:gd name="connsiteY0-678" fmla="*/ 2791 h 468725"/>
              <a:gd name="connsiteX1-679" fmla="*/ 10629862 w 10630556"/>
              <a:gd name="connsiteY1-680" fmla="*/ 0 h 468725"/>
              <a:gd name="connsiteX2-681" fmla="*/ 10630065 w 10630556"/>
              <a:gd name="connsiteY2-682" fmla="*/ 125086 h 468725"/>
              <a:gd name="connsiteX3-683" fmla="*/ 1137891 w 10630556"/>
              <a:gd name="connsiteY3-684" fmla="*/ 127140 h 468725"/>
              <a:gd name="connsiteX4-685" fmla="*/ 557968 w 10630556"/>
              <a:gd name="connsiteY4-686" fmla="*/ 468725 h 468725"/>
              <a:gd name="connsiteX5-687" fmla="*/ 75946 w 10630556"/>
              <a:gd name="connsiteY5-688" fmla="*/ 125867 h 468725"/>
              <a:gd name="connsiteX6-689" fmla="*/ 451 w 10630556"/>
              <a:gd name="connsiteY6-690" fmla="*/ 124807 h 468725"/>
              <a:gd name="connsiteX7-691" fmla="*/ 0 w 10630556"/>
              <a:gd name="connsiteY7-692" fmla="*/ 2791 h 468725"/>
              <a:gd name="connsiteX0-693" fmla="*/ 0 w 10630556"/>
              <a:gd name="connsiteY0-694" fmla="*/ 2791 h 468725"/>
              <a:gd name="connsiteX1-695" fmla="*/ 10629862 w 10630556"/>
              <a:gd name="connsiteY1-696" fmla="*/ 0 h 468725"/>
              <a:gd name="connsiteX2-697" fmla="*/ 10630065 w 10630556"/>
              <a:gd name="connsiteY2-698" fmla="*/ 125086 h 468725"/>
              <a:gd name="connsiteX3-699" fmla="*/ 1137891 w 10630556"/>
              <a:gd name="connsiteY3-700" fmla="*/ 127140 h 468725"/>
              <a:gd name="connsiteX4-701" fmla="*/ 557968 w 10630556"/>
              <a:gd name="connsiteY4-702" fmla="*/ 468725 h 468725"/>
              <a:gd name="connsiteX5-703" fmla="*/ 75946 w 10630556"/>
              <a:gd name="connsiteY5-704" fmla="*/ 125867 h 468725"/>
              <a:gd name="connsiteX6-705" fmla="*/ 451 w 10630556"/>
              <a:gd name="connsiteY6-706" fmla="*/ 124807 h 468725"/>
              <a:gd name="connsiteX7-707" fmla="*/ 0 w 10630556"/>
              <a:gd name="connsiteY7-708" fmla="*/ 2791 h 468725"/>
              <a:gd name="connsiteX0-709" fmla="*/ 782750 w 11413306"/>
              <a:gd name="connsiteY0-710" fmla="*/ 2791 h 468725"/>
              <a:gd name="connsiteX1-711" fmla="*/ 11412612 w 11413306"/>
              <a:gd name="connsiteY1-712" fmla="*/ 0 h 468725"/>
              <a:gd name="connsiteX2-713" fmla="*/ 11412815 w 11413306"/>
              <a:gd name="connsiteY2-714" fmla="*/ 125086 h 468725"/>
              <a:gd name="connsiteX3-715" fmla="*/ 1920641 w 11413306"/>
              <a:gd name="connsiteY3-716" fmla="*/ 127140 h 468725"/>
              <a:gd name="connsiteX4-717" fmla="*/ 1340718 w 11413306"/>
              <a:gd name="connsiteY4-718" fmla="*/ 468725 h 468725"/>
              <a:gd name="connsiteX5-719" fmla="*/ 858696 w 11413306"/>
              <a:gd name="connsiteY5-720" fmla="*/ 125867 h 468725"/>
              <a:gd name="connsiteX6-721" fmla="*/ 782750 w 11413306"/>
              <a:gd name="connsiteY6-722" fmla="*/ 2791 h 468725"/>
              <a:gd name="connsiteX0-723" fmla="*/ 802813 w 11357561"/>
              <a:gd name="connsiteY0-724" fmla="*/ 2791 h 468725"/>
              <a:gd name="connsiteX1-725" fmla="*/ 11356867 w 11357561"/>
              <a:gd name="connsiteY1-726" fmla="*/ 0 h 468725"/>
              <a:gd name="connsiteX2-727" fmla="*/ 11357070 w 11357561"/>
              <a:gd name="connsiteY2-728" fmla="*/ 125086 h 468725"/>
              <a:gd name="connsiteX3-729" fmla="*/ 1864896 w 11357561"/>
              <a:gd name="connsiteY3-730" fmla="*/ 127140 h 468725"/>
              <a:gd name="connsiteX4-731" fmla="*/ 1284973 w 11357561"/>
              <a:gd name="connsiteY4-732" fmla="*/ 468725 h 468725"/>
              <a:gd name="connsiteX5-733" fmla="*/ 802951 w 11357561"/>
              <a:gd name="connsiteY5-734" fmla="*/ 125867 h 468725"/>
              <a:gd name="connsiteX6-735" fmla="*/ 802813 w 11357561"/>
              <a:gd name="connsiteY6-736" fmla="*/ 2791 h 468725"/>
              <a:gd name="connsiteX0-737" fmla="*/ 341552 w 10896300"/>
              <a:gd name="connsiteY0-738" fmla="*/ 2791 h 468725"/>
              <a:gd name="connsiteX1-739" fmla="*/ 10895606 w 10896300"/>
              <a:gd name="connsiteY1-740" fmla="*/ 0 h 468725"/>
              <a:gd name="connsiteX2-741" fmla="*/ 10895809 w 10896300"/>
              <a:gd name="connsiteY2-742" fmla="*/ 125086 h 468725"/>
              <a:gd name="connsiteX3-743" fmla="*/ 1403635 w 10896300"/>
              <a:gd name="connsiteY3-744" fmla="*/ 127140 h 468725"/>
              <a:gd name="connsiteX4-745" fmla="*/ 823712 w 10896300"/>
              <a:gd name="connsiteY4-746" fmla="*/ 468725 h 468725"/>
              <a:gd name="connsiteX5-747" fmla="*/ 341690 w 10896300"/>
              <a:gd name="connsiteY5-748" fmla="*/ 125867 h 468725"/>
              <a:gd name="connsiteX6-749" fmla="*/ 341552 w 10896300"/>
              <a:gd name="connsiteY6-750" fmla="*/ 2791 h 468725"/>
              <a:gd name="connsiteX0-751" fmla="*/ 41143 w 10595891"/>
              <a:gd name="connsiteY0-752" fmla="*/ 2791 h 468725"/>
              <a:gd name="connsiteX1-753" fmla="*/ 10595197 w 10595891"/>
              <a:gd name="connsiteY1-754" fmla="*/ 0 h 468725"/>
              <a:gd name="connsiteX2-755" fmla="*/ 10595400 w 10595891"/>
              <a:gd name="connsiteY2-756" fmla="*/ 125086 h 468725"/>
              <a:gd name="connsiteX3-757" fmla="*/ 1103226 w 10595891"/>
              <a:gd name="connsiteY3-758" fmla="*/ 127140 h 468725"/>
              <a:gd name="connsiteX4-759" fmla="*/ 523303 w 10595891"/>
              <a:gd name="connsiteY4-760" fmla="*/ 468725 h 468725"/>
              <a:gd name="connsiteX5-761" fmla="*/ 41281 w 10595891"/>
              <a:gd name="connsiteY5-762" fmla="*/ 125867 h 468725"/>
              <a:gd name="connsiteX6-763" fmla="*/ 41143 w 10595891"/>
              <a:gd name="connsiteY6-764" fmla="*/ 2791 h 468725"/>
              <a:gd name="connsiteX0-765" fmla="*/ 433 w 10555181"/>
              <a:gd name="connsiteY0-766" fmla="*/ 2791 h 468725"/>
              <a:gd name="connsiteX1-767" fmla="*/ 10554487 w 10555181"/>
              <a:gd name="connsiteY1-768" fmla="*/ 0 h 468725"/>
              <a:gd name="connsiteX2-769" fmla="*/ 10554690 w 10555181"/>
              <a:gd name="connsiteY2-770" fmla="*/ 125086 h 468725"/>
              <a:gd name="connsiteX3-771" fmla="*/ 1062516 w 10555181"/>
              <a:gd name="connsiteY3-772" fmla="*/ 127140 h 468725"/>
              <a:gd name="connsiteX4-773" fmla="*/ 482593 w 10555181"/>
              <a:gd name="connsiteY4-774" fmla="*/ 468725 h 468725"/>
              <a:gd name="connsiteX5-775" fmla="*/ 571 w 10555181"/>
              <a:gd name="connsiteY5-776" fmla="*/ 125867 h 468725"/>
              <a:gd name="connsiteX6-777" fmla="*/ 433 w 10555181"/>
              <a:gd name="connsiteY6-778" fmla="*/ 2791 h 468725"/>
              <a:gd name="connsiteX0-779" fmla="*/ 433 w 10555181"/>
              <a:gd name="connsiteY0-780" fmla="*/ 2791 h 468725"/>
              <a:gd name="connsiteX1-781" fmla="*/ 10554487 w 10555181"/>
              <a:gd name="connsiteY1-782" fmla="*/ 0 h 468725"/>
              <a:gd name="connsiteX2-783" fmla="*/ 10554690 w 10555181"/>
              <a:gd name="connsiteY2-784" fmla="*/ 125086 h 468725"/>
              <a:gd name="connsiteX3-785" fmla="*/ 1062516 w 10555181"/>
              <a:gd name="connsiteY3-786" fmla="*/ 127140 h 468725"/>
              <a:gd name="connsiteX4-787" fmla="*/ 482593 w 10555181"/>
              <a:gd name="connsiteY4-788" fmla="*/ 468725 h 468725"/>
              <a:gd name="connsiteX5-789" fmla="*/ 571 w 10555181"/>
              <a:gd name="connsiteY5-790" fmla="*/ 125867 h 468725"/>
              <a:gd name="connsiteX6-791" fmla="*/ 433 w 10555181"/>
              <a:gd name="connsiteY6-792" fmla="*/ 2791 h 468725"/>
              <a:gd name="connsiteX0-793" fmla="*/ 433 w 10555181"/>
              <a:gd name="connsiteY0-794" fmla="*/ 2791 h 468725"/>
              <a:gd name="connsiteX1-795" fmla="*/ 10554487 w 10555181"/>
              <a:gd name="connsiteY1-796" fmla="*/ 0 h 468725"/>
              <a:gd name="connsiteX2-797" fmla="*/ 10554690 w 10555181"/>
              <a:gd name="connsiteY2-798" fmla="*/ 125086 h 468725"/>
              <a:gd name="connsiteX3-799" fmla="*/ 1062516 w 10555181"/>
              <a:gd name="connsiteY3-800" fmla="*/ 127140 h 468725"/>
              <a:gd name="connsiteX4-801" fmla="*/ 482593 w 10555181"/>
              <a:gd name="connsiteY4-802" fmla="*/ 468725 h 468725"/>
              <a:gd name="connsiteX5-803" fmla="*/ 571 w 10555181"/>
              <a:gd name="connsiteY5-804" fmla="*/ 125867 h 468725"/>
              <a:gd name="connsiteX6-805" fmla="*/ 433 w 10555181"/>
              <a:gd name="connsiteY6-806" fmla="*/ 2791 h 468725"/>
              <a:gd name="connsiteX0-807" fmla="*/ 433 w 10555181"/>
              <a:gd name="connsiteY0-808" fmla="*/ 2791 h 468725"/>
              <a:gd name="connsiteX1-809" fmla="*/ 10554487 w 10555181"/>
              <a:gd name="connsiteY1-810" fmla="*/ 0 h 468725"/>
              <a:gd name="connsiteX2-811" fmla="*/ 10554690 w 10555181"/>
              <a:gd name="connsiteY2-812" fmla="*/ 125086 h 468725"/>
              <a:gd name="connsiteX3-813" fmla="*/ 1062516 w 10555181"/>
              <a:gd name="connsiteY3-814" fmla="*/ 127140 h 468725"/>
              <a:gd name="connsiteX4-815" fmla="*/ 482593 w 10555181"/>
              <a:gd name="connsiteY4-816" fmla="*/ 468725 h 468725"/>
              <a:gd name="connsiteX5-817" fmla="*/ 571 w 10555181"/>
              <a:gd name="connsiteY5-818" fmla="*/ 125867 h 468725"/>
              <a:gd name="connsiteX6-819" fmla="*/ 433 w 10555181"/>
              <a:gd name="connsiteY6-820" fmla="*/ 2791 h 468725"/>
              <a:gd name="connsiteX0-821" fmla="*/ 433 w 10555181"/>
              <a:gd name="connsiteY0-822" fmla="*/ 2791 h 468725"/>
              <a:gd name="connsiteX1-823" fmla="*/ 10554487 w 10555181"/>
              <a:gd name="connsiteY1-824" fmla="*/ 0 h 468725"/>
              <a:gd name="connsiteX2-825" fmla="*/ 10554690 w 10555181"/>
              <a:gd name="connsiteY2-826" fmla="*/ 125086 h 468725"/>
              <a:gd name="connsiteX3-827" fmla="*/ 1062516 w 10555181"/>
              <a:gd name="connsiteY3-828" fmla="*/ 127140 h 468725"/>
              <a:gd name="connsiteX4-829" fmla="*/ 482593 w 10555181"/>
              <a:gd name="connsiteY4-830" fmla="*/ 468725 h 468725"/>
              <a:gd name="connsiteX5-831" fmla="*/ 571 w 10555181"/>
              <a:gd name="connsiteY5-832" fmla="*/ 125867 h 468725"/>
              <a:gd name="connsiteX6-833" fmla="*/ 433 w 10555181"/>
              <a:gd name="connsiteY6-834" fmla="*/ 2791 h 468725"/>
              <a:gd name="connsiteX0-835" fmla="*/ 433 w 10555181"/>
              <a:gd name="connsiteY0-836" fmla="*/ 2791 h 468725"/>
              <a:gd name="connsiteX1-837" fmla="*/ 10554487 w 10555181"/>
              <a:gd name="connsiteY1-838" fmla="*/ 0 h 468725"/>
              <a:gd name="connsiteX2-839" fmla="*/ 10554690 w 10555181"/>
              <a:gd name="connsiteY2-840" fmla="*/ 125086 h 468725"/>
              <a:gd name="connsiteX3-841" fmla="*/ 1062516 w 10555181"/>
              <a:gd name="connsiteY3-842" fmla="*/ 127140 h 468725"/>
              <a:gd name="connsiteX4-843" fmla="*/ 482593 w 10555181"/>
              <a:gd name="connsiteY4-844" fmla="*/ 468725 h 468725"/>
              <a:gd name="connsiteX5-845" fmla="*/ 571 w 10555181"/>
              <a:gd name="connsiteY5-846" fmla="*/ 125867 h 468725"/>
              <a:gd name="connsiteX6-847" fmla="*/ 433 w 10555181"/>
              <a:gd name="connsiteY6-848" fmla="*/ 2791 h 468725"/>
              <a:gd name="connsiteX0-849" fmla="*/ 433 w 10555181"/>
              <a:gd name="connsiteY0-850" fmla="*/ 2791 h 468725"/>
              <a:gd name="connsiteX1-851" fmla="*/ 10554487 w 10555181"/>
              <a:gd name="connsiteY1-852" fmla="*/ 0 h 468725"/>
              <a:gd name="connsiteX2-853" fmla="*/ 10554690 w 10555181"/>
              <a:gd name="connsiteY2-854" fmla="*/ 125086 h 468725"/>
              <a:gd name="connsiteX3-855" fmla="*/ 1062516 w 10555181"/>
              <a:gd name="connsiteY3-856" fmla="*/ 127140 h 468725"/>
              <a:gd name="connsiteX4-857" fmla="*/ 482593 w 10555181"/>
              <a:gd name="connsiteY4-858" fmla="*/ 468725 h 468725"/>
              <a:gd name="connsiteX5-859" fmla="*/ 571 w 10555181"/>
              <a:gd name="connsiteY5-860" fmla="*/ 125867 h 468725"/>
              <a:gd name="connsiteX6-861" fmla="*/ 433 w 10555181"/>
              <a:gd name="connsiteY6-862" fmla="*/ 2791 h 468725"/>
              <a:gd name="connsiteX0-863" fmla="*/ 433 w 10555181"/>
              <a:gd name="connsiteY0-864" fmla="*/ 2791 h 468725"/>
              <a:gd name="connsiteX1-865" fmla="*/ 10554487 w 10555181"/>
              <a:gd name="connsiteY1-866" fmla="*/ 0 h 468725"/>
              <a:gd name="connsiteX2-867" fmla="*/ 10554690 w 10555181"/>
              <a:gd name="connsiteY2-868" fmla="*/ 125086 h 468725"/>
              <a:gd name="connsiteX3-869" fmla="*/ 1062516 w 10555181"/>
              <a:gd name="connsiteY3-870" fmla="*/ 127140 h 468725"/>
              <a:gd name="connsiteX4-871" fmla="*/ 482593 w 10555181"/>
              <a:gd name="connsiteY4-872" fmla="*/ 468725 h 468725"/>
              <a:gd name="connsiteX5-873" fmla="*/ 571 w 10555181"/>
              <a:gd name="connsiteY5-874" fmla="*/ 139671 h 468725"/>
              <a:gd name="connsiteX6-875" fmla="*/ 433 w 10555181"/>
              <a:gd name="connsiteY6-876" fmla="*/ 2791 h 468725"/>
              <a:gd name="connsiteX0-877" fmla="*/ 433 w 10555181"/>
              <a:gd name="connsiteY0-878" fmla="*/ 2791 h 468725"/>
              <a:gd name="connsiteX1-879" fmla="*/ 10554487 w 10555181"/>
              <a:gd name="connsiteY1-880" fmla="*/ 0 h 468725"/>
              <a:gd name="connsiteX2-881" fmla="*/ 10554690 w 10555181"/>
              <a:gd name="connsiteY2-882" fmla="*/ 125086 h 468725"/>
              <a:gd name="connsiteX3-883" fmla="*/ 1062516 w 10555181"/>
              <a:gd name="connsiteY3-884" fmla="*/ 127140 h 468725"/>
              <a:gd name="connsiteX4-885" fmla="*/ 482593 w 10555181"/>
              <a:gd name="connsiteY4-886" fmla="*/ 468725 h 468725"/>
              <a:gd name="connsiteX5-887" fmla="*/ 571 w 10555181"/>
              <a:gd name="connsiteY5-888" fmla="*/ 139671 h 468725"/>
              <a:gd name="connsiteX6-889" fmla="*/ 433 w 10555181"/>
              <a:gd name="connsiteY6-890" fmla="*/ 2791 h 468725"/>
              <a:gd name="connsiteX0-891" fmla="*/ 433 w 10555181"/>
              <a:gd name="connsiteY0-892" fmla="*/ 2791 h 468725"/>
              <a:gd name="connsiteX1-893" fmla="*/ 10554487 w 10555181"/>
              <a:gd name="connsiteY1-894" fmla="*/ 0 h 468725"/>
              <a:gd name="connsiteX2-895" fmla="*/ 10554690 w 10555181"/>
              <a:gd name="connsiteY2-896" fmla="*/ 125086 h 468725"/>
              <a:gd name="connsiteX3-897" fmla="*/ 1062516 w 10555181"/>
              <a:gd name="connsiteY3-898" fmla="*/ 127140 h 468725"/>
              <a:gd name="connsiteX4-899" fmla="*/ 482593 w 10555181"/>
              <a:gd name="connsiteY4-900" fmla="*/ 468725 h 468725"/>
              <a:gd name="connsiteX5-901" fmla="*/ 571 w 10555181"/>
              <a:gd name="connsiteY5-902" fmla="*/ 139671 h 468725"/>
              <a:gd name="connsiteX6-903" fmla="*/ 433 w 10555181"/>
              <a:gd name="connsiteY6-904" fmla="*/ 2791 h 468725"/>
              <a:gd name="connsiteX0-905" fmla="*/ 433 w 10555181"/>
              <a:gd name="connsiteY0-906" fmla="*/ 44066 h 468725"/>
              <a:gd name="connsiteX1-907" fmla="*/ 10554487 w 10555181"/>
              <a:gd name="connsiteY1-908" fmla="*/ 0 h 468725"/>
              <a:gd name="connsiteX2-909" fmla="*/ 10554690 w 10555181"/>
              <a:gd name="connsiteY2-910" fmla="*/ 125086 h 468725"/>
              <a:gd name="connsiteX3-911" fmla="*/ 1062516 w 10555181"/>
              <a:gd name="connsiteY3-912" fmla="*/ 127140 h 468725"/>
              <a:gd name="connsiteX4-913" fmla="*/ 482593 w 10555181"/>
              <a:gd name="connsiteY4-914" fmla="*/ 468725 h 468725"/>
              <a:gd name="connsiteX5-915" fmla="*/ 571 w 10555181"/>
              <a:gd name="connsiteY5-916" fmla="*/ 139671 h 468725"/>
              <a:gd name="connsiteX6-917" fmla="*/ 433 w 10555181"/>
              <a:gd name="connsiteY6-918" fmla="*/ 44066 h 468725"/>
              <a:gd name="connsiteX0-919" fmla="*/ 433 w 10554690"/>
              <a:gd name="connsiteY0-920" fmla="*/ 5966 h 430625"/>
              <a:gd name="connsiteX1-921" fmla="*/ 10551351 w 10554690"/>
              <a:gd name="connsiteY1-922" fmla="*/ 0 h 430625"/>
              <a:gd name="connsiteX2-923" fmla="*/ 10554690 w 10554690"/>
              <a:gd name="connsiteY2-924" fmla="*/ 86986 h 430625"/>
              <a:gd name="connsiteX3-925" fmla="*/ 1062516 w 10554690"/>
              <a:gd name="connsiteY3-926" fmla="*/ 89040 h 430625"/>
              <a:gd name="connsiteX4-927" fmla="*/ 482593 w 10554690"/>
              <a:gd name="connsiteY4-928" fmla="*/ 430625 h 430625"/>
              <a:gd name="connsiteX5-929" fmla="*/ 571 w 10554690"/>
              <a:gd name="connsiteY5-930" fmla="*/ 101571 h 430625"/>
              <a:gd name="connsiteX6-931" fmla="*/ 433 w 10554690"/>
              <a:gd name="connsiteY6-932" fmla="*/ 5966 h 430625"/>
              <a:gd name="connsiteX0-933" fmla="*/ 433 w 10554690"/>
              <a:gd name="connsiteY0-934" fmla="*/ 5966 h 427450"/>
              <a:gd name="connsiteX1-935" fmla="*/ 10551351 w 10554690"/>
              <a:gd name="connsiteY1-936" fmla="*/ 0 h 427450"/>
              <a:gd name="connsiteX2-937" fmla="*/ 10554690 w 10554690"/>
              <a:gd name="connsiteY2-938" fmla="*/ 86986 h 427450"/>
              <a:gd name="connsiteX3-939" fmla="*/ 1062516 w 10554690"/>
              <a:gd name="connsiteY3-940" fmla="*/ 89040 h 427450"/>
              <a:gd name="connsiteX4-941" fmla="*/ 482593 w 10554690"/>
              <a:gd name="connsiteY4-942" fmla="*/ 427450 h 427450"/>
              <a:gd name="connsiteX5-943" fmla="*/ 571 w 10554690"/>
              <a:gd name="connsiteY5-944" fmla="*/ 101571 h 427450"/>
              <a:gd name="connsiteX6-945" fmla="*/ 433 w 10554690"/>
              <a:gd name="connsiteY6-946" fmla="*/ 5966 h 427450"/>
              <a:gd name="connsiteX0-947" fmla="*/ 433 w 10554690"/>
              <a:gd name="connsiteY0-948" fmla="*/ 5966 h 427450"/>
              <a:gd name="connsiteX1-949" fmla="*/ 10551351 w 10554690"/>
              <a:gd name="connsiteY1-950" fmla="*/ 0 h 427450"/>
              <a:gd name="connsiteX2-951" fmla="*/ 10554690 w 10554690"/>
              <a:gd name="connsiteY2-952" fmla="*/ 86986 h 427450"/>
              <a:gd name="connsiteX3-953" fmla="*/ 10274940 w 10554690"/>
              <a:gd name="connsiteY3-954" fmla="*/ 87717 h 427450"/>
              <a:gd name="connsiteX4-955" fmla="*/ 1062516 w 10554690"/>
              <a:gd name="connsiteY4-956" fmla="*/ 89040 h 427450"/>
              <a:gd name="connsiteX5-957" fmla="*/ 482593 w 10554690"/>
              <a:gd name="connsiteY5-958" fmla="*/ 427450 h 427450"/>
              <a:gd name="connsiteX6-959" fmla="*/ 571 w 10554690"/>
              <a:gd name="connsiteY6-960" fmla="*/ 101571 h 427450"/>
              <a:gd name="connsiteX7-961" fmla="*/ 433 w 10554690"/>
              <a:gd name="connsiteY7-962" fmla="*/ 5966 h 427450"/>
              <a:gd name="connsiteX0-963" fmla="*/ 433 w 10554691"/>
              <a:gd name="connsiteY0-964" fmla="*/ 75754 h 497238"/>
              <a:gd name="connsiteX1-965" fmla="*/ 10551351 w 10554691"/>
              <a:gd name="connsiteY1-966" fmla="*/ 69788 h 497238"/>
              <a:gd name="connsiteX2-967" fmla="*/ 10554691 w 10554691"/>
              <a:gd name="connsiteY2-968" fmla="*/ 64699 h 497238"/>
              <a:gd name="connsiteX3-969" fmla="*/ 10274940 w 10554691"/>
              <a:gd name="connsiteY3-970" fmla="*/ 157505 h 497238"/>
              <a:gd name="connsiteX4-971" fmla="*/ 1062516 w 10554691"/>
              <a:gd name="connsiteY4-972" fmla="*/ 158828 h 497238"/>
              <a:gd name="connsiteX5-973" fmla="*/ 482593 w 10554691"/>
              <a:gd name="connsiteY5-974" fmla="*/ 497238 h 497238"/>
              <a:gd name="connsiteX6-975" fmla="*/ 571 w 10554691"/>
              <a:gd name="connsiteY6-976" fmla="*/ 171359 h 497238"/>
              <a:gd name="connsiteX7-977" fmla="*/ 433 w 10554691"/>
              <a:gd name="connsiteY7-978" fmla="*/ 75754 h 497238"/>
              <a:gd name="connsiteX0-979" fmla="*/ 433 w 10554691"/>
              <a:gd name="connsiteY0-980" fmla="*/ 75754 h 497238"/>
              <a:gd name="connsiteX1-981" fmla="*/ 10551351 w 10554691"/>
              <a:gd name="connsiteY1-982" fmla="*/ 69788 h 497238"/>
              <a:gd name="connsiteX2-983" fmla="*/ 10554691 w 10554691"/>
              <a:gd name="connsiteY2-984" fmla="*/ 64699 h 497238"/>
              <a:gd name="connsiteX3-985" fmla="*/ 10274940 w 10554691"/>
              <a:gd name="connsiteY3-986" fmla="*/ 157505 h 497238"/>
              <a:gd name="connsiteX4-987" fmla="*/ 1062516 w 10554691"/>
              <a:gd name="connsiteY4-988" fmla="*/ 158828 h 497238"/>
              <a:gd name="connsiteX5-989" fmla="*/ 482593 w 10554691"/>
              <a:gd name="connsiteY5-990" fmla="*/ 497238 h 497238"/>
              <a:gd name="connsiteX6-991" fmla="*/ 571 w 10554691"/>
              <a:gd name="connsiteY6-992" fmla="*/ 171359 h 497238"/>
              <a:gd name="connsiteX7-993" fmla="*/ 433 w 10554691"/>
              <a:gd name="connsiteY7-994" fmla="*/ 75754 h 497238"/>
              <a:gd name="connsiteX0-995" fmla="*/ 433 w 10554691"/>
              <a:gd name="connsiteY0-996" fmla="*/ 75754 h 497238"/>
              <a:gd name="connsiteX1-997" fmla="*/ 10551351 w 10554691"/>
              <a:gd name="connsiteY1-998" fmla="*/ 69788 h 497238"/>
              <a:gd name="connsiteX2-999" fmla="*/ 10554691 w 10554691"/>
              <a:gd name="connsiteY2-1000" fmla="*/ 64699 h 497238"/>
              <a:gd name="connsiteX3-1001" fmla="*/ 10274940 w 10554691"/>
              <a:gd name="connsiteY3-1002" fmla="*/ 157505 h 497238"/>
              <a:gd name="connsiteX4-1003" fmla="*/ 1062516 w 10554691"/>
              <a:gd name="connsiteY4-1004" fmla="*/ 158828 h 497238"/>
              <a:gd name="connsiteX5-1005" fmla="*/ 482593 w 10554691"/>
              <a:gd name="connsiteY5-1006" fmla="*/ 497238 h 497238"/>
              <a:gd name="connsiteX6-1007" fmla="*/ 571 w 10554691"/>
              <a:gd name="connsiteY6-1008" fmla="*/ 171359 h 497238"/>
              <a:gd name="connsiteX7-1009" fmla="*/ 433 w 10554691"/>
              <a:gd name="connsiteY7-1010" fmla="*/ 75754 h 497238"/>
              <a:gd name="connsiteX0-1011" fmla="*/ 433 w 10554691"/>
              <a:gd name="connsiteY0-1012" fmla="*/ 60438 h 481922"/>
              <a:gd name="connsiteX1-1013" fmla="*/ 10551351 w 10554691"/>
              <a:gd name="connsiteY1-1014" fmla="*/ 54472 h 481922"/>
              <a:gd name="connsiteX2-1015" fmla="*/ 10554691 w 10554691"/>
              <a:gd name="connsiteY2-1016" fmla="*/ 49383 h 481922"/>
              <a:gd name="connsiteX3-1017" fmla="*/ 10274940 w 10554691"/>
              <a:gd name="connsiteY3-1018" fmla="*/ 142189 h 481922"/>
              <a:gd name="connsiteX4-1019" fmla="*/ 1062516 w 10554691"/>
              <a:gd name="connsiteY4-1020" fmla="*/ 143512 h 481922"/>
              <a:gd name="connsiteX5-1021" fmla="*/ 482593 w 10554691"/>
              <a:gd name="connsiteY5-1022" fmla="*/ 481922 h 481922"/>
              <a:gd name="connsiteX6-1023" fmla="*/ 571 w 10554691"/>
              <a:gd name="connsiteY6-1024" fmla="*/ 156043 h 481922"/>
              <a:gd name="connsiteX7-1025" fmla="*/ 433 w 10554691"/>
              <a:gd name="connsiteY7-1026" fmla="*/ 60438 h 481922"/>
              <a:gd name="connsiteX0-1027" fmla="*/ 433 w 11661532"/>
              <a:gd name="connsiteY0-1028" fmla="*/ 5966 h 427450"/>
              <a:gd name="connsiteX1-1029" fmla="*/ 10551351 w 11661532"/>
              <a:gd name="connsiteY1-1030" fmla="*/ 0 h 427450"/>
              <a:gd name="connsiteX2-1031" fmla="*/ 10274940 w 11661532"/>
              <a:gd name="connsiteY2-1032" fmla="*/ 87717 h 427450"/>
              <a:gd name="connsiteX3-1033" fmla="*/ 1062516 w 11661532"/>
              <a:gd name="connsiteY3-1034" fmla="*/ 89040 h 427450"/>
              <a:gd name="connsiteX4-1035" fmla="*/ 482593 w 11661532"/>
              <a:gd name="connsiteY4-1036" fmla="*/ 427450 h 427450"/>
              <a:gd name="connsiteX5-1037" fmla="*/ 571 w 11661532"/>
              <a:gd name="connsiteY5-1038" fmla="*/ 101571 h 427450"/>
              <a:gd name="connsiteX6-1039" fmla="*/ 433 w 11661532"/>
              <a:gd name="connsiteY6-1040" fmla="*/ 5966 h 427450"/>
              <a:gd name="connsiteX0-1041" fmla="*/ 433 w 11071037"/>
              <a:gd name="connsiteY0-1042" fmla="*/ 6015 h 427499"/>
              <a:gd name="connsiteX1-1043" fmla="*/ 10551351 w 11071037"/>
              <a:gd name="connsiteY1-1044" fmla="*/ 49 h 427499"/>
              <a:gd name="connsiteX2-1045" fmla="*/ 10274940 w 11071037"/>
              <a:gd name="connsiteY2-1046" fmla="*/ 87766 h 427499"/>
              <a:gd name="connsiteX3-1047" fmla="*/ 1062516 w 11071037"/>
              <a:gd name="connsiteY3-1048" fmla="*/ 89089 h 427499"/>
              <a:gd name="connsiteX4-1049" fmla="*/ 482593 w 11071037"/>
              <a:gd name="connsiteY4-1050" fmla="*/ 427499 h 427499"/>
              <a:gd name="connsiteX5-1051" fmla="*/ 571 w 11071037"/>
              <a:gd name="connsiteY5-1052" fmla="*/ 101620 h 427499"/>
              <a:gd name="connsiteX6-1053" fmla="*/ 433 w 11071037"/>
              <a:gd name="connsiteY6-1054" fmla="*/ 6015 h 427499"/>
              <a:gd name="connsiteX0-1055" fmla="*/ 433 w 11057538"/>
              <a:gd name="connsiteY0-1056" fmla="*/ 5966 h 427450"/>
              <a:gd name="connsiteX1-1057" fmla="*/ 10551351 w 11057538"/>
              <a:gd name="connsiteY1-1058" fmla="*/ 0 h 427450"/>
              <a:gd name="connsiteX2-1059" fmla="*/ 10274940 w 11057538"/>
              <a:gd name="connsiteY2-1060" fmla="*/ 87717 h 427450"/>
              <a:gd name="connsiteX3-1061" fmla="*/ 1062516 w 11057538"/>
              <a:gd name="connsiteY3-1062" fmla="*/ 89040 h 427450"/>
              <a:gd name="connsiteX4-1063" fmla="*/ 482593 w 11057538"/>
              <a:gd name="connsiteY4-1064" fmla="*/ 427450 h 427450"/>
              <a:gd name="connsiteX5-1065" fmla="*/ 571 w 11057538"/>
              <a:gd name="connsiteY5-1066" fmla="*/ 101571 h 427450"/>
              <a:gd name="connsiteX6-1067" fmla="*/ 433 w 11057538"/>
              <a:gd name="connsiteY6-1068" fmla="*/ 5966 h 427450"/>
              <a:gd name="connsiteX0-1069" fmla="*/ 433 w 10551351"/>
              <a:gd name="connsiteY0-1070" fmla="*/ 5966 h 427450"/>
              <a:gd name="connsiteX1-1071" fmla="*/ 10551351 w 10551351"/>
              <a:gd name="connsiteY1-1072" fmla="*/ 0 h 427450"/>
              <a:gd name="connsiteX2-1073" fmla="*/ 10274940 w 10551351"/>
              <a:gd name="connsiteY2-1074" fmla="*/ 87717 h 427450"/>
              <a:gd name="connsiteX3-1075" fmla="*/ 1062516 w 10551351"/>
              <a:gd name="connsiteY3-1076" fmla="*/ 89040 h 427450"/>
              <a:gd name="connsiteX4-1077" fmla="*/ 482593 w 10551351"/>
              <a:gd name="connsiteY4-1078" fmla="*/ 427450 h 427450"/>
              <a:gd name="connsiteX5-1079" fmla="*/ 571 w 10551351"/>
              <a:gd name="connsiteY5-1080" fmla="*/ 101571 h 427450"/>
              <a:gd name="connsiteX6-1081" fmla="*/ 433 w 10551351"/>
              <a:gd name="connsiteY6-1082" fmla="*/ 5966 h 427450"/>
              <a:gd name="connsiteX0-1083" fmla="*/ 433 w 10551351"/>
              <a:gd name="connsiteY0-1084" fmla="*/ 5966 h 341725"/>
              <a:gd name="connsiteX1-1085" fmla="*/ 10551351 w 10551351"/>
              <a:gd name="connsiteY1-1086" fmla="*/ 0 h 341725"/>
              <a:gd name="connsiteX2-1087" fmla="*/ 10274940 w 10551351"/>
              <a:gd name="connsiteY2-1088" fmla="*/ 87717 h 341725"/>
              <a:gd name="connsiteX3-1089" fmla="*/ 1062516 w 10551351"/>
              <a:gd name="connsiteY3-1090" fmla="*/ 89040 h 341725"/>
              <a:gd name="connsiteX4-1091" fmla="*/ 482593 w 10551351"/>
              <a:gd name="connsiteY4-1092" fmla="*/ 341725 h 341725"/>
              <a:gd name="connsiteX5-1093" fmla="*/ 571 w 10551351"/>
              <a:gd name="connsiteY5-1094" fmla="*/ 101571 h 341725"/>
              <a:gd name="connsiteX6-1095" fmla="*/ 433 w 10551351"/>
              <a:gd name="connsiteY6-1096" fmla="*/ 5966 h 341725"/>
              <a:gd name="connsiteX0-1097" fmla="*/ 433 w 10551351"/>
              <a:gd name="connsiteY0-1098" fmla="*/ 5966 h 341725"/>
              <a:gd name="connsiteX1-1099" fmla="*/ 10551351 w 10551351"/>
              <a:gd name="connsiteY1-1100" fmla="*/ 0 h 341725"/>
              <a:gd name="connsiteX2-1101" fmla="*/ 10274940 w 10551351"/>
              <a:gd name="connsiteY2-1102" fmla="*/ 87717 h 341725"/>
              <a:gd name="connsiteX3-1103" fmla="*/ 1062516 w 10551351"/>
              <a:gd name="connsiteY3-1104" fmla="*/ 89040 h 341725"/>
              <a:gd name="connsiteX4-1105" fmla="*/ 482593 w 10551351"/>
              <a:gd name="connsiteY4-1106" fmla="*/ 341725 h 341725"/>
              <a:gd name="connsiteX5-1107" fmla="*/ 571 w 10551351"/>
              <a:gd name="connsiteY5-1108" fmla="*/ 101571 h 341725"/>
              <a:gd name="connsiteX6-1109" fmla="*/ 433 w 10551351"/>
              <a:gd name="connsiteY6-1110" fmla="*/ 5966 h 341725"/>
              <a:gd name="connsiteX0-1111" fmla="*/ 433 w 10551351"/>
              <a:gd name="connsiteY0-1112" fmla="*/ 5966 h 341725"/>
              <a:gd name="connsiteX1-1113" fmla="*/ 10551351 w 10551351"/>
              <a:gd name="connsiteY1-1114" fmla="*/ 0 h 341725"/>
              <a:gd name="connsiteX2-1115" fmla="*/ 10274940 w 10551351"/>
              <a:gd name="connsiteY2-1116" fmla="*/ 87717 h 341725"/>
              <a:gd name="connsiteX3-1117" fmla="*/ 1062516 w 10551351"/>
              <a:gd name="connsiteY3-1118" fmla="*/ 89040 h 341725"/>
              <a:gd name="connsiteX4-1119" fmla="*/ 482593 w 10551351"/>
              <a:gd name="connsiteY4-1120" fmla="*/ 341725 h 341725"/>
              <a:gd name="connsiteX5-1121" fmla="*/ 571 w 10551351"/>
              <a:gd name="connsiteY5-1122" fmla="*/ 101571 h 341725"/>
              <a:gd name="connsiteX6-1123" fmla="*/ 433 w 10551351"/>
              <a:gd name="connsiteY6-1124" fmla="*/ 5966 h 341725"/>
              <a:gd name="connsiteX0-1125" fmla="*/ 433 w 10551351"/>
              <a:gd name="connsiteY0-1126" fmla="*/ 5966 h 341725"/>
              <a:gd name="connsiteX1-1127" fmla="*/ 10551351 w 10551351"/>
              <a:gd name="connsiteY1-1128" fmla="*/ 0 h 341725"/>
              <a:gd name="connsiteX2-1129" fmla="*/ 10274940 w 10551351"/>
              <a:gd name="connsiteY2-1130" fmla="*/ 87717 h 341725"/>
              <a:gd name="connsiteX3-1131" fmla="*/ 1062516 w 10551351"/>
              <a:gd name="connsiteY3-1132" fmla="*/ 89040 h 341725"/>
              <a:gd name="connsiteX4-1133" fmla="*/ 482593 w 10551351"/>
              <a:gd name="connsiteY4-1134" fmla="*/ 341725 h 341725"/>
              <a:gd name="connsiteX5-1135" fmla="*/ 571 w 10551351"/>
              <a:gd name="connsiteY5-1136" fmla="*/ 101571 h 341725"/>
              <a:gd name="connsiteX6-1137" fmla="*/ 433 w 10551351"/>
              <a:gd name="connsiteY6-1138" fmla="*/ 5966 h 341725"/>
              <a:gd name="connsiteX0-1139" fmla="*/ 0 w 11177990"/>
              <a:gd name="connsiteY0-1140" fmla="*/ 2791 h 341725"/>
              <a:gd name="connsiteX1-1141" fmla="*/ 11177990 w 11177990"/>
              <a:gd name="connsiteY1-1142" fmla="*/ 0 h 341725"/>
              <a:gd name="connsiteX2-1143" fmla="*/ 10901579 w 11177990"/>
              <a:gd name="connsiteY2-1144" fmla="*/ 87717 h 341725"/>
              <a:gd name="connsiteX3-1145" fmla="*/ 1689155 w 11177990"/>
              <a:gd name="connsiteY3-1146" fmla="*/ 89040 h 341725"/>
              <a:gd name="connsiteX4-1147" fmla="*/ 1109232 w 11177990"/>
              <a:gd name="connsiteY4-1148" fmla="*/ 341725 h 341725"/>
              <a:gd name="connsiteX5-1149" fmla="*/ 627210 w 11177990"/>
              <a:gd name="connsiteY5-1150" fmla="*/ 101571 h 341725"/>
              <a:gd name="connsiteX6-1151" fmla="*/ 0 w 11177990"/>
              <a:gd name="connsiteY6-1152" fmla="*/ 2791 h 341725"/>
              <a:gd name="connsiteX0-1153" fmla="*/ 780014 w 11958004"/>
              <a:gd name="connsiteY0-1154" fmla="*/ 2791 h 341725"/>
              <a:gd name="connsiteX1-1155" fmla="*/ 11958004 w 11958004"/>
              <a:gd name="connsiteY1-1156" fmla="*/ 0 h 341725"/>
              <a:gd name="connsiteX2-1157" fmla="*/ 11681593 w 11958004"/>
              <a:gd name="connsiteY2-1158" fmla="*/ 87717 h 341725"/>
              <a:gd name="connsiteX3-1159" fmla="*/ 2469169 w 11958004"/>
              <a:gd name="connsiteY3-1160" fmla="*/ 89040 h 341725"/>
              <a:gd name="connsiteX4-1161" fmla="*/ 1889246 w 11958004"/>
              <a:gd name="connsiteY4-1162" fmla="*/ 341725 h 341725"/>
              <a:gd name="connsiteX5-1163" fmla="*/ 1407224 w 11958004"/>
              <a:gd name="connsiteY5-1164" fmla="*/ 101571 h 341725"/>
              <a:gd name="connsiteX6-1165" fmla="*/ 998158 w 11958004"/>
              <a:gd name="connsiteY6-1166" fmla="*/ 40093 h 341725"/>
              <a:gd name="connsiteX7-1167" fmla="*/ 780014 w 11958004"/>
              <a:gd name="connsiteY7-1168" fmla="*/ 2791 h 341725"/>
              <a:gd name="connsiteX0-1169" fmla="*/ 758495 w 11936485"/>
              <a:gd name="connsiteY0-1170" fmla="*/ 2791 h 341725"/>
              <a:gd name="connsiteX1-1171" fmla="*/ 11936485 w 11936485"/>
              <a:gd name="connsiteY1-1172" fmla="*/ 0 h 341725"/>
              <a:gd name="connsiteX2-1173" fmla="*/ 11660074 w 11936485"/>
              <a:gd name="connsiteY2-1174" fmla="*/ 87717 h 341725"/>
              <a:gd name="connsiteX3-1175" fmla="*/ 2447650 w 11936485"/>
              <a:gd name="connsiteY3-1176" fmla="*/ 89040 h 341725"/>
              <a:gd name="connsiteX4-1177" fmla="*/ 1867727 w 11936485"/>
              <a:gd name="connsiteY4-1178" fmla="*/ 341725 h 341725"/>
              <a:gd name="connsiteX5-1179" fmla="*/ 1385705 w 11936485"/>
              <a:gd name="connsiteY5-1180" fmla="*/ 101571 h 341725"/>
              <a:gd name="connsiteX6-1181" fmla="*/ 976639 w 11936485"/>
              <a:gd name="connsiteY6-1182" fmla="*/ 40093 h 341725"/>
              <a:gd name="connsiteX7-1183" fmla="*/ 758495 w 11936485"/>
              <a:gd name="connsiteY7-1184" fmla="*/ 2791 h 341725"/>
              <a:gd name="connsiteX0-1185" fmla="*/ 0 w 11177990"/>
              <a:gd name="connsiteY0-1186" fmla="*/ 2791 h 341725"/>
              <a:gd name="connsiteX1-1187" fmla="*/ 11177990 w 11177990"/>
              <a:gd name="connsiteY1-1188" fmla="*/ 0 h 341725"/>
              <a:gd name="connsiteX2-1189" fmla="*/ 10901579 w 11177990"/>
              <a:gd name="connsiteY2-1190" fmla="*/ 87717 h 341725"/>
              <a:gd name="connsiteX3-1191" fmla="*/ 1689155 w 11177990"/>
              <a:gd name="connsiteY3-1192" fmla="*/ 89040 h 341725"/>
              <a:gd name="connsiteX4-1193" fmla="*/ 1109232 w 11177990"/>
              <a:gd name="connsiteY4-1194" fmla="*/ 341725 h 341725"/>
              <a:gd name="connsiteX5-1195" fmla="*/ 627210 w 11177990"/>
              <a:gd name="connsiteY5-1196" fmla="*/ 101571 h 341725"/>
              <a:gd name="connsiteX6-1197" fmla="*/ 218144 w 11177990"/>
              <a:gd name="connsiteY6-1198" fmla="*/ 40093 h 341725"/>
              <a:gd name="connsiteX7-1199" fmla="*/ 0 w 11177990"/>
              <a:gd name="connsiteY7-1200" fmla="*/ 2791 h 341725"/>
              <a:gd name="connsiteX0-1201" fmla="*/ 1331 w 11179321"/>
              <a:gd name="connsiteY0-1202" fmla="*/ 2791 h 341725"/>
              <a:gd name="connsiteX1-1203" fmla="*/ 11179321 w 11179321"/>
              <a:gd name="connsiteY1-1204" fmla="*/ 0 h 341725"/>
              <a:gd name="connsiteX2-1205" fmla="*/ 10902910 w 11179321"/>
              <a:gd name="connsiteY2-1206" fmla="*/ 87717 h 341725"/>
              <a:gd name="connsiteX3-1207" fmla="*/ 1690486 w 11179321"/>
              <a:gd name="connsiteY3-1208" fmla="*/ 89040 h 341725"/>
              <a:gd name="connsiteX4-1209" fmla="*/ 1110563 w 11179321"/>
              <a:gd name="connsiteY4-1210" fmla="*/ 341725 h 341725"/>
              <a:gd name="connsiteX5-1211" fmla="*/ 628541 w 11179321"/>
              <a:gd name="connsiteY5-1212" fmla="*/ 101571 h 341725"/>
              <a:gd name="connsiteX6-1213" fmla="*/ 0 w 11179321"/>
              <a:gd name="connsiteY6-1214" fmla="*/ 94068 h 341725"/>
              <a:gd name="connsiteX7-1215" fmla="*/ 1331 w 11179321"/>
              <a:gd name="connsiteY7-1216" fmla="*/ 2791 h 341725"/>
              <a:gd name="connsiteX0-1217" fmla="*/ 1331 w 11179321"/>
              <a:gd name="connsiteY0-1218" fmla="*/ 2791 h 341725"/>
              <a:gd name="connsiteX1-1219" fmla="*/ 11179321 w 11179321"/>
              <a:gd name="connsiteY1-1220" fmla="*/ 0 h 341725"/>
              <a:gd name="connsiteX2-1221" fmla="*/ 10902910 w 11179321"/>
              <a:gd name="connsiteY2-1222" fmla="*/ 87717 h 341725"/>
              <a:gd name="connsiteX3-1223" fmla="*/ 1690486 w 11179321"/>
              <a:gd name="connsiteY3-1224" fmla="*/ 89040 h 341725"/>
              <a:gd name="connsiteX4-1225" fmla="*/ 1110563 w 11179321"/>
              <a:gd name="connsiteY4-1226" fmla="*/ 341725 h 341725"/>
              <a:gd name="connsiteX5-1227" fmla="*/ 628541 w 11179321"/>
              <a:gd name="connsiteY5-1228" fmla="*/ 101571 h 341725"/>
              <a:gd name="connsiteX6-1229" fmla="*/ 0 w 11179321"/>
              <a:gd name="connsiteY6-1230" fmla="*/ 94068 h 341725"/>
              <a:gd name="connsiteX7-1231" fmla="*/ 1331 w 11179321"/>
              <a:gd name="connsiteY7-1232" fmla="*/ 2791 h 341725"/>
              <a:gd name="connsiteX0-1233" fmla="*/ 1331 w 11179321"/>
              <a:gd name="connsiteY0-1234" fmla="*/ 2791 h 341725"/>
              <a:gd name="connsiteX1-1235" fmla="*/ 11179321 w 11179321"/>
              <a:gd name="connsiteY1-1236" fmla="*/ 0 h 341725"/>
              <a:gd name="connsiteX2-1237" fmla="*/ 10902910 w 11179321"/>
              <a:gd name="connsiteY2-1238" fmla="*/ 87717 h 341725"/>
              <a:gd name="connsiteX3-1239" fmla="*/ 1690486 w 11179321"/>
              <a:gd name="connsiteY3-1240" fmla="*/ 89040 h 341725"/>
              <a:gd name="connsiteX4-1241" fmla="*/ 1110563 w 11179321"/>
              <a:gd name="connsiteY4-1242" fmla="*/ 341725 h 341725"/>
              <a:gd name="connsiteX5-1243" fmla="*/ 628541 w 11179321"/>
              <a:gd name="connsiteY5-1244" fmla="*/ 101571 h 341725"/>
              <a:gd name="connsiteX6-1245" fmla="*/ 0 w 11179321"/>
              <a:gd name="connsiteY6-1246" fmla="*/ 94068 h 341725"/>
              <a:gd name="connsiteX7-1247" fmla="*/ 1331 w 11179321"/>
              <a:gd name="connsiteY7-1248" fmla="*/ 2791 h 341725"/>
              <a:gd name="connsiteX0-1249" fmla="*/ 1331 w 11179321"/>
              <a:gd name="connsiteY0-1250" fmla="*/ 2791 h 341725"/>
              <a:gd name="connsiteX1-1251" fmla="*/ 11179321 w 11179321"/>
              <a:gd name="connsiteY1-1252" fmla="*/ 0 h 341725"/>
              <a:gd name="connsiteX2-1253" fmla="*/ 10902910 w 11179321"/>
              <a:gd name="connsiteY2-1254" fmla="*/ 87717 h 341725"/>
              <a:gd name="connsiteX3-1255" fmla="*/ 1690486 w 11179321"/>
              <a:gd name="connsiteY3-1256" fmla="*/ 89040 h 341725"/>
              <a:gd name="connsiteX4-1257" fmla="*/ 1110563 w 11179321"/>
              <a:gd name="connsiteY4-1258" fmla="*/ 341725 h 341725"/>
              <a:gd name="connsiteX5-1259" fmla="*/ 628541 w 11179321"/>
              <a:gd name="connsiteY5-1260" fmla="*/ 101571 h 341725"/>
              <a:gd name="connsiteX6-1261" fmla="*/ 0 w 11179321"/>
              <a:gd name="connsiteY6-1262" fmla="*/ 103593 h 341725"/>
              <a:gd name="connsiteX7-1263" fmla="*/ 1331 w 11179321"/>
              <a:gd name="connsiteY7-1264" fmla="*/ 2791 h 341725"/>
              <a:gd name="connsiteX0-1265" fmla="*/ 1331 w 11179321"/>
              <a:gd name="connsiteY0-1266" fmla="*/ 2791 h 341725"/>
              <a:gd name="connsiteX1-1267" fmla="*/ 11179321 w 11179321"/>
              <a:gd name="connsiteY1-1268" fmla="*/ 0 h 341725"/>
              <a:gd name="connsiteX2-1269" fmla="*/ 10567427 w 11179321"/>
              <a:gd name="connsiteY2-1270" fmla="*/ 90892 h 341725"/>
              <a:gd name="connsiteX3-1271" fmla="*/ 1690486 w 11179321"/>
              <a:gd name="connsiteY3-1272" fmla="*/ 89040 h 341725"/>
              <a:gd name="connsiteX4-1273" fmla="*/ 1110563 w 11179321"/>
              <a:gd name="connsiteY4-1274" fmla="*/ 341725 h 341725"/>
              <a:gd name="connsiteX5-1275" fmla="*/ 628541 w 11179321"/>
              <a:gd name="connsiteY5-1276" fmla="*/ 101571 h 341725"/>
              <a:gd name="connsiteX6-1277" fmla="*/ 0 w 11179321"/>
              <a:gd name="connsiteY6-1278" fmla="*/ 103593 h 341725"/>
              <a:gd name="connsiteX7-1279" fmla="*/ 1331 w 11179321"/>
              <a:gd name="connsiteY7-1280" fmla="*/ 2791 h 341725"/>
              <a:gd name="connsiteX0-1281" fmla="*/ 1331 w 10600099"/>
              <a:gd name="connsiteY0-1282" fmla="*/ 2791 h 341725"/>
              <a:gd name="connsiteX1-1283" fmla="*/ 10561656 w 10600099"/>
              <a:gd name="connsiteY1-1284" fmla="*/ 0 h 341725"/>
              <a:gd name="connsiteX2-1285" fmla="*/ 10567427 w 10600099"/>
              <a:gd name="connsiteY2-1286" fmla="*/ 90892 h 341725"/>
              <a:gd name="connsiteX3-1287" fmla="*/ 1690486 w 10600099"/>
              <a:gd name="connsiteY3-1288" fmla="*/ 89040 h 341725"/>
              <a:gd name="connsiteX4-1289" fmla="*/ 1110563 w 10600099"/>
              <a:gd name="connsiteY4-1290" fmla="*/ 341725 h 341725"/>
              <a:gd name="connsiteX5-1291" fmla="*/ 628541 w 10600099"/>
              <a:gd name="connsiteY5-1292" fmla="*/ 101571 h 341725"/>
              <a:gd name="connsiteX6-1293" fmla="*/ 0 w 10600099"/>
              <a:gd name="connsiteY6-1294" fmla="*/ 103593 h 341725"/>
              <a:gd name="connsiteX7-1295" fmla="*/ 1331 w 10600099"/>
              <a:gd name="connsiteY7-1296" fmla="*/ 2791 h 341725"/>
              <a:gd name="connsiteX0-1297" fmla="*/ 1331 w 10567427"/>
              <a:gd name="connsiteY0-1298" fmla="*/ 2791 h 341725"/>
              <a:gd name="connsiteX1-1299" fmla="*/ 10561656 w 10567427"/>
              <a:gd name="connsiteY1-1300" fmla="*/ 0 h 341725"/>
              <a:gd name="connsiteX2-1301" fmla="*/ 10567427 w 10567427"/>
              <a:gd name="connsiteY2-1302" fmla="*/ 90892 h 341725"/>
              <a:gd name="connsiteX3-1303" fmla="*/ 1690486 w 10567427"/>
              <a:gd name="connsiteY3-1304" fmla="*/ 89040 h 341725"/>
              <a:gd name="connsiteX4-1305" fmla="*/ 1110563 w 10567427"/>
              <a:gd name="connsiteY4-1306" fmla="*/ 341725 h 341725"/>
              <a:gd name="connsiteX5-1307" fmla="*/ 628541 w 10567427"/>
              <a:gd name="connsiteY5-1308" fmla="*/ 101571 h 341725"/>
              <a:gd name="connsiteX6-1309" fmla="*/ 0 w 10567427"/>
              <a:gd name="connsiteY6-1310" fmla="*/ 103593 h 341725"/>
              <a:gd name="connsiteX7-1311" fmla="*/ 1331 w 10567427"/>
              <a:gd name="connsiteY7-1312" fmla="*/ 2791 h 341725"/>
              <a:gd name="connsiteX0-1313" fmla="*/ 1331 w 10561687"/>
              <a:gd name="connsiteY0-1314" fmla="*/ 2791 h 341725"/>
              <a:gd name="connsiteX1-1315" fmla="*/ 10561656 w 10561687"/>
              <a:gd name="connsiteY1-1316" fmla="*/ 0 h 341725"/>
              <a:gd name="connsiteX2-1317" fmla="*/ 10561157 w 10561687"/>
              <a:gd name="connsiteY2-1318" fmla="*/ 90892 h 341725"/>
              <a:gd name="connsiteX3-1319" fmla="*/ 1690486 w 10561687"/>
              <a:gd name="connsiteY3-1320" fmla="*/ 89040 h 341725"/>
              <a:gd name="connsiteX4-1321" fmla="*/ 1110563 w 10561687"/>
              <a:gd name="connsiteY4-1322" fmla="*/ 341725 h 341725"/>
              <a:gd name="connsiteX5-1323" fmla="*/ 628541 w 10561687"/>
              <a:gd name="connsiteY5-1324" fmla="*/ 101571 h 341725"/>
              <a:gd name="connsiteX6-1325" fmla="*/ 0 w 10561687"/>
              <a:gd name="connsiteY6-1326" fmla="*/ 103593 h 341725"/>
              <a:gd name="connsiteX7-1327" fmla="*/ 1331 w 10561687"/>
              <a:gd name="connsiteY7-1328" fmla="*/ 2791 h 341725"/>
              <a:gd name="connsiteX0-1329" fmla="*/ 1331 w 10562072"/>
              <a:gd name="connsiteY0-1330" fmla="*/ 2791 h 341725"/>
              <a:gd name="connsiteX1-1331" fmla="*/ 10561656 w 10562072"/>
              <a:gd name="connsiteY1-1332" fmla="*/ 0 h 341725"/>
              <a:gd name="connsiteX2-1333" fmla="*/ 10561157 w 10562072"/>
              <a:gd name="connsiteY2-1334" fmla="*/ 90892 h 341725"/>
              <a:gd name="connsiteX3-1335" fmla="*/ 1690486 w 10562072"/>
              <a:gd name="connsiteY3-1336" fmla="*/ 89040 h 341725"/>
              <a:gd name="connsiteX4-1337" fmla="*/ 1110563 w 10562072"/>
              <a:gd name="connsiteY4-1338" fmla="*/ 341725 h 341725"/>
              <a:gd name="connsiteX5-1339" fmla="*/ 628541 w 10562072"/>
              <a:gd name="connsiteY5-1340" fmla="*/ 101571 h 341725"/>
              <a:gd name="connsiteX6-1341" fmla="*/ 0 w 10562072"/>
              <a:gd name="connsiteY6-1342" fmla="*/ 103593 h 341725"/>
              <a:gd name="connsiteX7-1343" fmla="*/ 1331 w 10562072"/>
              <a:gd name="connsiteY7-1344" fmla="*/ 2791 h 341725"/>
              <a:gd name="connsiteX0-1345" fmla="*/ 1331 w 10562072"/>
              <a:gd name="connsiteY0-1346" fmla="*/ 2791 h 887696"/>
              <a:gd name="connsiteX1-1347" fmla="*/ 10561656 w 10562072"/>
              <a:gd name="connsiteY1-1348" fmla="*/ 0 h 887696"/>
              <a:gd name="connsiteX2-1349" fmla="*/ 10561157 w 10562072"/>
              <a:gd name="connsiteY2-1350" fmla="*/ 90892 h 887696"/>
              <a:gd name="connsiteX3-1351" fmla="*/ 1690486 w 10562072"/>
              <a:gd name="connsiteY3-1352" fmla="*/ 89040 h 887696"/>
              <a:gd name="connsiteX4-1353" fmla="*/ 1180889 w 10562072"/>
              <a:gd name="connsiteY4-1354" fmla="*/ 887696 h 887696"/>
              <a:gd name="connsiteX5-1355" fmla="*/ 628541 w 10562072"/>
              <a:gd name="connsiteY5-1356" fmla="*/ 101571 h 887696"/>
              <a:gd name="connsiteX6-1357" fmla="*/ 0 w 10562072"/>
              <a:gd name="connsiteY6-1358" fmla="*/ 103593 h 887696"/>
              <a:gd name="connsiteX7-1359" fmla="*/ 1331 w 10562072"/>
              <a:gd name="connsiteY7-1360" fmla="*/ 2791 h 887696"/>
              <a:gd name="connsiteX0-1361" fmla="*/ 1331 w 10562072"/>
              <a:gd name="connsiteY0-1362" fmla="*/ 2791 h 887696"/>
              <a:gd name="connsiteX1-1363" fmla="*/ 10561656 w 10562072"/>
              <a:gd name="connsiteY1-1364" fmla="*/ 0 h 887696"/>
              <a:gd name="connsiteX2-1365" fmla="*/ 10561157 w 10562072"/>
              <a:gd name="connsiteY2-1366" fmla="*/ 90892 h 887696"/>
              <a:gd name="connsiteX3-1367" fmla="*/ 2317558 w 10562072"/>
              <a:gd name="connsiteY3-1368" fmla="*/ 89040 h 887696"/>
              <a:gd name="connsiteX4-1369" fmla="*/ 1180889 w 10562072"/>
              <a:gd name="connsiteY4-1370" fmla="*/ 887696 h 887696"/>
              <a:gd name="connsiteX5-1371" fmla="*/ 628541 w 10562072"/>
              <a:gd name="connsiteY5-1372" fmla="*/ 101571 h 887696"/>
              <a:gd name="connsiteX6-1373" fmla="*/ 0 w 10562072"/>
              <a:gd name="connsiteY6-1374" fmla="*/ 103593 h 887696"/>
              <a:gd name="connsiteX7-1375" fmla="*/ 1331 w 10562072"/>
              <a:gd name="connsiteY7-1376" fmla="*/ 2791 h 887696"/>
              <a:gd name="connsiteX0-1377" fmla="*/ 1331 w 10562072"/>
              <a:gd name="connsiteY0-1378" fmla="*/ 2791 h 887702"/>
              <a:gd name="connsiteX1-1379" fmla="*/ 10561656 w 10562072"/>
              <a:gd name="connsiteY1-1380" fmla="*/ 0 h 887702"/>
              <a:gd name="connsiteX2-1381" fmla="*/ 10561157 w 10562072"/>
              <a:gd name="connsiteY2-1382" fmla="*/ 90892 h 887702"/>
              <a:gd name="connsiteX3-1383" fmla="*/ 2317558 w 10562072"/>
              <a:gd name="connsiteY3-1384" fmla="*/ 89040 h 887702"/>
              <a:gd name="connsiteX4-1385" fmla="*/ 1180889 w 10562072"/>
              <a:gd name="connsiteY4-1386" fmla="*/ 887696 h 887702"/>
              <a:gd name="connsiteX5-1387" fmla="*/ 0 w 10562072"/>
              <a:gd name="connsiteY5-1388" fmla="*/ 103593 h 887702"/>
              <a:gd name="connsiteX6-1389" fmla="*/ 1331 w 10562072"/>
              <a:gd name="connsiteY6-1390" fmla="*/ 2791 h 887702"/>
              <a:gd name="connsiteX0-1391" fmla="*/ 1331 w 10562072"/>
              <a:gd name="connsiteY0-1392" fmla="*/ 2791 h 887696"/>
              <a:gd name="connsiteX1-1393" fmla="*/ 10561656 w 10562072"/>
              <a:gd name="connsiteY1-1394" fmla="*/ 0 h 887696"/>
              <a:gd name="connsiteX2-1395" fmla="*/ 10561157 w 10562072"/>
              <a:gd name="connsiteY2-1396" fmla="*/ 90892 h 887696"/>
              <a:gd name="connsiteX3-1397" fmla="*/ 2317558 w 10562072"/>
              <a:gd name="connsiteY3-1398" fmla="*/ 89040 h 887696"/>
              <a:gd name="connsiteX4-1399" fmla="*/ 1180889 w 10562072"/>
              <a:gd name="connsiteY4-1400" fmla="*/ 887696 h 887696"/>
              <a:gd name="connsiteX5-1401" fmla="*/ 0 w 10562072"/>
              <a:gd name="connsiteY5-1402" fmla="*/ 103593 h 887696"/>
              <a:gd name="connsiteX6-1403" fmla="*/ 1331 w 10562072"/>
              <a:gd name="connsiteY6-1404" fmla="*/ 2791 h 887696"/>
              <a:gd name="connsiteX0-1405" fmla="*/ 1331 w 10562072"/>
              <a:gd name="connsiteY0-1406" fmla="*/ 2791 h 887696"/>
              <a:gd name="connsiteX1-1407" fmla="*/ 10561656 w 10562072"/>
              <a:gd name="connsiteY1-1408" fmla="*/ 0 h 887696"/>
              <a:gd name="connsiteX2-1409" fmla="*/ 10561157 w 10562072"/>
              <a:gd name="connsiteY2-1410" fmla="*/ 90892 h 887696"/>
              <a:gd name="connsiteX3-1411" fmla="*/ 2317558 w 10562072"/>
              <a:gd name="connsiteY3-1412" fmla="*/ 89040 h 887696"/>
              <a:gd name="connsiteX4-1413" fmla="*/ 1180889 w 10562072"/>
              <a:gd name="connsiteY4-1414" fmla="*/ 887696 h 887696"/>
              <a:gd name="connsiteX5-1415" fmla="*/ 0 w 10562072"/>
              <a:gd name="connsiteY5-1416" fmla="*/ 103593 h 887696"/>
              <a:gd name="connsiteX6-1417" fmla="*/ 1331 w 10562072"/>
              <a:gd name="connsiteY6-1418" fmla="*/ 2791 h 887696"/>
              <a:gd name="connsiteX0-1419" fmla="*/ 1331 w 10562072"/>
              <a:gd name="connsiteY0-1420" fmla="*/ 2791 h 887696"/>
              <a:gd name="connsiteX1-1421" fmla="*/ 10561656 w 10562072"/>
              <a:gd name="connsiteY1-1422" fmla="*/ 0 h 887696"/>
              <a:gd name="connsiteX2-1423" fmla="*/ 10561157 w 10562072"/>
              <a:gd name="connsiteY2-1424" fmla="*/ 90892 h 887696"/>
              <a:gd name="connsiteX3-1425" fmla="*/ 2317558 w 10562072"/>
              <a:gd name="connsiteY3-1426" fmla="*/ 89040 h 887696"/>
              <a:gd name="connsiteX4-1427" fmla="*/ 1180889 w 10562072"/>
              <a:gd name="connsiteY4-1428" fmla="*/ 887696 h 887696"/>
              <a:gd name="connsiteX5-1429" fmla="*/ 0 w 10562072"/>
              <a:gd name="connsiteY5-1430" fmla="*/ 103593 h 887696"/>
              <a:gd name="connsiteX6-1431" fmla="*/ 1331 w 10562072"/>
              <a:gd name="connsiteY6-1432" fmla="*/ 2791 h 887696"/>
              <a:gd name="connsiteX0-1433" fmla="*/ 1331 w 10562072"/>
              <a:gd name="connsiteY0-1434" fmla="*/ 2791 h 887696"/>
              <a:gd name="connsiteX1-1435" fmla="*/ 10561656 w 10562072"/>
              <a:gd name="connsiteY1-1436" fmla="*/ 0 h 887696"/>
              <a:gd name="connsiteX2-1437" fmla="*/ 10561157 w 10562072"/>
              <a:gd name="connsiteY2-1438" fmla="*/ 90892 h 887696"/>
              <a:gd name="connsiteX3-1439" fmla="*/ 2317558 w 10562072"/>
              <a:gd name="connsiteY3-1440" fmla="*/ 89040 h 887696"/>
              <a:gd name="connsiteX4-1441" fmla="*/ 1180889 w 10562072"/>
              <a:gd name="connsiteY4-1442" fmla="*/ 887696 h 887696"/>
              <a:gd name="connsiteX5-1443" fmla="*/ 0 w 10562072"/>
              <a:gd name="connsiteY5-1444" fmla="*/ 103593 h 887696"/>
              <a:gd name="connsiteX6-1445" fmla="*/ 1331 w 10562072"/>
              <a:gd name="connsiteY6-1446" fmla="*/ 2791 h 887696"/>
              <a:gd name="connsiteX0-1447" fmla="*/ 1331 w 10562072"/>
              <a:gd name="connsiteY0-1448" fmla="*/ 2791 h 887696"/>
              <a:gd name="connsiteX1-1449" fmla="*/ 10561656 w 10562072"/>
              <a:gd name="connsiteY1-1450" fmla="*/ 0 h 887696"/>
              <a:gd name="connsiteX2-1451" fmla="*/ 10561157 w 10562072"/>
              <a:gd name="connsiteY2-1452" fmla="*/ 90892 h 887696"/>
              <a:gd name="connsiteX3-1453" fmla="*/ 2317558 w 10562072"/>
              <a:gd name="connsiteY3-1454" fmla="*/ 89040 h 887696"/>
              <a:gd name="connsiteX4-1455" fmla="*/ 1180889 w 10562072"/>
              <a:gd name="connsiteY4-1456" fmla="*/ 887696 h 887696"/>
              <a:gd name="connsiteX5-1457" fmla="*/ 0 w 10562072"/>
              <a:gd name="connsiteY5-1458" fmla="*/ 103593 h 887696"/>
              <a:gd name="connsiteX6-1459" fmla="*/ 1331 w 10562072"/>
              <a:gd name="connsiteY6-1460" fmla="*/ 2791 h 887696"/>
              <a:gd name="connsiteX0-1461" fmla="*/ 1331 w 10562072"/>
              <a:gd name="connsiteY0-1462" fmla="*/ 2791 h 887696"/>
              <a:gd name="connsiteX1-1463" fmla="*/ 10561656 w 10562072"/>
              <a:gd name="connsiteY1-1464" fmla="*/ 0 h 887696"/>
              <a:gd name="connsiteX2-1465" fmla="*/ 10561157 w 10562072"/>
              <a:gd name="connsiteY2-1466" fmla="*/ 90892 h 887696"/>
              <a:gd name="connsiteX3-1467" fmla="*/ 2317558 w 10562072"/>
              <a:gd name="connsiteY3-1468" fmla="*/ 89040 h 887696"/>
              <a:gd name="connsiteX4-1469" fmla="*/ 1180889 w 10562072"/>
              <a:gd name="connsiteY4-1470" fmla="*/ 887696 h 887696"/>
              <a:gd name="connsiteX5-1471" fmla="*/ 0 w 10562072"/>
              <a:gd name="connsiteY5-1472" fmla="*/ 103593 h 887696"/>
              <a:gd name="connsiteX6-1473" fmla="*/ 1331 w 10562072"/>
              <a:gd name="connsiteY6-1474" fmla="*/ 2791 h 887696"/>
              <a:gd name="connsiteX0-1475" fmla="*/ 1331 w 10562072"/>
              <a:gd name="connsiteY0-1476" fmla="*/ 2791 h 887696"/>
              <a:gd name="connsiteX1-1477" fmla="*/ 10561656 w 10562072"/>
              <a:gd name="connsiteY1-1478" fmla="*/ 0 h 887696"/>
              <a:gd name="connsiteX2-1479" fmla="*/ 10561157 w 10562072"/>
              <a:gd name="connsiteY2-1480" fmla="*/ 90892 h 887696"/>
              <a:gd name="connsiteX3-1481" fmla="*/ 2317558 w 10562072"/>
              <a:gd name="connsiteY3-1482" fmla="*/ 89040 h 887696"/>
              <a:gd name="connsiteX4-1483" fmla="*/ 1180889 w 10562072"/>
              <a:gd name="connsiteY4-1484" fmla="*/ 887696 h 887696"/>
              <a:gd name="connsiteX5-1485" fmla="*/ 0 w 10562072"/>
              <a:gd name="connsiteY5-1486" fmla="*/ 103593 h 887696"/>
              <a:gd name="connsiteX6-1487" fmla="*/ 1331 w 10562072"/>
              <a:gd name="connsiteY6-1488" fmla="*/ 2791 h 887696"/>
              <a:gd name="connsiteX0-1489" fmla="*/ 1331 w 10562072"/>
              <a:gd name="connsiteY0-1490" fmla="*/ 2791 h 887696"/>
              <a:gd name="connsiteX1-1491" fmla="*/ 10561656 w 10562072"/>
              <a:gd name="connsiteY1-1492" fmla="*/ 0 h 887696"/>
              <a:gd name="connsiteX2-1493" fmla="*/ 10561157 w 10562072"/>
              <a:gd name="connsiteY2-1494" fmla="*/ 90892 h 887696"/>
              <a:gd name="connsiteX3-1495" fmla="*/ 2317558 w 10562072"/>
              <a:gd name="connsiteY3-1496" fmla="*/ 89040 h 887696"/>
              <a:gd name="connsiteX4-1497" fmla="*/ 1180889 w 10562072"/>
              <a:gd name="connsiteY4-1498" fmla="*/ 887696 h 887696"/>
              <a:gd name="connsiteX5-1499" fmla="*/ 0 w 10562072"/>
              <a:gd name="connsiteY5-1500" fmla="*/ 103593 h 887696"/>
              <a:gd name="connsiteX6-1501" fmla="*/ 1331 w 10562072"/>
              <a:gd name="connsiteY6-1502" fmla="*/ 2791 h 887696"/>
              <a:gd name="connsiteX0-1503" fmla="*/ 1331 w 10562072"/>
              <a:gd name="connsiteY0-1504" fmla="*/ 2791 h 887696"/>
              <a:gd name="connsiteX1-1505" fmla="*/ 10561656 w 10562072"/>
              <a:gd name="connsiteY1-1506" fmla="*/ 0 h 887696"/>
              <a:gd name="connsiteX2-1507" fmla="*/ 10561157 w 10562072"/>
              <a:gd name="connsiteY2-1508" fmla="*/ 90892 h 887696"/>
              <a:gd name="connsiteX3-1509" fmla="*/ 2317558 w 10562072"/>
              <a:gd name="connsiteY3-1510" fmla="*/ 89040 h 887696"/>
              <a:gd name="connsiteX4-1511" fmla="*/ 1180889 w 10562072"/>
              <a:gd name="connsiteY4-1512" fmla="*/ 887696 h 887696"/>
              <a:gd name="connsiteX5-1513" fmla="*/ 0 w 10562072"/>
              <a:gd name="connsiteY5-1514" fmla="*/ 103593 h 887696"/>
              <a:gd name="connsiteX6-1515" fmla="*/ 1331 w 10562072"/>
              <a:gd name="connsiteY6-1516" fmla="*/ 2791 h 887696"/>
              <a:gd name="connsiteX0-1517" fmla="*/ 0 w 10568342"/>
              <a:gd name="connsiteY0-1518" fmla="*/ 0 h 2916892"/>
              <a:gd name="connsiteX1-1519" fmla="*/ 10567926 w 10568342"/>
              <a:gd name="connsiteY1-1520" fmla="*/ 2029196 h 2916892"/>
              <a:gd name="connsiteX2-1521" fmla="*/ 10567427 w 10568342"/>
              <a:gd name="connsiteY2-1522" fmla="*/ 2120088 h 2916892"/>
              <a:gd name="connsiteX3-1523" fmla="*/ 2323828 w 10568342"/>
              <a:gd name="connsiteY3-1524" fmla="*/ 2118236 h 2916892"/>
              <a:gd name="connsiteX4-1525" fmla="*/ 1187159 w 10568342"/>
              <a:gd name="connsiteY4-1526" fmla="*/ 2916892 h 2916892"/>
              <a:gd name="connsiteX5-1527" fmla="*/ 6270 w 10568342"/>
              <a:gd name="connsiteY5-1528" fmla="*/ 2132789 h 2916892"/>
              <a:gd name="connsiteX6-1529" fmla="*/ 0 w 10568342"/>
              <a:gd name="connsiteY6-1530" fmla="*/ 0 h 2916892"/>
              <a:gd name="connsiteX0-1531" fmla="*/ 0 w 10575943"/>
              <a:gd name="connsiteY0-1532" fmla="*/ 0 h 2955377"/>
              <a:gd name="connsiteX1-1533" fmla="*/ 10575527 w 10575943"/>
              <a:gd name="connsiteY1-1534" fmla="*/ 2067681 h 2955377"/>
              <a:gd name="connsiteX2-1535" fmla="*/ 10575028 w 10575943"/>
              <a:gd name="connsiteY2-1536" fmla="*/ 2158573 h 2955377"/>
              <a:gd name="connsiteX3-1537" fmla="*/ 2331429 w 10575943"/>
              <a:gd name="connsiteY3-1538" fmla="*/ 2156721 h 2955377"/>
              <a:gd name="connsiteX4-1539" fmla="*/ 1194760 w 10575943"/>
              <a:gd name="connsiteY4-1540" fmla="*/ 2955377 h 2955377"/>
              <a:gd name="connsiteX5-1541" fmla="*/ 13871 w 10575943"/>
              <a:gd name="connsiteY5-1542" fmla="*/ 2171274 h 2955377"/>
              <a:gd name="connsiteX6-1543" fmla="*/ 0 w 10575943"/>
              <a:gd name="connsiteY6-1544" fmla="*/ 0 h 2955377"/>
              <a:gd name="connsiteX0-1545" fmla="*/ 267371 w 10562072"/>
              <a:gd name="connsiteY0-1546" fmla="*/ 0 h 2685985"/>
              <a:gd name="connsiteX1-1547" fmla="*/ 10561656 w 10562072"/>
              <a:gd name="connsiteY1-1548" fmla="*/ 1798289 h 2685985"/>
              <a:gd name="connsiteX2-1549" fmla="*/ 10561157 w 10562072"/>
              <a:gd name="connsiteY2-1550" fmla="*/ 1889181 h 2685985"/>
              <a:gd name="connsiteX3-1551" fmla="*/ 2317558 w 10562072"/>
              <a:gd name="connsiteY3-1552" fmla="*/ 1887329 h 2685985"/>
              <a:gd name="connsiteX4-1553" fmla="*/ 1180889 w 10562072"/>
              <a:gd name="connsiteY4-1554" fmla="*/ 2685985 h 2685985"/>
              <a:gd name="connsiteX5-1555" fmla="*/ 0 w 10562072"/>
              <a:gd name="connsiteY5-1556" fmla="*/ 1901882 h 2685985"/>
              <a:gd name="connsiteX6-1557" fmla="*/ 267371 w 10562072"/>
              <a:gd name="connsiteY6-1558" fmla="*/ 0 h 2685985"/>
              <a:gd name="connsiteX0-1559" fmla="*/ 1331 w 10562072"/>
              <a:gd name="connsiteY0-1560" fmla="*/ 0 h 2955377"/>
              <a:gd name="connsiteX1-1561" fmla="*/ 10561656 w 10562072"/>
              <a:gd name="connsiteY1-1562" fmla="*/ 2067681 h 2955377"/>
              <a:gd name="connsiteX2-1563" fmla="*/ 10561157 w 10562072"/>
              <a:gd name="connsiteY2-1564" fmla="*/ 2158573 h 2955377"/>
              <a:gd name="connsiteX3-1565" fmla="*/ 2317558 w 10562072"/>
              <a:gd name="connsiteY3-1566" fmla="*/ 2156721 h 2955377"/>
              <a:gd name="connsiteX4-1567" fmla="*/ 1180889 w 10562072"/>
              <a:gd name="connsiteY4-1568" fmla="*/ 2955377 h 2955377"/>
              <a:gd name="connsiteX5-1569" fmla="*/ 0 w 10562072"/>
              <a:gd name="connsiteY5-1570" fmla="*/ 2171274 h 2955377"/>
              <a:gd name="connsiteX6-1571" fmla="*/ 1331 w 10562072"/>
              <a:gd name="connsiteY6-1572" fmla="*/ 0 h 2955377"/>
              <a:gd name="connsiteX0-1573" fmla="*/ 1331 w 10562072"/>
              <a:gd name="connsiteY0-1574" fmla="*/ 2791 h 2958168"/>
              <a:gd name="connsiteX1-1575" fmla="*/ 10561655 w 10562072"/>
              <a:gd name="connsiteY1-1576" fmla="*/ 0 h 2958168"/>
              <a:gd name="connsiteX2-1577" fmla="*/ 10561157 w 10562072"/>
              <a:gd name="connsiteY2-1578" fmla="*/ 2161364 h 2958168"/>
              <a:gd name="connsiteX3-1579" fmla="*/ 2317558 w 10562072"/>
              <a:gd name="connsiteY3-1580" fmla="*/ 2159512 h 2958168"/>
              <a:gd name="connsiteX4-1581" fmla="*/ 1180889 w 10562072"/>
              <a:gd name="connsiteY4-1582" fmla="*/ 2958168 h 2958168"/>
              <a:gd name="connsiteX5-1583" fmla="*/ 0 w 10562072"/>
              <a:gd name="connsiteY5-1584" fmla="*/ 2174065 h 2958168"/>
              <a:gd name="connsiteX6-1585" fmla="*/ 1331 w 10562072"/>
              <a:gd name="connsiteY6-1586" fmla="*/ 2791 h 2958168"/>
              <a:gd name="connsiteX0-1587" fmla="*/ 1331 w 10562072"/>
              <a:gd name="connsiteY0-1588" fmla="*/ 2791 h 2958168"/>
              <a:gd name="connsiteX1-1589" fmla="*/ 10561655 w 10562072"/>
              <a:gd name="connsiteY1-1590" fmla="*/ 0 h 2958168"/>
              <a:gd name="connsiteX2-1591" fmla="*/ 10561157 w 10562072"/>
              <a:gd name="connsiteY2-1592" fmla="*/ 2161364 h 2958168"/>
              <a:gd name="connsiteX3-1593" fmla="*/ 9288594 w 10562072"/>
              <a:gd name="connsiteY3-1594" fmla="*/ 2153103 h 2958168"/>
              <a:gd name="connsiteX4-1595" fmla="*/ 2317558 w 10562072"/>
              <a:gd name="connsiteY4-1596" fmla="*/ 2159512 h 2958168"/>
              <a:gd name="connsiteX5-1597" fmla="*/ 1180889 w 10562072"/>
              <a:gd name="connsiteY5-1598" fmla="*/ 2958168 h 2958168"/>
              <a:gd name="connsiteX6-1599" fmla="*/ 0 w 10562072"/>
              <a:gd name="connsiteY6-1600" fmla="*/ 2174065 h 2958168"/>
              <a:gd name="connsiteX7-1601" fmla="*/ 1331 w 10562072"/>
              <a:gd name="connsiteY7-1602" fmla="*/ 2791 h 2958168"/>
              <a:gd name="connsiteX0-1603" fmla="*/ 1331 w 10561657"/>
              <a:gd name="connsiteY0-1604" fmla="*/ 2791 h 2958168"/>
              <a:gd name="connsiteX1-1605" fmla="*/ 10561655 w 10561657"/>
              <a:gd name="connsiteY1-1606" fmla="*/ 0 h 2958168"/>
              <a:gd name="connsiteX2-1607" fmla="*/ 10469943 w 10561657"/>
              <a:gd name="connsiteY2-1608" fmla="*/ 668161 h 2958168"/>
              <a:gd name="connsiteX3-1609" fmla="*/ 9288594 w 10561657"/>
              <a:gd name="connsiteY3-1610" fmla="*/ 2153103 h 2958168"/>
              <a:gd name="connsiteX4-1611" fmla="*/ 2317558 w 10561657"/>
              <a:gd name="connsiteY4-1612" fmla="*/ 2159512 h 2958168"/>
              <a:gd name="connsiteX5-1613" fmla="*/ 1180889 w 10561657"/>
              <a:gd name="connsiteY5-1614" fmla="*/ 2958168 h 2958168"/>
              <a:gd name="connsiteX6-1615" fmla="*/ 0 w 10561657"/>
              <a:gd name="connsiteY6-1616" fmla="*/ 2174065 h 2958168"/>
              <a:gd name="connsiteX7-1617" fmla="*/ 1331 w 10561657"/>
              <a:gd name="connsiteY7-1618" fmla="*/ 2791 h 2958168"/>
              <a:gd name="connsiteX0-1619" fmla="*/ 1331 w 10562072"/>
              <a:gd name="connsiteY0-1620" fmla="*/ 2791 h 2958168"/>
              <a:gd name="connsiteX1-1621" fmla="*/ 10561655 w 10562072"/>
              <a:gd name="connsiteY1-1622" fmla="*/ 0 h 2958168"/>
              <a:gd name="connsiteX2-1623" fmla="*/ 10561157 w 10562072"/>
              <a:gd name="connsiteY2-1624" fmla="*/ 1468641 h 2958168"/>
              <a:gd name="connsiteX3-1625" fmla="*/ 9288594 w 10562072"/>
              <a:gd name="connsiteY3-1626" fmla="*/ 2153103 h 2958168"/>
              <a:gd name="connsiteX4-1627" fmla="*/ 2317558 w 10562072"/>
              <a:gd name="connsiteY4-1628" fmla="*/ 2159512 h 2958168"/>
              <a:gd name="connsiteX5-1629" fmla="*/ 1180889 w 10562072"/>
              <a:gd name="connsiteY5-1630" fmla="*/ 2958168 h 2958168"/>
              <a:gd name="connsiteX6-1631" fmla="*/ 0 w 10562072"/>
              <a:gd name="connsiteY6-1632" fmla="*/ 2174065 h 2958168"/>
              <a:gd name="connsiteX7-1633" fmla="*/ 1331 w 10562072"/>
              <a:gd name="connsiteY7-1634" fmla="*/ 2791 h 2958168"/>
              <a:gd name="connsiteX0-1635" fmla="*/ 1331 w 10561655"/>
              <a:gd name="connsiteY0-1636" fmla="*/ 2791 h 2958168"/>
              <a:gd name="connsiteX1-1637" fmla="*/ 10561655 w 10561655"/>
              <a:gd name="connsiteY1-1638" fmla="*/ 0 h 2958168"/>
              <a:gd name="connsiteX2-1639" fmla="*/ 10196302 w 10561655"/>
              <a:gd name="connsiteY2-1640" fmla="*/ 1183855 h 2958168"/>
              <a:gd name="connsiteX3-1641" fmla="*/ 9288594 w 10561655"/>
              <a:gd name="connsiteY3-1642" fmla="*/ 2153103 h 2958168"/>
              <a:gd name="connsiteX4-1643" fmla="*/ 2317558 w 10561655"/>
              <a:gd name="connsiteY4-1644" fmla="*/ 2159512 h 2958168"/>
              <a:gd name="connsiteX5-1645" fmla="*/ 1180889 w 10561655"/>
              <a:gd name="connsiteY5-1646" fmla="*/ 2958168 h 2958168"/>
              <a:gd name="connsiteX6-1647" fmla="*/ 0 w 10561655"/>
              <a:gd name="connsiteY6-1648" fmla="*/ 2174065 h 2958168"/>
              <a:gd name="connsiteX7-1649" fmla="*/ 1331 w 10561655"/>
              <a:gd name="connsiteY7-1650" fmla="*/ 2791 h 2958168"/>
              <a:gd name="connsiteX0-1651" fmla="*/ 1331 w 10562072"/>
              <a:gd name="connsiteY0-1652" fmla="*/ 2791 h 2958168"/>
              <a:gd name="connsiteX1-1653" fmla="*/ 10561655 w 10562072"/>
              <a:gd name="connsiteY1-1654" fmla="*/ 0 h 2958168"/>
              <a:gd name="connsiteX2-1655" fmla="*/ 10561157 w 10562072"/>
              <a:gd name="connsiteY2-1656" fmla="*/ 1476338 h 2958168"/>
              <a:gd name="connsiteX3-1657" fmla="*/ 9288594 w 10562072"/>
              <a:gd name="connsiteY3-1658" fmla="*/ 2153103 h 2958168"/>
              <a:gd name="connsiteX4-1659" fmla="*/ 2317558 w 10562072"/>
              <a:gd name="connsiteY4-1660" fmla="*/ 2159512 h 2958168"/>
              <a:gd name="connsiteX5-1661" fmla="*/ 1180889 w 10562072"/>
              <a:gd name="connsiteY5-1662" fmla="*/ 2958168 h 2958168"/>
              <a:gd name="connsiteX6-1663" fmla="*/ 0 w 10562072"/>
              <a:gd name="connsiteY6-1664" fmla="*/ 2174065 h 2958168"/>
              <a:gd name="connsiteX7-1665" fmla="*/ 1331 w 10562072"/>
              <a:gd name="connsiteY7-1666" fmla="*/ 2791 h 2958168"/>
              <a:gd name="connsiteX0-1667" fmla="*/ 1331 w 10562072"/>
              <a:gd name="connsiteY0-1668" fmla="*/ 2791 h 2958168"/>
              <a:gd name="connsiteX1-1669" fmla="*/ 10561655 w 10562072"/>
              <a:gd name="connsiteY1-1670" fmla="*/ 0 h 2958168"/>
              <a:gd name="connsiteX2-1671" fmla="*/ 10561157 w 10562072"/>
              <a:gd name="connsiteY2-1672" fmla="*/ 1476338 h 2958168"/>
              <a:gd name="connsiteX3-1673" fmla="*/ 9288594 w 10562072"/>
              <a:gd name="connsiteY3-1674" fmla="*/ 2153103 h 2958168"/>
              <a:gd name="connsiteX4-1675" fmla="*/ 2317558 w 10562072"/>
              <a:gd name="connsiteY4-1676" fmla="*/ 2159512 h 2958168"/>
              <a:gd name="connsiteX5-1677" fmla="*/ 1180889 w 10562072"/>
              <a:gd name="connsiteY5-1678" fmla="*/ 2958168 h 2958168"/>
              <a:gd name="connsiteX6-1679" fmla="*/ 0 w 10562072"/>
              <a:gd name="connsiteY6-1680" fmla="*/ 2174065 h 2958168"/>
              <a:gd name="connsiteX7-1681" fmla="*/ 1331 w 10562072"/>
              <a:gd name="connsiteY7-1682" fmla="*/ 2791 h 2958168"/>
              <a:gd name="connsiteX0-1683" fmla="*/ 1331 w 10562072"/>
              <a:gd name="connsiteY0-1684" fmla="*/ 2791 h 2958168"/>
              <a:gd name="connsiteX1-1685" fmla="*/ 10561655 w 10562072"/>
              <a:gd name="connsiteY1-1686" fmla="*/ 0 h 2958168"/>
              <a:gd name="connsiteX2-1687" fmla="*/ 10561157 w 10562072"/>
              <a:gd name="connsiteY2-1688" fmla="*/ 1476338 h 2958168"/>
              <a:gd name="connsiteX3-1689" fmla="*/ 9288594 w 10562072"/>
              <a:gd name="connsiteY3-1690" fmla="*/ 2153103 h 2958168"/>
              <a:gd name="connsiteX4-1691" fmla="*/ 2317558 w 10562072"/>
              <a:gd name="connsiteY4-1692" fmla="*/ 2159512 h 2958168"/>
              <a:gd name="connsiteX5-1693" fmla="*/ 1180889 w 10562072"/>
              <a:gd name="connsiteY5-1694" fmla="*/ 2958168 h 2958168"/>
              <a:gd name="connsiteX6-1695" fmla="*/ 0 w 10562072"/>
              <a:gd name="connsiteY6-1696" fmla="*/ 2174065 h 2958168"/>
              <a:gd name="connsiteX7-1697" fmla="*/ 1331 w 10562072"/>
              <a:gd name="connsiteY7-1698" fmla="*/ 2791 h 2958168"/>
              <a:gd name="connsiteX0-1699" fmla="*/ 1331 w 10562411"/>
              <a:gd name="connsiteY0-1700" fmla="*/ 2791 h 2958168"/>
              <a:gd name="connsiteX1-1701" fmla="*/ 9749773 w 10562411"/>
              <a:gd name="connsiteY1-1702" fmla="*/ 0 h 2958168"/>
              <a:gd name="connsiteX2-1703" fmla="*/ 10561157 w 10562411"/>
              <a:gd name="connsiteY2-1704" fmla="*/ 1476338 h 2958168"/>
              <a:gd name="connsiteX3-1705" fmla="*/ 9288594 w 10562411"/>
              <a:gd name="connsiteY3-1706" fmla="*/ 2153103 h 2958168"/>
              <a:gd name="connsiteX4-1707" fmla="*/ 2317558 w 10562411"/>
              <a:gd name="connsiteY4-1708" fmla="*/ 2159512 h 2958168"/>
              <a:gd name="connsiteX5-1709" fmla="*/ 1180889 w 10562411"/>
              <a:gd name="connsiteY5-1710" fmla="*/ 2958168 h 2958168"/>
              <a:gd name="connsiteX6-1711" fmla="*/ 0 w 10562411"/>
              <a:gd name="connsiteY6-1712" fmla="*/ 2174065 h 2958168"/>
              <a:gd name="connsiteX7-1713" fmla="*/ 1331 w 10562411"/>
              <a:gd name="connsiteY7-1714" fmla="*/ 2791 h 2958168"/>
              <a:gd name="connsiteX0-1715" fmla="*/ 1331 w 10562411"/>
              <a:gd name="connsiteY0-1716" fmla="*/ 2791 h 2958168"/>
              <a:gd name="connsiteX1-1717" fmla="*/ 9749773 w 10562411"/>
              <a:gd name="connsiteY1-1718" fmla="*/ 0 h 2958168"/>
              <a:gd name="connsiteX2-1719" fmla="*/ 10561157 w 10562411"/>
              <a:gd name="connsiteY2-1720" fmla="*/ 1476338 h 2958168"/>
              <a:gd name="connsiteX3-1721" fmla="*/ 8330082 w 10562411"/>
              <a:gd name="connsiteY3-1722" fmla="*/ 2161611 h 2958168"/>
              <a:gd name="connsiteX4-1723" fmla="*/ 2317558 w 10562411"/>
              <a:gd name="connsiteY4-1724" fmla="*/ 2159512 h 2958168"/>
              <a:gd name="connsiteX5-1725" fmla="*/ 1180889 w 10562411"/>
              <a:gd name="connsiteY5-1726" fmla="*/ 2958168 h 2958168"/>
              <a:gd name="connsiteX6-1727" fmla="*/ 0 w 10562411"/>
              <a:gd name="connsiteY6-1728" fmla="*/ 2174065 h 2958168"/>
              <a:gd name="connsiteX7-1729" fmla="*/ 1331 w 10562411"/>
              <a:gd name="connsiteY7-1730" fmla="*/ 2791 h 2958168"/>
              <a:gd name="connsiteX0-1731" fmla="*/ 1331 w 9751027"/>
              <a:gd name="connsiteY0-1732" fmla="*/ 2791 h 2958168"/>
              <a:gd name="connsiteX1-1733" fmla="*/ 9749773 w 9751027"/>
              <a:gd name="connsiteY1-1734" fmla="*/ 0 h 2958168"/>
              <a:gd name="connsiteX2-1735" fmla="*/ 9749773 w 9751027"/>
              <a:gd name="connsiteY2-1736" fmla="*/ 1518345 h 2958168"/>
              <a:gd name="connsiteX3-1737" fmla="*/ 8330082 w 9751027"/>
              <a:gd name="connsiteY3-1738" fmla="*/ 2161611 h 2958168"/>
              <a:gd name="connsiteX4-1739" fmla="*/ 2317558 w 9751027"/>
              <a:gd name="connsiteY4-1740" fmla="*/ 2159512 h 2958168"/>
              <a:gd name="connsiteX5-1741" fmla="*/ 1180889 w 9751027"/>
              <a:gd name="connsiteY5-1742" fmla="*/ 2958168 h 2958168"/>
              <a:gd name="connsiteX6-1743" fmla="*/ 0 w 9751027"/>
              <a:gd name="connsiteY6-1744" fmla="*/ 2174065 h 2958168"/>
              <a:gd name="connsiteX7-1745" fmla="*/ 1331 w 9751027"/>
              <a:gd name="connsiteY7-1746" fmla="*/ 2791 h 2958168"/>
              <a:gd name="connsiteX0-1747" fmla="*/ 1331 w 9751027"/>
              <a:gd name="connsiteY0-1748" fmla="*/ 0 h 2955377"/>
              <a:gd name="connsiteX1-1749" fmla="*/ 9749773 w 9751027"/>
              <a:gd name="connsiteY1-1750" fmla="*/ 179239 h 2955377"/>
              <a:gd name="connsiteX2-1751" fmla="*/ 9749773 w 9751027"/>
              <a:gd name="connsiteY2-1752" fmla="*/ 1515554 h 2955377"/>
              <a:gd name="connsiteX3-1753" fmla="*/ 8330082 w 9751027"/>
              <a:gd name="connsiteY3-1754" fmla="*/ 2158820 h 2955377"/>
              <a:gd name="connsiteX4-1755" fmla="*/ 2317558 w 9751027"/>
              <a:gd name="connsiteY4-1756" fmla="*/ 2156721 h 2955377"/>
              <a:gd name="connsiteX5-1757" fmla="*/ 1180889 w 9751027"/>
              <a:gd name="connsiteY5-1758" fmla="*/ 2955377 h 2955377"/>
              <a:gd name="connsiteX6-1759" fmla="*/ 0 w 9751027"/>
              <a:gd name="connsiteY6-1760" fmla="*/ 2171274 h 2955377"/>
              <a:gd name="connsiteX7-1761" fmla="*/ 1331 w 9751027"/>
              <a:gd name="connsiteY7-1762" fmla="*/ 0 h 2955377"/>
              <a:gd name="connsiteX0-1763" fmla="*/ 2189 w 9751027"/>
              <a:gd name="connsiteY0-1764" fmla="*/ 0 h 2776138"/>
              <a:gd name="connsiteX1-1765" fmla="*/ 9749773 w 9751027"/>
              <a:gd name="connsiteY1-1766" fmla="*/ 0 h 2776138"/>
              <a:gd name="connsiteX2-1767" fmla="*/ 9749773 w 9751027"/>
              <a:gd name="connsiteY2-1768" fmla="*/ 1336315 h 2776138"/>
              <a:gd name="connsiteX3-1769" fmla="*/ 8330082 w 9751027"/>
              <a:gd name="connsiteY3-1770" fmla="*/ 1979581 h 2776138"/>
              <a:gd name="connsiteX4-1771" fmla="*/ 2317558 w 9751027"/>
              <a:gd name="connsiteY4-1772" fmla="*/ 1977482 h 2776138"/>
              <a:gd name="connsiteX5-1773" fmla="*/ 1180889 w 9751027"/>
              <a:gd name="connsiteY5-1774" fmla="*/ 2776138 h 2776138"/>
              <a:gd name="connsiteX6-1775" fmla="*/ 0 w 9751027"/>
              <a:gd name="connsiteY6-1776" fmla="*/ 1992035 h 2776138"/>
              <a:gd name="connsiteX7-1777" fmla="*/ 2189 w 9751027"/>
              <a:gd name="connsiteY7-1778" fmla="*/ 0 h 2776138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21" y="connsiteY5-22"/>
              </a:cxn>
              <a:cxn ang="0">
                <a:pos x="connsiteX6-35" y="connsiteY6-36"/>
              </a:cxn>
              <a:cxn ang="0">
                <a:pos x="connsiteX7-135" y="connsiteY7-136"/>
              </a:cxn>
            </a:cxnLst>
            <a:rect l="l" t="t" r="r" b="b"/>
            <a:pathLst>
              <a:path w="9751027" h="2776138">
                <a:moveTo>
                  <a:pt x="2189" y="0"/>
                </a:moveTo>
                <a:lnTo>
                  <a:pt x="9749773" y="0"/>
                </a:lnTo>
                <a:cubicBezTo>
                  <a:pt x="9750286" y="67600"/>
                  <a:pt x="9751027" y="1292900"/>
                  <a:pt x="9749773" y="1336315"/>
                </a:cubicBezTo>
                <a:cubicBezTo>
                  <a:pt x="9272377" y="2008324"/>
                  <a:pt x="8746668" y="1984901"/>
                  <a:pt x="8330082" y="1979581"/>
                </a:cubicBezTo>
                <a:lnTo>
                  <a:pt x="2317558" y="1977482"/>
                </a:lnTo>
                <a:cubicBezTo>
                  <a:pt x="1740344" y="2010624"/>
                  <a:pt x="1372498" y="2313316"/>
                  <a:pt x="1180889" y="2776138"/>
                </a:cubicBezTo>
                <a:cubicBezTo>
                  <a:pt x="882535" y="2072361"/>
                  <a:pt x="278640" y="1991157"/>
                  <a:pt x="0" y="1992035"/>
                </a:cubicBezTo>
                <a:cubicBezTo>
                  <a:pt x="2067" y="1956522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</a:ln>
          <a:effectLst>
            <a:outerShdw blurRad="41275" dist="38100" dir="5400000" algn="t" rotWithShape="0">
              <a:srgbClr val="A1A1A1">
                <a:alpha val="24706"/>
              </a:srgbClr>
            </a:outerShdw>
          </a:effectLst>
        </p:spPr>
        <p:txBody>
          <a:bodyPr lIns="31238" tIns="40608" rIns="31238" bIns="40608" anchor="ctr"/>
          <a:lstStyle/>
          <a:p>
            <a:pPr algn="ctr" defTabSz="431800">
              <a:defRPr/>
            </a:pPr>
            <a:endParaRPr lang="en-US" sz="945" dirty="0">
              <a:solidFill>
                <a:prstClr val="white"/>
              </a:solidFill>
              <a:latin typeface="Arial" panose="020B0604020202090204"/>
              <a:ea typeface="MS PGothic" pitchFamily="34" charset="-128"/>
              <a:cs typeface="Arial" panose="020B0604020202090204"/>
            </a:endParaRPr>
          </a:p>
        </p:txBody>
      </p:sp>
      <p:sp>
        <p:nvSpPr>
          <p:cNvPr id="10" name="Rectangle 9"/>
          <p:cNvSpPr/>
          <p:nvPr userDrawn="1">
            <p:custDataLst>
              <p:tags r:id="rId4"/>
            </p:custDataLst>
          </p:nvPr>
        </p:nvSpPr>
        <p:spPr>
          <a:xfrm>
            <a:off x="0" y="6048163"/>
            <a:ext cx="11522075" cy="4320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9343" tIns="39672" rIns="79343" bIns="39672" anchor="ctr"/>
          <a:lstStyle/>
          <a:p>
            <a:pPr algn="ctr"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30" dirty="0">
              <a:solidFill>
                <a:prstClr val="white"/>
              </a:solidFill>
            </a:endParaRPr>
          </a:p>
        </p:txBody>
      </p:sp>
      <p:pic>
        <p:nvPicPr>
          <p:cNvPr id="11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211479" y="6175668"/>
            <a:ext cx="3176572" cy="1890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71"/>
          <p:cNvGrpSpPr/>
          <p:nvPr userDrawn="1"/>
        </p:nvGrpSpPr>
        <p:grpSpPr bwMode="auto">
          <a:xfrm>
            <a:off x="8093458" y="5274143"/>
            <a:ext cx="498090" cy="439512"/>
            <a:chOff x="6137269" y="5708334"/>
            <a:chExt cx="395544" cy="463864"/>
          </a:xfrm>
        </p:grpSpPr>
        <p:sp>
          <p:nvSpPr>
            <p:cNvPr id="13" name="Freeform 26"/>
            <p:cNvSpPr/>
            <p:nvPr userDrawn="1"/>
          </p:nvSpPr>
          <p:spPr bwMode="auto">
            <a:xfrm>
              <a:off x="6137269" y="5708334"/>
              <a:ext cx="160442" cy="227974"/>
            </a:xfrm>
            <a:custGeom>
              <a:avLst/>
              <a:gdLst/>
              <a:ahLst/>
              <a:cxnLst>
                <a:cxn ang="0">
                  <a:pos x="74" y="79"/>
                </a:cxn>
                <a:cxn ang="0">
                  <a:pos x="47" y="44"/>
                </a:cxn>
                <a:cxn ang="0">
                  <a:pos x="57" y="23"/>
                </a:cxn>
                <a:cxn ang="0">
                  <a:pos x="39" y="0"/>
                </a:cxn>
                <a:cxn ang="0">
                  <a:pos x="20" y="23"/>
                </a:cxn>
                <a:cxn ang="0">
                  <a:pos x="30" y="44"/>
                </a:cxn>
                <a:cxn ang="0">
                  <a:pos x="0" y="104"/>
                </a:cxn>
              </a:cxnLst>
              <a:rect l="0" t="0" r="r" b="b"/>
              <a:pathLst>
                <a:path w="74" h="104">
                  <a:moveTo>
                    <a:pt x="74" y="79"/>
                  </a:moveTo>
                  <a:cubicBezTo>
                    <a:pt x="71" y="62"/>
                    <a:pt x="62" y="49"/>
                    <a:pt x="47" y="44"/>
                  </a:cubicBezTo>
                  <a:cubicBezTo>
                    <a:pt x="52" y="40"/>
                    <a:pt x="57" y="31"/>
                    <a:pt x="57" y="23"/>
                  </a:cubicBezTo>
                  <a:cubicBezTo>
                    <a:pt x="57" y="10"/>
                    <a:pt x="49" y="0"/>
                    <a:pt x="39" y="0"/>
                  </a:cubicBezTo>
                  <a:cubicBezTo>
                    <a:pt x="28" y="0"/>
                    <a:pt x="20" y="10"/>
                    <a:pt x="20" y="23"/>
                  </a:cubicBezTo>
                  <a:cubicBezTo>
                    <a:pt x="20" y="31"/>
                    <a:pt x="26" y="40"/>
                    <a:pt x="30" y="44"/>
                  </a:cubicBezTo>
                  <a:cubicBezTo>
                    <a:pt x="8" y="51"/>
                    <a:pt x="0" y="75"/>
                    <a:pt x="0" y="104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0">
                <a:solidFill>
                  <a:srgbClr val="000000"/>
                </a:solidFill>
                <a:latin typeface="Arial" panose="020B0604020202090204" pitchFamily="34" charset="0"/>
                <a:ea typeface="MS PGothic" pitchFamily="34" charset="-128"/>
              </a:endParaRPr>
            </a:p>
          </p:txBody>
        </p:sp>
        <p:sp>
          <p:nvSpPr>
            <p:cNvPr id="14" name="Freeform 27"/>
            <p:cNvSpPr/>
            <p:nvPr userDrawn="1"/>
          </p:nvSpPr>
          <p:spPr bwMode="auto">
            <a:xfrm>
              <a:off x="6184925" y="5944224"/>
              <a:ext cx="73072" cy="1583"/>
            </a:xfrm>
            <a:custGeom>
              <a:avLst/>
              <a:gdLst/>
              <a:ahLst/>
              <a:cxnLst>
                <a:cxn ang="0">
                  <a:pos x="34" y="0"/>
                </a:cxn>
                <a:cxn ang="0">
                  <a:pos x="0" y="0"/>
                </a:cxn>
              </a:cxnLst>
              <a:rect l="0" t="0" r="r" b="b"/>
              <a:pathLst>
                <a:path w="34">
                  <a:moveTo>
                    <a:pt x="34" y="0"/>
                  </a:moveTo>
                  <a:cubicBezTo>
                    <a:pt x="24" y="0"/>
                    <a:pt x="11" y="0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0">
                <a:solidFill>
                  <a:srgbClr val="000000"/>
                </a:solidFill>
                <a:latin typeface="Arial" panose="020B0604020202090204" pitchFamily="34" charset="0"/>
                <a:ea typeface="MS PGothic" pitchFamily="34" charset="-128"/>
              </a:endParaRPr>
            </a:p>
          </p:txBody>
        </p:sp>
        <p:sp>
          <p:nvSpPr>
            <p:cNvPr id="15" name="Freeform 28"/>
            <p:cNvSpPr/>
            <p:nvPr userDrawn="1"/>
          </p:nvSpPr>
          <p:spPr bwMode="auto">
            <a:xfrm>
              <a:off x="6367606" y="5766911"/>
              <a:ext cx="165207" cy="281801"/>
            </a:xfrm>
            <a:custGeom>
              <a:avLst/>
              <a:gdLst/>
              <a:ahLst/>
              <a:cxnLst>
                <a:cxn ang="0">
                  <a:pos x="0" y="67"/>
                </a:cxn>
                <a:cxn ang="0">
                  <a:pos x="21" y="52"/>
                </a:cxn>
                <a:cxn ang="0">
                  <a:pos x="9" y="27"/>
                </a:cxn>
                <a:cxn ang="0">
                  <a:pos x="31" y="0"/>
                </a:cxn>
                <a:cxn ang="0">
                  <a:pos x="54" y="27"/>
                </a:cxn>
                <a:cxn ang="0">
                  <a:pos x="41" y="52"/>
                </a:cxn>
                <a:cxn ang="0">
                  <a:pos x="76" y="122"/>
                </a:cxn>
                <a:cxn ang="0">
                  <a:pos x="11" y="126"/>
                </a:cxn>
              </a:cxnLst>
              <a:rect l="0" t="0" r="r" b="b"/>
              <a:pathLst>
                <a:path w="76" h="128">
                  <a:moveTo>
                    <a:pt x="0" y="67"/>
                  </a:moveTo>
                  <a:cubicBezTo>
                    <a:pt x="5" y="59"/>
                    <a:pt x="12" y="54"/>
                    <a:pt x="21" y="52"/>
                  </a:cubicBezTo>
                  <a:cubicBezTo>
                    <a:pt x="16" y="46"/>
                    <a:pt x="9" y="36"/>
                    <a:pt x="9" y="27"/>
                  </a:cubicBezTo>
                  <a:cubicBezTo>
                    <a:pt x="9" y="11"/>
                    <a:pt x="19" y="0"/>
                    <a:pt x="31" y="0"/>
                  </a:cubicBezTo>
                  <a:cubicBezTo>
                    <a:pt x="44" y="0"/>
                    <a:pt x="54" y="11"/>
                    <a:pt x="54" y="27"/>
                  </a:cubicBezTo>
                  <a:cubicBezTo>
                    <a:pt x="54" y="36"/>
                    <a:pt x="47" y="46"/>
                    <a:pt x="41" y="52"/>
                  </a:cubicBezTo>
                  <a:cubicBezTo>
                    <a:pt x="67" y="59"/>
                    <a:pt x="76" y="88"/>
                    <a:pt x="76" y="122"/>
                  </a:cubicBezTo>
                  <a:cubicBezTo>
                    <a:pt x="76" y="126"/>
                    <a:pt x="37" y="128"/>
                    <a:pt x="11" y="126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0">
                <a:solidFill>
                  <a:srgbClr val="000000"/>
                </a:solidFill>
                <a:latin typeface="Arial" panose="020B0604020202090204" pitchFamily="34" charset="0"/>
                <a:ea typeface="MS PGothic" pitchFamily="34" charset="-128"/>
              </a:endParaRPr>
            </a:p>
          </p:txBody>
        </p:sp>
        <p:grpSp>
          <p:nvGrpSpPr>
            <p:cNvPr id="3" name="Group 76"/>
            <p:cNvGrpSpPr/>
            <p:nvPr userDrawn="1"/>
          </p:nvGrpSpPr>
          <p:grpSpPr bwMode="auto">
            <a:xfrm>
              <a:off x="6200810" y="5879315"/>
              <a:ext cx="235102" cy="292883"/>
              <a:chOff x="6200810" y="5879315"/>
              <a:chExt cx="235102" cy="292883"/>
            </a:xfrm>
          </p:grpSpPr>
          <p:sp>
            <p:nvSpPr>
              <p:cNvPr id="17" name="Freeform 24"/>
              <p:cNvSpPr/>
              <p:nvPr userDrawn="1"/>
            </p:nvSpPr>
            <p:spPr bwMode="auto">
              <a:xfrm>
                <a:off x="6259586" y="5880898"/>
                <a:ext cx="38125" cy="63326"/>
              </a:xfrm>
              <a:custGeom>
                <a:avLst/>
                <a:gdLst/>
                <a:ahLst/>
                <a:cxnLst>
                  <a:cxn ang="0">
                    <a:pos x="0" y="29"/>
                  </a:cxn>
                  <a:cxn ang="0">
                    <a:pos x="18" y="0"/>
                  </a:cxn>
                </a:cxnLst>
                <a:rect l="0" t="0" r="r" b="b"/>
                <a:pathLst>
                  <a:path w="18" h="29">
                    <a:moveTo>
                      <a:pt x="0" y="29"/>
                    </a:moveTo>
                    <a:cubicBezTo>
                      <a:pt x="1" y="15"/>
                      <a:pt x="8" y="4"/>
                      <a:pt x="18" y="0"/>
                    </a:cubicBezTo>
                  </a:path>
                </a:pathLst>
              </a:custGeom>
              <a:noFill/>
              <a:ln w="19050" cap="rnd">
                <a:solidFill>
                  <a:schemeClr val="bg1"/>
                </a:solidFill>
                <a:prstDash val="solid"/>
                <a:round/>
              </a:ln>
            </p:spPr>
            <p:txBody>
              <a:bodyPr/>
              <a:lstStyle/>
              <a:p>
                <a:pPr defTabSz="4318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0">
                  <a:solidFill>
                    <a:srgbClr val="000000"/>
                  </a:solidFill>
                  <a:latin typeface="Arial" panose="020B0604020202090204" pitchFamily="34" charset="0"/>
                  <a:ea typeface="MS PGothic" pitchFamily="34" charset="-128"/>
                </a:endParaRPr>
              </a:p>
            </p:txBody>
          </p:sp>
          <p:sp>
            <p:nvSpPr>
              <p:cNvPr id="18" name="Freeform 25"/>
              <p:cNvSpPr/>
              <p:nvPr userDrawn="1"/>
            </p:nvSpPr>
            <p:spPr bwMode="auto">
              <a:xfrm>
                <a:off x="6200810" y="5944224"/>
                <a:ext cx="90547" cy="227974"/>
              </a:xfrm>
              <a:custGeom>
                <a:avLst/>
                <a:gdLst>
                  <a:gd name="connsiteX0" fmla="*/ 6429 w 10000"/>
                  <a:gd name="connsiteY0" fmla="*/ 0 h 8863"/>
                  <a:gd name="connsiteX1" fmla="*/ 6429 w 10000"/>
                  <a:gd name="connsiteY1" fmla="*/ 171 h 8863"/>
                  <a:gd name="connsiteX2" fmla="*/ 10000 w 10000"/>
                  <a:gd name="connsiteY2" fmla="*/ 2735 h 8863"/>
                  <a:gd name="connsiteX3" fmla="*/ 0 w 10000"/>
                  <a:gd name="connsiteY3" fmla="*/ 8863 h 8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000" h="8863">
                    <a:moveTo>
                      <a:pt x="6429" y="0"/>
                    </a:moveTo>
                    <a:lnTo>
                      <a:pt x="6429" y="171"/>
                    </a:lnTo>
                    <a:cubicBezTo>
                      <a:pt x="6429" y="1197"/>
                      <a:pt x="8333" y="2222"/>
                      <a:pt x="10000" y="2735"/>
                    </a:cubicBezTo>
                    <a:cubicBezTo>
                      <a:pt x="2381" y="3504"/>
                      <a:pt x="0" y="5359"/>
                      <a:pt x="0" y="8863"/>
                    </a:cubicBezTo>
                  </a:path>
                </a:pathLst>
              </a:custGeom>
              <a:noFill/>
              <a:ln w="19050" cap="rnd">
                <a:solidFill>
                  <a:schemeClr val="bg1"/>
                </a:solidFill>
                <a:prstDash val="solid"/>
                <a:round/>
              </a:ln>
            </p:spPr>
            <p:txBody>
              <a:bodyPr/>
              <a:lstStyle/>
              <a:p>
                <a:pPr defTabSz="4318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0">
                  <a:solidFill>
                    <a:srgbClr val="000000"/>
                  </a:solidFill>
                  <a:latin typeface="Arial" panose="020B0604020202090204" pitchFamily="34" charset="0"/>
                  <a:ea typeface="MS PGothic" pitchFamily="34" charset="-128"/>
                </a:endParaRPr>
              </a:p>
            </p:txBody>
          </p:sp>
          <p:sp>
            <p:nvSpPr>
              <p:cNvPr id="19" name="Freeform 26"/>
              <p:cNvSpPr/>
              <p:nvPr userDrawn="1"/>
            </p:nvSpPr>
            <p:spPr bwMode="auto">
              <a:xfrm>
                <a:off x="6391433" y="6042379"/>
                <a:ext cx="44479" cy="12190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0" y="55"/>
                  </a:cxn>
                </a:cxnLst>
                <a:rect l="0" t="0" r="r" b="b"/>
                <a:pathLst>
                  <a:path w="20" h="55">
                    <a:moveTo>
                      <a:pt x="0" y="0"/>
                    </a:moveTo>
                    <a:cubicBezTo>
                      <a:pt x="12" y="13"/>
                      <a:pt x="18" y="32"/>
                      <a:pt x="20" y="55"/>
                    </a:cubicBezTo>
                  </a:path>
                </a:pathLst>
              </a:custGeom>
              <a:noFill/>
              <a:ln w="19050" cap="rnd">
                <a:solidFill>
                  <a:schemeClr val="bg1"/>
                </a:solidFill>
                <a:prstDash val="solid"/>
                <a:round/>
              </a:ln>
            </p:spPr>
            <p:txBody>
              <a:bodyPr/>
              <a:lstStyle/>
              <a:p>
                <a:pPr defTabSz="4318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0">
                  <a:solidFill>
                    <a:srgbClr val="000000"/>
                  </a:solidFill>
                  <a:latin typeface="Arial" panose="020B0604020202090204" pitchFamily="34" charset="0"/>
                  <a:ea typeface="MS PGothic" pitchFamily="34" charset="-128"/>
                </a:endParaRPr>
              </a:p>
            </p:txBody>
          </p:sp>
          <p:sp>
            <p:nvSpPr>
              <p:cNvPr id="20" name="Freeform 27"/>
              <p:cNvSpPr/>
              <p:nvPr userDrawn="1"/>
            </p:nvSpPr>
            <p:spPr bwMode="auto">
              <a:xfrm>
                <a:off x="6297711" y="5879314"/>
                <a:ext cx="69895" cy="34829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9" y="0"/>
                  </a:cxn>
                  <a:cxn ang="0">
                    <a:pos x="32" y="16"/>
                  </a:cxn>
                </a:cxnLst>
                <a:rect l="0" t="0" r="r" b="b"/>
                <a:pathLst>
                  <a:path w="32" h="16">
                    <a:moveTo>
                      <a:pt x="0" y="1"/>
                    </a:moveTo>
                    <a:cubicBezTo>
                      <a:pt x="3" y="0"/>
                      <a:pt x="6" y="0"/>
                      <a:pt x="9" y="0"/>
                    </a:cubicBezTo>
                    <a:cubicBezTo>
                      <a:pt x="19" y="0"/>
                      <a:pt x="28" y="6"/>
                      <a:pt x="32" y="16"/>
                    </a:cubicBezTo>
                  </a:path>
                </a:pathLst>
              </a:custGeom>
              <a:noFill/>
              <a:ln w="19050" cap="rnd">
                <a:solidFill>
                  <a:schemeClr val="bg1"/>
                </a:solidFill>
                <a:prstDash val="solid"/>
                <a:round/>
              </a:ln>
            </p:spPr>
            <p:txBody>
              <a:bodyPr/>
              <a:lstStyle/>
              <a:p>
                <a:pPr defTabSz="4318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0">
                  <a:solidFill>
                    <a:srgbClr val="000000"/>
                  </a:solidFill>
                  <a:latin typeface="Arial" panose="020B0604020202090204" pitchFamily="34" charset="0"/>
                  <a:ea typeface="MS PGothic" pitchFamily="34" charset="-128"/>
                </a:endParaRPr>
              </a:p>
            </p:txBody>
          </p:sp>
          <p:sp>
            <p:nvSpPr>
              <p:cNvPr id="21" name="Freeform 28"/>
              <p:cNvSpPr/>
              <p:nvPr userDrawn="1"/>
            </p:nvSpPr>
            <p:spPr bwMode="auto">
              <a:xfrm>
                <a:off x="6343777" y="5914143"/>
                <a:ext cx="47656" cy="128236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5" y="16"/>
                  </a:cxn>
                  <a:cxn ang="0">
                    <a:pos x="0" y="46"/>
                  </a:cxn>
                  <a:cxn ang="0">
                    <a:pos x="22" y="59"/>
                  </a:cxn>
                </a:cxnLst>
                <a:rect l="0" t="0" r="r" b="b"/>
                <a:pathLst>
                  <a:path w="22" h="59">
                    <a:moveTo>
                      <a:pt x="11" y="0"/>
                    </a:moveTo>
                    <a:cubicBezTo>
                      <a:pt x="13" y="4"/>
                      <a:pt x="15" y="10"/>
                      <a:pt x="15" y="16"/>
                    </a:cubicBezTo>
                    <a:cubicBezTo>
                      <a:pt x="15" y="28"/>
                      <a:pt x="7" y="40"/>
                      <a:pt x="0" y="46"/>
                    </a:cubicBezTo>
                    <a:cubicBezTo>
                      <a:pt x="9" y="49"/>
                      <a:pt x="16" y="53"/>
                      <a:pt x="22" y="59"/>
                    </a:cubicBezTo>
                  </a:path>
                </a:pathLst>
              </a:custGeom>
              <a:noFill/>
              <a:ln w="19050" cap="rnd">
                <a:solidFill>
                  <a:schemeClr val="bg1"/>
                </a:solidFill>
                <a:prstDash val="solid"/>
                <a:round/>
              </a:ln>
            </p:spPr>
            <p:txBody>
              <a:bodyPr/>
              <a:lstStyle/>
              <a:p>
                <a:pPr defTabSz="4318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0">
                  <a:solidFill>
                    <a:srgbClr val="000000"/>
                  </a:solidFill>
                  <a:latin typeface="Arial" panose="020B0604020202090204" pitchFamily="34" charset="0"/>
                  <a:ea typeface="MS PGothic" pitchFamily="34" charset="-128"/>
                </a:endParaRPr>
              </a:p>
            </p:txBody>
          </p:sp>
        </p:grpSp>
      </p:grpSp>
      <p:sp>
        <p:nvSpPr>
          <p:cNvPr id="22" name="Line 65"/>
          <p:cNvSpPr>
            <a:spLocks noChangeShapeType="1"/>
          </p:cNvSpPr>
          <p:nvPr userDrawn="1"/>
        </p:nvSpPr>
        <p:spPr bwMode="auto">
          <a:xfrm>
            <a:off x="10033807" y="5643152"/>
            <a:ext cx="352063" cy="0"/>
          </a:xfrm>
          <a:prstGeom prst="line">
            <a:avLst/>
          </a:prstGeom>
          <a:noFill/>
          <a:ln w="19050" cap="rnd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700">
              <a:solidFill>
                <a:srgbClr val="000000"/>
              </a:solidFill>
              <a:latin typeface="Arial" panose="020B0604020202090204" pitchFamily="34" charset="0"/>
              <a:ea typeface="MS PGothic" pitchFamily="34" charset="-128"/>
            </a:endParaRPr>
          </a:p>
        </p:txBody>
      </p:sp>
      <p:sp>
        <p:nvSpPr>
          <p:cNvPr id="23" name="Line 66"/>
          <p:cNvSpPr>
            <a:spLocks noChangeShapeType="1"/>
          </p:cNvSpPr>
          <p:nvPr userDrawn="1"/>
        </p:nvSpPr>
        <p:spPr bwMode="auto">
          <a:xfrm>
            <a:off x="8469526" y="5713655"/>
            <a:ext cx="412074" cy="0"/>
          </a:xfrm>
          <a:prstGeom prst="line">
            <a:avLst/>
          </a:prstGeom>
          <a:noFill/>
          <a:ln w="19050" cap="rnd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700">
              <a:solidFill>
                <a:srgbClr val="000000"/>
              </a:solidFill>
              <a:latin typeface="Arial" panose="020B0604020202090204" pitchFamily="34" charset="0"/>
              <a:ea typeface="MS PGothic" pitchFamily="34" charset="-128"/>
            </a:endParaRPr>
          </a:p>
        </p:txBody>
      </p:sp>
      <p:grpSp>
        <p:nvGrpSpPr>
          <p:cNvPr id="7" name="Group 83"/>
          <p:cNvGrpSpPr/>
          <p:nvPr userDrawn="1"/>
        </p:nvGrpSpPr>
        <p:grpSpPr bwMode="auto">
          <a:xfrm>
            <a:off x="8875599" y="5433147"/>
            <a:ext cx="564102" cy="427512"/>
            <a:chOff x="6773882" y="5879779"/>
            <a:chExt cx="447482" cy="451477"/>
          </a:xfrm>
        </p:grpSpPr>
        <p:sp>
          <p:nvSpPr>
            <p:cNvPr id="25" name="Freeform 56"/>
            <p:cNvSpPr/>
            <p:nvPr userDrawn="1"/>
          </p:nvSpPr>
          <p:spPr bwMode="auto">
            <a:xfrm>
              <a:off x="6773882" y="5960570"/>
              <a:ext cx="52364" cy="209105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0" y="66"/>
                </a:cxn>
                <a:cxn ang="0">
                  <a:pos x="4" y="95"/>
                </a:cxn>
              </a:cxnLst>
              <a:rect l="0" t="0" r="r" b="b"/>
              <a:pathLst>
                <a:path w="24" h="95">
                  <a:moveTo>
                    <a:pt x="24" y="0"/>
                  </a:moveTo>
                  <a:cubicBezTo>
                    <a:pt x="9" y="18"/>
                    <a:pt x="0" y="41"/>
                    <a:pt x="0" y="66"/>
                  </a:cubicBezTo>
                  <a:cubicBezTo>
                    <a:pt x="0" y="76"/>
                    <a:pt x="1" y="86"/>
                    <a:pt x="4" y="95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0">
                <a:solidFill>
                  <a:srgbClr val="000000"/>
                </a:solidFill>
                <a:latin typeface="Arial" panose="020B0604020202090204" pitchFamily="34" charset="0"/>
                <a:ea typeface="MS PGothic" pitchFamily="34" charset="-128"/>
              </a:endParaRPr>
            </a:p>
          </p:txBody>
        </p:sp>
        <p:sp>
          <p:nvSpPr>
            <p:cNvPr id="26" name="Freeform 57"/>
            <p:cNvSpPr/>
            <p:nvPr userDrawn="1"/>
          </p:nvSpPr>
          <p:spPr bwMode="auto">
            <a:xfrm>
              <a:off x="6826246" y="5879779"/>
              <a:ext cx="342752" cy="80791"/>
            </a:xfrm>
            <a:custGeom>
              <a:avLst/>
              <a:gdLst/>
              <a:ahLst/>
              <a:cxnLst>
                <a:cxn ang="0">
                  <a:pos x="0" y="37"/>
                </a:cxn>
                <a:cxn ang="0">
                  <a:pos x="79" y="0"/>
                </a:cxn>
                <a:cxn ang="0">
                  <a:pos x="158" y="37"/>
                </a:cxn>
              </a:cxnLst>
              <a:rect l="0" t="0" r="r" b="b"/>
              <a:pathLst>
                <a:path w="158" h="37">
                  <a:moveTo>
                    <a:pt x="0" y="37"/>
                  </a:moveTo>
                  <a:cubicBezTo>
                    <a:pt x="19" y="15"/>
                    <a:pt x="47" y="0"/>
                    <a:pt x="79" y="0"/>
                  </a:cubicBezTo>
                  <a:cubicBezTo>
                    <a:pt x="111" y="0"/>
                    <a:pt x="139" y="15"/>
                    <a:pt x="158" y="37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0">
                <a:solidFill>
                  <a:srgbClr val="000000"/>
                </a:solidFill>
                <a:latin typeface="Arial" panose="020B0604020202090204" pitchFamily="34" charset="0"/>
                <a:ea typeface="MS PGothic" pitchFamily="34" charset="-128"/>
              </a:endParaRPr>
            </a:p>
          </p:txBody>
        </p:sp>
        <p:sp>
          <p:nvSpPr>
            <p:cNvPr id="27" name="Freeform 58"/>
            <p:cNvSpPr/>
            <p:nvPr userDrawn="1"/>
          </p:nvSpPr>
          <p:spPr bwMode="auto">
            <a:xfrm>
              <a:off x="6826246" y="5960570"/>
              <a:ext cx="342752" cy="3960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79" y="18"/>
                </a:cxn>
                <a:cxn ang="0">
                  <a:pos x="115" y="15"/>
                </a:cxn>
                <a:cxn ang="0">
                  <a:pos x="137" y="9"/>
                </a:cxn>
                <a:cxn ang="0">
                  <a:pos x="158" y="0"/>
                </a:cxn>
              </a:cxnLst>
              <a:rect l="0" t="0" r="r" b="b"/>
              <a:pathLst>
                <a:path w="158" h="18">
                  <a:moveTo>
                    <a:pt x="0" y="0"/>
                  </a:moveTo>
                  <a:cubicBezTo>
                    <a:pt x="19" y="11"/>
                    <a:pt x="47" y="18"/>
                    <a:pt x="79" y="18"/>
                  </a:cubicBezTo>
                  <a:cubicBezTo>
                    <a:pt x="91" y="18"/>
                    <a:pt x="103" y="17"/>
                    <a:pt x="115" y="15"/>
                  </a:cubicBezTo>
                  <a:cubicBezTo>
                    <a:pt x="137" y="9"/>
                    <a:pt x="137" y="9"/>
                    <a:pt x="137" y="9"/>
                  </a:cubicBezTo>
                  <a:cubicBezTo>
                    <a:pt x="145" y="7"/>
                    <a:pt x="151" y="4"/>
                    <a:pt x="158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0">
                <a:solidFill>
                  <a:srgbClr val="000000"/>
                </a:solidFill>
                <a:latin typeface="Arial" panose="020B0604020202090204" pitchFamily="34" charset="0"/>
                <a:ea typeface="MS PGothic" pitchFamily="34" charset="-128"/>
              </a:endParaRPr>
            </a:p>
          </p:txBody>
        </p:sp>
        <p:sp>
          <p:nvSpPr>
            <p:cNvPr id="28" name="Freeform 59"/>
            <p:cNvSpPr/>
            <p:nvPr userDrawn="1"/>
          </p:nvSpPr>
          <p:spPr bwMode="auto">
            <a:xfrm>
              <a:off x="6826246" y="6210862"/>
              <a:ext cx="342752" cy="39603"/>
            </a:xfrm>
            <a:custGeom>
              <a:avLst/>
              <a:gdLst/>
              <a:ahLst/>
              <a:cxnLst>
                <a:cxn ang="0">
                  <a:pos x="158" y="18"/>
                </a:cxn>
                <a:cxn ang="0">
                  <a:pos x="79" y="0"/>
                </a:cxn>
                <a:cxn ang="0">
                  <a:pos x="0" y="18"/>
                </a:cxn>
              </a:cxnLst>
              <a:rect l="0" t="0" r="r" b="b"/>
              <a:pathLst>
                <a:path w="158" h="18">
                  <a:moveTo>
                    <a:pt x="158" y="18"/>
                  </a:moveTo>
                  <a:cubicBezTo>
                    <a:pt x="139" y="7"/>
                    <a:pt x="111" y="0"/>
                    <a:pt x="79" y="0"/>
                  </a:cubicBezTo>
                  <a:cubicBezTo>
                    <a:pt x="47" y="0"/>
                    <a:pt x="19" y="7"/>
                    <a:pt x="0" y="18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0">
                <a:solidFill>
                  <a:srgbClr val="000000"/>
                </a:solidFill>
                <a:latin typeface="Arial" panose="020B0604020202090204" pitchFamily="34" charset="0"/>
                <a:ea typeface="MS PGothic" pitchFamily="34" charset="-128"/>
              </a:endParaRPr>
            </a:p>
          </p:txBody>
        </p:sp>
        <p:sp>
          <p:nvSpPr>
            <p:cNvPr id="29" name="Line 61"/>
            <p:cNvSpPr>
              <a:spLocks noChangeShapeType="1"/>
            </p:cNvSpPr>
            <p:nvPr userDrawn="1"/>
          </p:nvSpPr>
          <p:spPr bwMode="auto">
            <a:xfrm>
              <a:off x="7081724" y="6106310"/>
              <a:ext cx="139640" cy="0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0">
                <a:solidFill>
                  <a:srgbClr val="000000"/>
                </a:solidFill>
                <a:latin typeface="Arial" panose="020B0604020202090204" pitchFamily="34" charset="0"/>
                <a:ea typeface="MS PGothic" pitchFamily="34" charset="-128"/>
              </a:endParaRPr>
            </a:p>
          </p:txBody>
        </p:sp>
        <p:sp>
          <p:nvSpPr>
            <p:cNvPr id="30" name="Freeform 55"/>
            <p:cNvSpPr/>
            <p:nvPr userDrawn="1"/>
          </p:nvSpPr>
          <p:spPr bwMode="auto">
            <a:xfrm>
              <a:off x="6826246" y="5960570"/>
              <a:ext cx="395118" cy="370686"/>
            </a:xfrm>
            <a:custGeom>
              <a:avLst/>
              <a:gdLst/>
              <a:ahLst/>
              <a:cxnLst>
                <a:cxn ang="0">
                  <a:pos x="0" y="133"/>
                </a:cxn>
                <a:cxn ang="0">
                  <a:pos x="79" y="169"/>
                </a:cxn>
                <a:cxn ang="0">
                  <a:pos x="182" y="66"/>
                </a:cxn>
                <a:cxn ang="0">
                  <a:pos x="158" y="0"/>
                </a:cxn>
              </a:cxnLst>
              <a:rect l="0" t="0" r="r" b="b"/>
              <a:pathLst>
                <a:path w="182" h="169">
                  <a:moveTo>
                    <a:pt x="0" y="133"/>
                  </a:moveTo>
                  <a:cubicBezTo>
                    <a:pt x="19" y="155"/>
                    <a:pt x="47" y="169"/>
                    <a:pt x="79" y="169"/>
                  </a:cubicBezTo>
                  <a:cubicBezTo>
                    <a:pt x="136" y="169"/>
                    <a:pt x="182" y="123"/>
                    <a:pt x="182" y="66"/>
                  </a:cubicBezTo>
                  <a:cubicBezTo>
                    <a:pt x="182" y="41"/>
                    <a:pt x="173" y="18"/>
                    <a:pt x="158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0">
                <a:solidFill>
                  <a:srgbClr val="000000"/>
                </a:solidFill>
                <a:latin typeface="Arial" panose="020B0604020202090204" pitchFamily="34" charset="0"/>
                <a:ea typeface="MS PGothic" pitchFamily="34" charset="-128"/>
              </a:endParaRPr>
            </a:p>
          </p:txBody>
        </p:sp>
        <p:sp>
          <p:nvSpPr>
            <p:cNvPr id="31" name="Freeform 60"/>
            <p:cNvSpPr/>
            <p:nvPr userDrawn="1"/>
          </p:nvSpPr>
          <p:spPr bwMode="auto">
            <a:xfrm>
              <a:off x="6875438" y="5879779"/>
              <a:ext cx="244370" cy="451477"/>
            </a:xfrm>
            <a:custGeom>
              <a:avLst/>
              <a:gdLst/>
              <a:ahLst/>
              <a:cxnLst>
                <a:cxn ang="0">
                  <a:pos x="4" y="66"/>
                </a:cxn>
                <a:cxn ang="0">
                  <a:pos x="56" y="0"/>
                </a:cxn>
                <a:cxn ang="0">
                  <a:pos x="99" y="38"/>
                </a:cxn>
                <a:cxn ang="0">
                  <a:pos x="107" y="60"/>
                </a:cxn>
                <a:cxn ang="0">
                  <a:pos x="112" y="103"/>
                </a:cxn>
                <a:cxn ang="0">
                  <a:pos x="56" y="206"/>
                </a:cxn>
                <a:cxn ang="0">
                  <a:pos x="0" y="103"/>
                </a:cxn>
                <a:cxn ang="0">
                  <a:pos x="1" y="91"/>
                </a:cxn>
                <a:cxn ang="0">
                  <a:pos x="4" y="66"/>
                </a:cxn>
              </a:cxnLst>
              <a:rect l="0" t="0" r="r" b="b"/>
              <a:pathLst>
                <a:path w="112" h="206">
                  <a:moveTo>
                    <a:pt x="4" y="66"/>
                  </a:moveTo>
                  <a:cubicBezTo>
                    <a:pt x="11" y="27"/>
                    <a:pt x="32" y="0"/>
                    <a:pt x="56" y="0"/>
                  </a:cubicBezTo>
                  <a:cubicBezTo>
                    <a:pt x="73" y="0"/>
                    <a:pt x="89" y="15"/>
                    <a:pt x="99" y="38"/>
                  </a:cubicBezTo>
                  <a:cubicBezTo>
                    <a:pt x="107" y="60"/>
                    <a:pt x="107" y="60"/>
                    <a:pt x="107" y="60"/>
                  </a:cubicBezTo>
                  <a:cubicBezTo>
                    <a:pt x="110" y="73"/>
                    <a:pt x="112" y="87"/>
                    <a:pt x="112" y="103"/>
                  </a:cubicBezTo>
                  <a:cubicBezTo>
                    <a:pt x="112" y="160"/>
                    <a:pt x="87" y="206"/>
                    <a:pt x="56" y="206"/>
                  </a:cubicBezTo>
                  <a:cubicBezTo>
                    <a:pt x="25" y="206"/>
                    <a:pt x="0" y="160"/>
                    <a:pt x="0" y="103"/>
                  </a:cubicBezTo>
                  <a:cubicBezTo>
                    <a:pt x="0" y="99"/>
                    <a:pt x="0" y="95"/>
                    <a:pt x="1" y="91"/>
                  </a:cubicBezTo>
                  <a:lnTo>
                    <a:pt x="4" y="66"/>
                  </a:ln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0">
                <a:solidFill>
                  <a:srgbClr val="000000"/>
                </a:solidFill>
                <a:latin typeface="Arial" panose="020B0604020202090204" pitchFamily="34" charset="0"/>
                <a:ea typeface="MS PGothic" pitchFamily="34" charset="-128"/>
              </a:endParaRPr>
            </a:p>
          </p:txBody>
        </p:sp>
        <p:sp>
          <p:nvSpPr>
            <p:cNvPr id="32" name="Line 64"/>
            <p:cNvSpPr>
              <a:spLocks noChangeShapeType="1"/>
            </p:cNvSpPr>
            <p:nvPr userDrawn="1"/>
          </p:nvSpPr>
          <p:spPr bwMode="auto">
            <a:xfrm flipV="1">
              <a:off x="6997623" y="5879779"/>
              <a:ext cx="1587" cy="451477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0">
                <a:solidFill>
                  <a:srgbClr val="000000"/>
                </a:solidFill>
                <a:latin typeface="Arial" panose="020B0604020202090204" pitchFamily="34" charset="0"/>
                <a:ea typeface="MS PGothic" pitchFamily="34" charset="-128"/>
              </a:endParaRPr>
            </a:p>
          </p:txBody>
        </p:sp>
        <p:sp>
          <p:nvSpPr>
            <p:cNvPr id="33" name="Freeform 63"/>
            <p:cNvSpPr/>
            <p:nvPr userDrawn="1"/>
          </p:nvSpPr>
          <p:spPr bwMode="auto">
            <a:xfrm>
              <a:off x="6775468" y="6106310"/>
              <a:ext cx="307842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26" y="0"/>
                </a:cxn>
                <a:cxn ang="0">
                  <a:pos x="386" y="0"/>
                </a:cxn>
              </a:cxnLst>
              <a:rect l="0" t="0" r="r" b="b"/>
              <a:pathLst>
                <a:path w="386">
                  <a:moveTo>
                    <a:pt x="0" y="0"/>
                  </a:moveTo>
                  <a:lnTo>
                    <a:pt x="326" y="0"/>
                  </a:lnTo>
                  <a:lnTo>
                    <a:pt x="386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0">
                <a:solidFill>
                  <a:srgbClr val="000000"/>
                </a:solidFill>
                <a:latin typeface="Arial" panose="020B0604020202090204" pitchFamily="34" charset="0"/>
                <a:ea typeface="MS PGothic" pitchFamily="34" charset="-128"/>
              </a:endParaRPr>
            </a:p>
          </p:txBody>
        </p:sp>
      </p:grpSp>
      <p:sp>
        <p:nvSpPr>
          <p:cNvPr id="34" name="Line 65"/>
          <p:cNvSpPr>
            <a:spLocks noChangeShapeType="1"/>
          </p:cNvSpPr>
          <p:nvPr userDrawn="1"/>
        </p:nvSpPr>
        <p:spPr bwMode="auto">
          <a:xfrm>
            <a:off x="9429699" y="5646152"/>
            <a:ext cx="284051" cy="0"/>
          </a:xfrm>
          <a:prstGeom prst="line">
            <a:avLst/>
          </a:prstGeom>
          <a:noFill/>
          <a:ln w="19050" cap="rnd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700">
              <a:solidFill>
                <a:srgbClr val="000000"/>
              </a:solidFill>
              <a:latin typeface="Arial" panose="020B0604020202090204" pitchFamily="34" charset="0"/>
              <a:ea typeface="MS PGothic" pitchFamily="34" charset="-128"/>
            </a:endParaRPr>
          </a:p>
        </p:txBody>
      </p:sp>
      <p:grpSp>
        <p:nvGrpSpPr>
          <p:cNvPr id="12" name="Group 94"/>
          <p:cNvGrpSpPr/>
          <p:nvPr userDrawn="1"/>
        </p:nvGrpSpPr>
        <p:grpSpPr bwMode="auto">
          <a:xfrm>
            <a:off x="9705748" y="5211141"/>
            <a:ext cx="344062" cy="429012"/>
            <a:chOff x="7764121" y="5644568"/>
            <a:chExt cx="271804" cy="453811"/>
          </a:xfrm>
        </p:grpSpPr>
        <p:sp>
          <p:nvSpPr>
            <p:cNvPr id="36" name="Freeform 49"/>
            <p:cNvSpPr/>
            <p:nvPr userDrawn="1"/>
          </p:nvSpPr>
          <p:spPr>
            <a:xfrm>
              <a:off x="7764121" y="5644568"/>
              <a:ext cx="271804" cy="171369"/>
            </a:xfrm>
            <a:custGeom>
              <a:avLst/>
              <a:gdLst>
                <a:gd name="connsiteX0" fmla="*/ 844550 w 844550"/>
                <a:gd name="connsiteY0" fmla="*/ 234950 h 425450"/>
                <a:gd name="connsiteX1" fmla="*/ 457200 w 844550"/>
                <a:gd name="connsiteY1" fmla="*/ 425450 h 425450"/>
                <a:gd name="connsiteX2" fmla="*/ 0 w 844550"/>
                <a:gd name="connsiteY2" fmla="*/ 222250 h 425450"/>
                <a:gd name="connsiteX3" fmla="*/ 463550 w 844550"/>
                <a:gd name="connsiteY3" fmla="*/ 0 h 425450"/>
                <a:gd name="connsiteX4" fmla="*/ 844550 w 844550"/>
                <a:gd name="connsiteY4" fmla="*/ 234950 h 425450"/>
                <a:gd name="connsiteX0-1" fmla="*/ 844550 w 935990"/>
                <a:gd name="connsiteY0-2" fmla="*/ 234950 h 425450"/>
                <a:gd name="connsiteX1-3" fmla="*/ 457200 w 935990"/>
                <a:gd name="connsiteY1-4" fmla="*/ 425450 h 425450"/>
                <a:gd name="connsiteX2-5" fmla="*/ 0 w 935990"/>
                <a:gd name="connsiteY2-6" fmla="*/ 222250 h 425450"/>
                <a:gd name="connsiteX3-7" fmla="*/ 463550 w 935990"/>
                <a:gd name="connsiteY3-8" fmla="*/ 0 h 425450"/>
                <a:gd name="connsiteX4-9" fmla="*/ 935990 w 935990"/>
                <a:gd name="connsiteY4-10" fmla="*/ 326390 h 425450"/>
                <a:gd name="connsiteX0-11" fmla="*/ 844550 w 885983"/>
                <a:gd name="connsiteY0-12" fmla="*/ 234950 h 425450"/>
                <a:gd name="connsiteX1-13" fmla="*/ 457200 w 885983"/>
                <a:gd name="connsiteY1-14" fmla="*/ 425450 h 425450"/>
                <a:gd name="connsiteX2-15" fmla="*/ 0 w 885983"/>
                <a:gd name="connsiteY2-16" fmla="*/ 222250 h 425450"/>
                <a:gd name="connsiteX3-17" fmla="*/ 463550 w 885983"/>
                <a:gd name="connsiteY3-18" fmla="*/ 0 h 425450"/>
                <a:gd name="connsiteX4-19" fmla="*/ 885983 w 885983"/>
                <a:gd name="connsiteY4-20" fmla="*/ 207327 h 425450"/>
                <a:gd name="connsiteX0-21" fmla="*/ 844550 w 883602"/>
                <a:gd name="connsiteY0-22" fmla="*/ 234950 h 595471"/>
                <a:gd name="connsiteX1-23" fmla="*/ 457200 w 883602"/>
                <a:gd name="connsiteY1-24" fmla="*/ 425450 h 595471"/>
                <a:gd name="connsiteX2-25" fmla="*/ 0 w 883602"/>
                <a:gd name="connsiteY2-26" fmla="*/ 222250 h 595471"/>
                <a:gd name="connsiteX3-27" fmla="*/ 463550 w 883602"/>
                <a:gd name="connsiteY3-28" fmla="*/ 0 h 595471"/>
                <a:gd name="connsiteX4-29" fmla="*/ 883602 w 883602"/>
                <a:gd name="connsiteY4-30" fmla="*/ 595471 h 595471"/>
                <a:gd name="connsiteX0-31" fmla="*/ 844550 w 946310"/>
                <a:gd name="connsiteY0-32" fmla="*/ 234950 h 595471"/>
                <a:gd name="connsiteX1-33" fmla="*/ 457200 w 946310"/>
                <a:gd name="connsiteY1-34" fmla="*/ 425450 h 595471"/>
                <a:gd name="connsiteX2-35" fmla="*/ 0 w 946310"/>
                <a:gd name="connsiteY2-36" fmla="*/ 222250 h 595471"/>
                <a:gd name="connsiteX3-37" fmla="*/ 463550 w 946310"/>
                <a:gd name="connsiteY3-38" fmla="*/ 0 h 595471"/>
                <a:gd name="connsiteX4-39" fmla="*/ 876301 w 946310"/>
                <a:gd name="connsiteY4-40" fmla="*/ 206375 h 595471"/>
                <a:gd name="connsiteX5" fmla="*/ 883602 w 946310"/>
                <a:gd name="connsiteY5" fmla="*/ 595471 h 595471"/>
                <a:gd name="connsiteX0-41" fmla="*/ 844550 w 946310"/>
                <a:gd name="connsiteY0-42" fmla="*/ 234950 h 595471"/>
                <a:gd name="connsiteX1-43" fmla="*/ 457200 w 946310"/>
                <a:gd name="connsiteY1-44" fmla="*/ 425450 h 595471"/>
                <a:gd name="connsiteX2-45" fmla="*/ 0 w 946310"/>
                <a:gd name="connsiteY2-46" fmla="*/ 222250 h 595471"/>
                <a:gd name="connsiteX3-47" fmla="*/ 463550 w 946310"/>
                <a:gd name="connsiteY3-48" fmla="*/ 0 h 595471"/>
                <a:gd name="connsiteX4-49" fmla="*/ 876301 w 946310"/>
                <a:gd name="connsiteY4-50" fmla="*/ 206375 h 595471"/>
                <a:gd name="connsiteX5-51" fmla="*/ 883602 w 946310"/>
                <a:gd name="connsiteY5-52" fmla="*/ 595471 h 595471"/>
                <a:gd name="connsiteX0-53" fmla="*/ 844550 w 946310"/>
                <a:gd name="connsiteY0-54" fmla="*/ 234950 h 595471"/>
                <a:gd name="connsiteX1-55" fmla="*/ 457200 w 946310"/>
                <a:gd name="connsiteY1-56" fmla="*/ 425450 h 595471"/>
                <a:gd name="connsiteX2-57" fmla="*/ 0 w 946310"/>
                <a:gd name="connsiteY2-58" fmla="*/ 222250 h 595471"/>
                <a:gd name="connsiteX3-59" fmla="*/ 463550 w 946310"/>
                <a:gd name="connsiteY3-60" fmla="*/ 0 h 595471"/>
                <a:gd name="connsiteX4-61" fmla="*/ 876301 w 946310"/>
                <a:gd name="connsiteY4-62" fmla="*/ 206375 h 595471"/>
                <a:gd name="connsiteX5-63" fmla="*/ 883602 w 946310"/>
                <a:gd name="connsiteY5-64" fmla="*/ 595471 h 595471"/>
                <a:gd name="connsiteX0-65" fmla="*/ 844550 w 946310"/>
                <a:gd name="connsiteY0-66" fmla="*/ 234950 h 595471"/>
                <a:gd name="connsiteX1-67" fmla="*/ 457200 w 946310"/>
                <a:gd name="connsiteY1-68" fmla="*/ 425450 h 595471"/>
                <a:gd name="connsiteX2-69" fmla="*/ 0 w 946310"/>
                <a:gd name="connsiteY2-70" fmla="*/ 222250 h 595471"/>
                <a:gd name="connsiteX3-71" fmla="*/ 463550 w 946310"/>
                <a:gd name="connsiteY3-72" fmla="*/ 0 h 595471"/>
                <a:gd name="connsiteX4-73" fmla="*/ 876301 w 946310"/>
                <a:gd name="connsiteY4-74" fmla="*/ 206375 h 595471"/>
                <a:gd name="connsiteX5-75" fmla="*/ 883602 w 946310"/>
                <a:gd name="connsiteY5-76" fmla="*/ 595471 h 595471"/>
                <a:gd name="connsiteX0-77" fmla="*/ 844550 w 946310"/>
                <a:gd name="connsiteY0-78" fmla="*/ 234950 h 595471"/>
                <a:gd name="connsiteX1-79" fmla="*/ 457200 w 946310"/>
                <a:gd name="connsiteY1-80" fmla="*/ 425450 h 595471"/>
                <a:gd name="connsiteX2-81" fmla="*/ 0 w 946310"/>
                <a:gd name="connsiteY2-82" fmla="*/ 222250 h 595471"/>
                <a:gd name="connsiteX3-83" fmla="*/ 463550 w 946310"/>
                <a:gd name="connsiteY3-84" fmla="*/ 0 h 595471"/>
                <a:gd name="connsiteX4-85" fmla="*/ 876301 w 946310"/>
                <a:gd name="connsiteY4-86" fmla="*/ 206375 h 595471"/>
                <a:gd name="connsiteX5-87" fmla="*/ 883602 w 946310"/>
                <a:gd name="connsiteY5-88" fmla="*/ 595471 h 595471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51" y="connsiteY5-52"/>
                </a:cxn>
              </a:cxnLst>
              <a:rect l="l" t="t" r="r" b="b"/>
              <a:pathLst>
                <a:path w="946310" h="595471">
                  <a:moveTo>
                    <a:pt x="844550" y="234950"/>
                  </a:moveTo>
                  <a:lnTo>
                    <a:pt x="457200" y="425450"/>
                  </a:lnTo>
                  <a:lnTo>
                    <a:pt x="0" y="222250"/>
                  </a:lnTo>
                  <a:lnTo>
                    <a:pt x="463550" y="0"/>
                  </a:lnTo>
                  <a:cubicBezTo>
                    <a:pt x="634604" y="85858"/>
                    <a:pt x="696755" y="119037"/>
                    <a:pt x="876301" y="206375"/>
                  </a:cubicBezTo>
                  <a:cubicBezTo>
                    <a:pt x="946310" y="305620"/>
                    <a:pt x="859763" y="554831"/>
                    <a:pt x="883602" y="595471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700">
                <a:solidFill>
                  <a:srgbClr val="000000"/>
                </a:solidFill>
                <a:latin typeface="Arial" panose="020B0604020202090204" pitchFamily="34" charset="0"/>
                <a:ea typeface="MS PGothic" pitchFamily="34" charset="-128"/>
              </a:endParaRPr>
            </a:p>
          </p:txBody>
        </p:sp>
        <p:grpSp>
          <p:nvGrpSpPr>
            <p:cNvPr id="16" name="Group 87"/>
            <p:cNvGrpSpPr/>
            <p:nvPr userDrawn="1"/>
          </p:nvGrpSpPr>
          <p:grpSpPr bwMode="auto">
            <a:xfrm>
              <a:off x="7809949" y="5733426"/>
              <a:ext cx="165926" cy="79338"/>
              <a:chOff x="8343349" y="5780967"/>
              <a:chExt cx="165926" cy="64990"/>
            </a:xfrm>
          </p:grpSpPr>
          <p:sp>
            <p:nvSpPr>
              <p:cNvPr id="43" name="Freeform 56"/>
              <p:cNvSpPr/>
              <p:nvPr userDrawn="1"/>
            </p:nvSpPr>
            <p:spPr>
              <a:xfrm>
                <a:off x="8343349" y="5780967"/>
                <a:ext cx="31605" cy="64990"/>
              </a:xfrm>
              <a:custGeom>
                <a:avLst/>
                <a:gdLst>
                  <a:gd name="connsiteX0" fmla="*/ 2381 w 52387"/>
                  <a:gd name="connsiteY0" fmla="*/ 0 h 216694"/>
                  <a:gd name="connsiteX1" fmla="*/ 0 w 52387"/>
                  <a:gd name="connsiteY1" fmla="*/ 188119 h 216694"/>
                  <a:gd name="connsiteX2" fmla="*/ 52387 w 52387"/>
                  <a:gd name="connsiteY2" fmla="*/ 216694 h 216694"/>
                  <a:gd name="connsiteX0-1" fmla="*/ 2381 w 52387"/>
                  <a:gd name="connsiteY0-2" fmla="*/ 0 h 216694"/>
                  <a:gd name="connsiteX1-3" fmla="*/ 0 w 52387"/>
                  <a:gd name="connsiteY1-4" fmla="*/ 159544 h 216694"/>
                  <a:gd name="connsiteX2-5" fmla="*/ 52387 w 52387"/>
                  <a:gd name="connsiteY2-6" fmla="*/ 216694 h 216694"/>
                  <a:gd name="connsiteX0-7" fmla="*/ 2381 w 97630"/>
                  <a:gd name="connsiteY0-8" fmla="*/ 0 h 178594"/>
                  <a:gd name="connsiteX1-9" fmla="*/ 0 w 97630"/>
                  <a:gd name="connsiteY1-10" fmla="*/ 159544 h 178594"/>
                  <a:gd name="connsiteX2-11" fmla="*/ 97630 w 97630"/>
                  <a:gd name="connsiteY2-12" fmla="*/ 178594 h 178594"/>
                  <a:gd name="connsiteX0-13" fmla="*/ 19050 w 114299"/>
                  <a:gd name="connsiteY0-14" fmla="*/ 0 h 178594"/>
                  <a:gd name="connsiteX1-15" fmla="*/ 14286 w 114299"/>
                  <a:gd name="connsiteY1-16" fmla="*/ 119062 h 178594"/>
                  <a:gd name="connsiteX2-17" fmla="*/ 16669 w 114299"/>
                  <a:gd name="connsiteY2-18" fmla="*/ 159544 h 178594"/>
                  <a:gd name="connsiteX3" fmla="*/ 114299 w 114299"/>
                  <a:gd name="connsiteY3" fmla="*/ 178594 h 178594"/>
                  <a:gd name="connsiteX0-19" fmla="*/ 19050 w 114299"/>
                  <a:gd name="connsiteY0-20" fmla="*/ 0 h 178594"/>
                  <a:gd name="connsiteX1-21" fmla="*/ 16669 w 114299"/>
                  <a:gd name="connsiteY1-22" fmla="*/ 85724 h 178594"/>
                  <a:gd name="connsiteX2-23" fmla="*/ 16669 w 114299"/>
                  <a:gd name="connsiteY2-24" fmla="*/ 159544 h 178594"/>
                  <a:gd name="connsiteX3-25" fmla="*/ 114299 w 114299"/>
                  <a:gd name="connsiteY3-26" fmla="*/ 178594 h 178594"/>
                  <a:gd name="connsiteX0-27" fmla="*/ 8334 w 103583"/>
                  <a:gd name="connsiteY0-28" fmla="*/ 0 h 178594"/>
                  <a:gd name="connsiteX1-29" fmla="*/ 5953 w 103583"/>
                  <a:gd name="connsiteY1-30" fmla="*/ 85724 h 178594"/>
                  <a:gd name="connsiteX2-31" fmla="*/ 44053 w 103583"/>
                  <a:gd name="connsiteY2-32" fmla="*/ 159544 h 178594"/>
                  <a:gd name="connsiteX3-33" fmla="*/ 103583 w 103583"/>
                  <a:gd name="connsiteY3-34" fmla="*/ 178594 h 178594"/>
                  <a:gd name="connsiteX0-35" fmla="*/ 8334 w 103583"/>
                  <a:gd name="connsiteY0-36" fmla="*/ 0 h 178594"/>
                  <a:gd name="connsiteX1-37" fmla="*/ 5953 w 103583"/>
                  <a:gd name="connsiteY1-38" fmla="*/ 66674 h 178594"/>
                  <a:gd name="connsiteX2-39" fmla="*/ 44053 w 103583"/>
                  <a:gd name="connsiteY2-40" fmla="*/ 159544 h 178594"/>
                  <a:gd name="connsiteX3-41" fmla="*/ 103583 w 103583"/>
                  <a:gd name="connsiteY3-42" fmla="*/ 178594 h 178594"/>
                  <a:gd name="connsiteX0-43" fmla="*/ 8334 w 103583"/>
                  <a:gd name="connsiteY0-44" fmla="*/ 0 h 178594"/>
                  <a:gd name="connsiteX1-45" fmla="*/ 5953 w 103583"/>
                  <a:gd name="connsiteY1-46" fmla="*/ 66674 h 178594"/>
                  <a:gd name="connsiteX2-47" fmla="*/ 44053 w 103583"/>
                  <a:gd name="connsiteY2-48" fmla="*/ 150019 h 178594"/>
                  <a:gd name="connsiteX3-49" fmla="*/ 103583 w 103583"/>
                  <a:gd name="connsiteY3-50" fmla="*/ 178594 h 178594"/>
                  <a:gd name="connsiteX0-51" fmla="*/ 8334 w 127395"/>
                  <a:gd name="connsiteY0-52" fmla="*/ 0 h 171450"/>
                  <a:gd name="connsiteX1-53" fmla="*/ 5953 w 127395"/>
                  <a:gd name="connsiteY1-54" fmla="*/ 66674 h 171450"/>
                  <a:gd name="connsiteX2-55" fmla="*/ 44053 w 127395"/>
                  <a:gd name="connsiteY2-56" fmla="*/ 150019 h 171450"/>
                  <a:gd name="connsiteX3-57" fmla="*/ 127395 w 127395"/>
                  <a:gd name="connsiteY3-58" fmla="*/ 171450 h 171450"/>
                  <a:gd name="connsiteX0-59" fmla="*/ 8334 w 127395"/>
                  <a:gd name="connsiteY0-60" fmla="*/ 0 h 171450"/>
                  <a:gd name="connsiteX1-61" fmla="*/ 5953 w 127395"/>
                  <a:gd name="connsiteY1-62" fmla="*/ 66674 h 171450"/>
                  <a:gd name="connsiteX2-63" fmla="*/ 44053 w 127395"/>
                  <a:gd name="connsiteY2-64" fmla="*/ 150019 h 171450"/>
                  <a:gd name="connsiteX3-65" fmla="*/ 127395 w 127395"/>
                  <a:gd name="connsiteY3-66" fmla="*/ 171450 h 171450"/>
                  <a:gd name="connsiteX0-67" fmla="*/ 8334 w 92928"/>
                  <a:gd name="connsiteY0-68" fmla="*/ 0 h 171450"/>
                  <a:gd name="connsiteX1-69" fmla="*/ 5953 w 92928"/>
                  <a:gd name="connsiteY1-70" fmla="*/ 66674 h 171450"/>
                  <a:gd name="connsiteX2-71" fmla="*/ 44053 w 92928"/>
                  <a:gd name="connsiteY2-72" fmla="*/ 150019 h 171450"/>
                  <a:gd name="connsiteX3-73" fmla="*/ 92928 w 92928"/>
                  <a:gd name="connsiteY3-74" fmla="*/ 171450 h 171450"/>
                  <a:gd name="connsiteX0-75" fmla="*/ 8334 w 83858"/>
                  <a:gd name="connsiteY0-76" fmla="*/ 0 h 167515"/>
                  <a:gd name="connsiteX1-77" fmla="*/ 5953 w 83858"/>
                  <a:gd name="connsiteY1-78" fmla="*/ 66674 h 167515"/>
                  <a:gd name="connsiteX2-79" fmla="*/ 44053 w 83858"/>
                  <a:gd name="connsiteY2-80" fmla="*/ 150019 h 167515"/>
                  <a:gd name="connsiteX3-81" fmla="*/ 83858 w 83858"/>
                  <a:gd name="connsiteY3-82" fmla="*/ 167515 h 167515"/>
                  <a:gd name="connsiteX0-83" fmla="*/ 8514 w 84038"/>
                  <a:gd name="connsiteY0-84" fmla="*/ 20667 h 188182"/>
                  <a:gd name="connsiteX1-85" fmla="*/ 7435 w 84038"/>
                  <a:gd name="connsiteY1-86" fmla="*/ 11112 h 188182"/>
                  <a:gd name="connsiteX2-87" fmla="*/ 6133 w 84038"/>
                  <a:gd name="connsiteY2-88" fmla="*/ 87341 h 188182"/>
                  <a:gd name="connsiteX3-89" fmla="*/ 44233 w 84038"/>
                  <a:gd name="connsiteY3-90" fmla="*/ 170686 h 188182"/>
                  <a:gd name="connsiteX4" fmla="*/ 84038 w 84038"/>
                  <a:gd name="connsiteY4" fmla="*/ 188182 h 188182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25" y="connsiteY3-26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4038" h="188182">
                    <a:moveTo>
                      <a:pt x="8514" y="20667"/>
                    </a:moveTo>
                    <a:cubicBezTo>
                      <a:pt x="8334" y="21042"/>
                      <a:pt x="7832" y="0"/>
                      <a:pt x="7435" y="11112"/>
                    </a:cubicBezTo>
                    <a:cubicBezTo>
                      <a:pt x="7038" y="22224"/>
                      <a:pt x="0" y="60745"/>
                      <a:pt x="6133" y="87341"/>
                    </a:cubicBezTo>
                    <a:cubicBezTo>
                      <a:pt x="12266" y="113937"/>
                      <a:pt x="8514" y="141714"/>
                      <a:pt x="44233" y="170686"/>
                    </a:cubicBezTo>
                    <a:lnTo>
                      <a:pt x="84038" y="188182"/>
                    </a:lnTo>
                  </a:path>
                </a:pathLst>
              </a:custGeom>
              <a:noFill/>
              <a:ln w="19050" cap="rnd">
                <a:solidFill>
                  <a:schemeClr val="bg1"/>
                </a:solidFill>
                <a:prstDash val="solid"/>
                <a:round/>
              </a:ln>
            </p:spPr>
            <p:txBody>
              <a:bodyPr/>
              <a:lstStyle/>
              <a:p>
                <a:pPr defTabSz="4318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700">
                  <a:solidFill>
                    <a:srgbClr val="000000"/>
                  </a:solidFill>
                  <a:latin typeface="Arial" panose="020B0604020202090204" pitchFamily="34" charset="0"/>
                  <a:ea typeface="MS PGothic" pitchFamily="34" charset="-128"/>
                </a:endParaRPr>
              </a:p>
            </p:txBody>
          </p:sp>
          <p:sp>
            <p:nvSpPr>
              <p:cNvPr id="44" name="Freeform 57"/>
              <p:cNvSpPr/>
              <p:nvPr userDrawn="1"/>
            </p:nvSpPr>
            <p:spPr>
              <a:xfrm flipH="1">
                <a:off x="8477670" y="5780967"/>
                <a:ext cx="31605" cy="64990"/>
              </a:xfrm>
              <a:custGeom>
                <a:avLst/>
                <a:gdLst>
                  <a:gd name="connsiteX0" fmla="*/ 2381 w 52387"/>
                  <a:gd name="connsiteY0" fmla="*/ 0 h 216694"/>
                  <a:gd name="connsiteX1" fmla="*/ 0 w 52387"/>
                  <a:gd name="connsiteY1" fmla="*/ 188119 h 216694"/>
                  <a:gd name="connsiteX2" fmla="*/ 52387 w 52387"/>
                  <a:gd name="connsiteY2" fmla="*/ 216694 h 216694"/>
                  <a:gd name="connsiteX0-1" fmla="*/ 2381 w 52387"/>
                  <a:gd name="connsiteY0-2" fmla="*/ 0 h 216694"/>
                  <a:gd name="connsiteX1-3" fmla="*/ 0 w 52387"/>
                  <a:gd name="connsiteY1-4" fmla="*/ 159544 h 216694"/>
                  <a:gd name="connsiteX2-5" fmla="*/ 52387 w 52387"/>
                  <a:gd name="connsiteY2-6" fmla="*/ 216694 h 216694"/>
                  <a:gd name="connsiteX0-7" fmla="*/ 2381 w 97630"/>
                  <a:gd name="connsiteY0-8" fmla="*/ 0 h 178594"/>
                  <a:gd name="connsiteX1-9" fmla="*/ 0 w 97630"/>
                  <a:gd name="connsiteY1-10" fmla="*/ 159544 h 178594"/>
                  <a:gd name="connsiteX2-11" fmla="*/ 97630 w 97630"/>
                  <a:gd name="connsiteY2-12" fmla="*/ 178594 h 178594"/>
                  <a:gd name="connsiteX0-13" fmla="*/ 19050 w 114299"/>
                  <a:gd name="connsiteY0-14" fmla="*/ 0 h 178594"/>
                  <a:gd name="connsiteX1-15" fmla="*/ 14286 w 114299"/>
                  <a:gd name="connsiteY1-16" fmla="*/ 119062 h 178594"/>
                  <a:gd name="connsiteX2-17" fmla="*/ 16669 w 114299"/>
                  <a:gd name="connsiteY2-18" fmla="*/ 159544 h 178594"/>
                  <a:gd name="connsiteX3" fmla="*/ 114299 w 114299"/>
                  <a:gd name="connsiteY3" fmla="*/ 178594 h 178594"/>
                  <a:gd name="connsiteX0-19" fmla="*/ 19050 w 114299"/>
                  <a:gd name="connsiteY0-20" fmla="*/ 0 h 178594"/>
                  <a:gd name="connsiteX1-21" fmla="*/ 16669 w 114299"/>
                  <a:gd name="connsiteY1-22" fmla="*/ 85724 h 178594"/>
                  <a:gd name="connsiteX2-23" fmla="*/ 16669 w 114299"/>
                  <a:gd name="connsiteY2-24" fmla="*/ 159544 h 178594"/>
                  <a:gd name="connsiteX3-25" fmla="*/ 114299 w 114299"/>
                  <a:gd name="connsiteY3-26" fmla="*/ 178594 h 178594"/>
                  <a:gd name="connsiteX0-27" fmla="*/ 8334 w 103583"/>
                  <a:gd name="connsiteY0-28" fmla="*/ 0 h 178594"/>
                  <a:gd name="connsiteX1-29" fmla="*/ 5953 w 103583"/>
                  <a:gd name="connsiteY1-30" fmla="*/ 85724 h 178594"/>
                  <a:gd name="connsiteX2-31" fmla="*/ 44053 w 103583"/>
                  <a:gd name="connsiteY2-32" fmla="*/ 159544 h 178594"/>
                  <a:gd name="connsiteX3-33" fmla="*/ 103583 w 103583"/>
                  <a:gd name="connsiteY3-34" fmla="*/ 178594 h 178594"/>
                  <a:gd name="connsiteX0-35" fmla="*/ 8334 w 103583"/>
                  <a:gd name="connsiteY0-36" fmla="*/ 0 h 178594"/>
                  <a:gd name="connsiteX1-37" fmla="*/ 5953 w 103583"/>
                  <a:gd name="connsiteY1-38" fmla="*/ 66674 h 178594"/>
                  <a:gd name="connsiteX2-39" fmla="*/ 44053 w 103583"/>
                  <a:gd name="connsiteY2-40" fmla="*/ 159544 h 178594"/>
                  <a:gd name="connsiteX3-41" fmla="*/ 103583 w 103583"/>
                  <a:gd name="connsiteY3-42" fmla="*/ 178594 h 178594"/>
                  <a:gd name="connsiteX0-43" fmla="*/ 8334 w 103583"/>
                  <a:gd name="connsiteY0-44" fmla="*/ 0 h 178594"/>
                  <a:gd name="connsiteX1-45" fmla="*/ 5953 w 103583"/>
                  <a:gd name="connsiteY1-46" fmla="*/ 66674 h 178594"/>
                  <a:gd name="connsiteX2-47" fmla="*/ 44053 w 103583"/>
                  <a:gd name="connsiteY2-48" fmla="*/ 150019 h 178594"/>
                  <a:gd name="connsiteX3-49" fmla="*/ 103583 w 103583"/>
                  <a:gd name="connsiteY3-50" fmla="*/ 178594 h 178594"/>
                  <a:gd name="connsiteX0-51" fmla="*/ 8334 w 127395"/>
                  <a:gd name="connsiteY0-52" fmla="*/ 0 h 171450"/>
                  <a:gd name="connsiteX1-53" fmla="*/ 5953 w 127395"/>
                  <a:gd name="connsiteY1-54" fmla="*/ 66674 h 171450"/>
                  <a:gd name="connsiteX2-55" fmla="*/ 44053 w 127395"/>
                  <a:gd name="connsiteY2-56" fmla="*/ 150019 h 171450"/>
                  <a:gd name="connsiteX3-57" fmla="*/ 127395 w 127395"/>
                  <a:gd name="connsiteY3-58" fmla="*/ 171450 h 171450"/>
                  <a:gd name="connsiteX0-59" fmla="*/ 8334 w 127395"/>
                  <a:gd name="connsiteY0-60" fmla="*/ 0 h 171450"/>
                  <a:gd name="connsiteX1-61" fmla="*/ 5953 w 127395"/>
                  <a:gd name="connsiteY1-62" fmla="*/ 66674 h 171450"/>
                  <a:gd name="connsiteX2-63" fmla="*/ 44053 w 127395"/>
                  <a:gd name="connsiteY2-64" fmla="*/ 150019 h 171450"/>
                  <a:gd name="connsiteX3-65" fmla="*/ 127395 w 127395"/>
                  <a:gd name="connsiteY3-66" fmla="*/ 171450 h 171450"/>
                  <a:gd name="connsiteX0-67" fmla="*/ 8334 w 92928"/>
                  <a:gd name="connsiteY0-68" fmla="*/ 0 h 171450"/>
                  <a:gd name="connsiteX1-69" fmla="*/ 5953 w 92928"/>
                  <a:gd name="connsiteY1-70" fmla="*/ 66674 h 171450"/>
                  <a:gd name="connsiteX2-71" fmla="*/ 44053 w 92928"/>
                  <a:gd name="connsiteY2-72" fmla="*/ 150019 h 171450"/>
                  <a:gd name="connsiteX3-73" fmla="*/ 92928 w 92928"/>
                  <a:gd name="connsiteY3-74" fmla="*/ 171450 h 171450"/>
                  <a:gd name="connsiteX0-75" fmla="*/ 8334 w 83858"/>
                  <a:gd name="connsiteY0-76" fmla="*/ 0 h 167515"/>
                  <a:gd name="connsiteX1-77" fmla="*/ 5953 w 83858"/>
                  <a:gd name="connsiteY1-78" fmla="*/ 66674 h 167515"/>
                  <a:gd name="connsiteX2-79" fmla="*/ 44053 w 83858"/>
                  <a:gd name="connsiteY2-80" fmla="*/ 150019 h 167515"/>
                  <a:gd name="connsiteX3-81" fmla="*/ 83858 w 83858"/>
                  <a:gd name="connsiteY3-82" fmla="*/ 167515 h 167515"/>
                  <a:gd name="connsiteX0-83" fmla="*/ 8514 w 84038"/>
                  <a:gd name="connsiteY0-84" fmla="*/ 20667 h 188182"/>
                  <a:gd name="connsiteX1-85" fmla="*/ 7435 w 84038"/>
                  <a:gd name="connsiteY1-86" fmla="*/ 11112 h 188182"/>
                  <a:gd name="connsiteX2-87" fmla="*/ 6133 w 84038"/>
                  <a:gd name="connsiteY2-88" fmla="*/ 87341 h 188182"/>
                  <a:gd name="connsiteX3-89" fmla="*/ 44233 w 84038"/>
                  <a:gd name="connsiteY3-90" fmla="*/ 170686 h 188182"/>
                  <a:gd name="connsiteX4" fmla="*/ 84038 w 84038"/>
                  <a:gd name="connsiteY4" fmla="*/ 188182 h 188182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25" y="connsiteY3-26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4038" h="188182">
                    <a:moveTo>
                      <a:pt x="8514" y="20667"/>
                    </a:moveTo>
                    <a:cubicBezTo>
                      <a:pt x="8334" y="21042"/>
                      <a:pt x="7832" y="0"/>
                      <a:pt x="7435" y="11112"/>
                    </a:cubicBezTo>
                    <a:cubicBezTo>
                      <a:pt x="7038" y="22224"/>
                      <a:pt x="0" y="60745"/>
                      <a:pt x="6133" y="87341"/>
                    </a:cubicBezTo>
                    <a:cubicBezTo>
                      <a:pt x="12266" y="113937"/>
                      <a:pt x="8514" y="141714"/>
                      <a:pt x="44233" y="170686"/>
                    </a:cubicBezTo>
                    <a:lnTo>
                      <a:pt x="84038" y="188182"/>
                    </a:lnTo>
                  </a:path>
                </a:pathLst>
              </a:custGeom>
              <a:noFill/>
              <a:ln w="19050" cap="rnd">
                <a:solidFill>
                  <a:schemeClr val="bg1"/>
                </a:solidFill>
                <a:prstDash val="solid"/>
                <a:round/>
              </a:ln>
            </p:spPr>
            <p:txBody>
              <a:bodyPr/>
              <a:lstStyle/>
              <a:p>
                <a:pPr defTabSz="4318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700">
                  <a:solidFill>
                    <a:srgbClr val="000000"/>
                  </a:solidFill>
                  <a:latin typeface="Arial" panose="020B0604020202090204" pitchFamily="34" charset="0"/>
                  <a:ea typeface="MS PGothic" pitchFamily="34" charset="-128"/>
                </a:endParaRPr>
              </a:p>
            </p:txBody>
          </p:sp>
        </p:grpSp>
        <p:sp>
          <p:nvSpPr>
            <p:cNvPr id="38" name="Freeform 24"/>
            <p:cNvSpPr/>
            <p:nvPr userDrawn="1"/>
          </p:nvSpPr>
          <p:spPr bwMode="auto">
            <a:xfrm>
              <a:off x="7833652" y="5792136"/>
              <a:ext cx="41087" cy="66644"/>
            </a:xfrm>
            <a:custGeom>
              <a:avLst/>
              <a:gdLst/>
              <a:ahLst/>
              <a:cxnLst>
                <a:cxn ang="0">
                  <a:pos x="0" y="29"/>
                </a:cxn>
                <a:cxn ang="0">
                  <a:pos x="18" y="0"/>
                </a:cxn>
              </a:cxnLst>
              <a:rect l="0" t="0" r="r" b="b"/>
              <a:pathLst>
                <a:path w="18" h="29">
                  <a:moveTo>
                    <a:pt x="0" y="29"/>
                  </a:moveTo>
                  <a:cubicBezTo>
                    <a:pt x="1" y="15"/>
                    <a:pt x="8" y="4"/>
                    <a:pt x="18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0">
                <a:solidFill>
                  <a:srgbClr val="000000"/>
                </a:solidFill>
                <a:latin typeface="Arial" panose="020B0604020202090204" pitchFamily="34" charset="0"/>
                <a:ea typeface="MS PGothic" pitchFamily="34" charset="-128"/>
              </a:endParaRPr>
            </a:p>
          </p:txBody>
        </p:sp>
        <p:sp>
          <p:nvSpPr>
            <p:cNvPr id="39" name="Freeform 25"/>
            <p:cNvSpPr/>
            <p:nvPr userDrawn="1"/>
          </p:nvSpPr>
          <p:spPr bwMode="auto">
            <a:xfrm>
              <a:off x="7772023" y="5858780"/>
              <a:ext cx="96395" cy="239599"/>
            </a:xfrm>
            <a:custGeom>
              <a:avLst/>
              <a:gdLst>
                <a:gd name="connsiteX0" fmla="*/ 6429 w 10000"/>
                <a:gd name="connsiteY0" fmla="*/ 0 h 8863"/>
                <a:gd name="connsiteX1" fmla="*/ 6429 w 10000"/>
                <a:gd name="connsiteY1" fmla="*/ 171 h 8863"/>
                <a:gd name="connsiteX2" fmla="*/ 10000 w 10000"/>
                <a:gd name="connsiteY2" fmla="*/ 2735 h 8863"/>
                <a:gd name="connsiteX3" fmla="*/ 0 w 10000"/>
                <a:gd name="connsiteY3" fmla="*/ 8863 h 8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00" h="8863">
                  <a:moveTo>
                    <a:pt x="6429" y="0"/>
                  </a:moveTo>
                  <a:lnTo>
                    <a:pt x="6429" y="171"/>
                  </a:lnTo>
                  <a:cubicBezTo>
                    <a:pt x="6429" y="1197"/>
                    <a:pt x="8333" y="2222"/>
                    <a:pt x="10000" y="2735"/>
                  </a:cubicBezTo>
                  <a:cubicBezTo>
                    <a:pt x="2381" y="3504"/>
                    <a:pt x="0" y="5359"/>
                    <a:pt x="0" y="8863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0">
                <a:solidFill>
                  <a:srgbClr val="000000"/>
                </a:solidFill>
                <a:latin typeface="Arial" panose="020B0604020202090204" pitchFamily="34" charset="0"/>
                <a:ea typeface="MS PGothic" pitchFamily="34" charset="-128"/>
              </a:endParaRPr>
            </a:p>
          </p:txBody>
        </p:sp>
        <p:sp>
          <p:nvSpPr>
            <p:cNvPr id="40" name="Freeform 26"/>
            <p:cNvSpPr/>
            <p:nvPr userDrawn="1"/>
          </p:nvSpPr>
          <p:spPr bwMode="auto">
            <a:xfrm>
              <a:off x="7974296" y="5961918"/>
              <a:ext cx="45827" cy="130114"/>
            </a:xfrm>
            <a:custGeom>
              <a:avLst/>
              <a:gdLst>
                <a:gd name="connsiteX0" fmla="*/ 0 w 10514"/>
                <a:gd name="connsiteY0" fmla="*/ 0 h 11311"/>
                <a:gd name="connsiteX1" fmla="*/ 10514 w 10514"/>
                <a:gd name="connsiteY1" fmla="*/ 11311 h 11311"/>
                <a:gd name="connsiteX0-1" fmla="*/ 0 w 10000"/>
                <a:gd name="connsiteY0-2" fmla="*/ 0 h 10188"/>
                <a:gd name="connsiteX1-3" fmla="*/ 10000 w 10000"/>
                <a:gd name="connsiteY1-4" fmla="*/ 10188 h 1018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</a:cxnLst>
              <a:rect l="l" t="t" r="r" b="b"/>
              <a:pathLst>
                <a:path w="10000" h="10188">
                  <a:moveTo>
                    <a:pt x="0" y="0"/>
                  </a:moveTo>
                  <a:cubicBezTo>
                    <a:pt x="6000" y="2364"/>
                    <a:pt x="9000" y="6006"/>
                    <a:pt x="10000" y="10188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0">
                <a:solidFill>
                  <a:srgbClr val="000000"/>
                </a:solidFill>
                <a:latin typeface="Arial" panose="020B0604020202090204" pitchFamily="34" charset="0"/>
                <a:ea typeface="MS PGothic" pitchFamily="34" charset="-128"/>
              </a:endParaRPr>
            </a:p>
          </p:txBody>
        </p:sp>
        <p:sp>
          <p:nvSpPr>
            <p:cNvPr id="41" name="Freeform 27"/>
            <p:cNvSpPr/>
            <p:nvPr userDrawn="1"/>
          </p:nvSpPr>
          <p:spPr bwMode="auto">
            <a:xfrm>
              <a:off x="7874739" y="5788963"/>
              <a:ext cx="74273" cy="38082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9" y="0"/>
                </a:cxn>
                <a:cxn ang="0">
                  <a:pos x="32" y="16"/>
                </a:cxn>
              </a:cxnLst>
              <a:rect l="0" t="0" r="r" b="b"/>
              <a:pathLst>
                <a:path w="32" h="16">
                  <a:moveTo>
                    <a:pt x="0" y="1"/>
                  </a:moveTo>
                  <a:cubicBezTo>
                    <a:pt x="3" y="0"/>
                    <a:pt x="6" y="0"/>
                    <a:pt x="9" y="0"/>
                  </a:cubicBezTo>
                  <a:cubicBezTo>
                    <a:pt x="19" y="0"/>
                    <a:pt x="28" y="6"/>
                    <a:pt x="32" y="16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0">
                <a:solidFill>
                  <a:srgbClr val="000000"/>
                </a:solidFill>
                <a:latin typeface="Arial" panose="020B0604020202090204" pitchFamily="34" charset="0"/>
                <a:ea typeface="MS PGothic" pitchFamily="34" charset="-128"/>
              </a:endParaRPr>
            </a:p>
          </p:txBody>
        </p:sp>
        <p:sp>
          <p:nvSpPr>
            <p:cNvPr id="42" name="Freeform 28"/>
            <p:cNvSpPr/>
            <p:nvPr userDrawn="1"/>
          </p:nvSpPr>
          <p:spPr bwMode="auto">
            <a:xfrm>
              <a:off x="7923727" y="5827045"/>
              <a:ext cx="50568" cy="134873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5" y="16"/>
                </a:cxn>
                <a:cxn ang="0">
                  <a:pos x="0" y="46"/>
                </a:cxn>
                <a:cxn ang="0">
                  <a:pos x="22" y="59"/>
                </a:cxn>
              </a:cxnLst>
              <a:rect l="0" t="0" r="r" b="b"/>
              <a:pathLst>
                <a:path w="22" h="59">
                  <a:moveTo>
                    <a:pt x="11" y="0"/>
                  </a:moveTo>
                  <a:cubicBezTo>
                    <a:pt x="13" y="4"/>
                    <a:pt x="15" y="10"/>
                    <a:pt x="15" y="16"/>
                  </a:cubicBezTo>
                  <a:cubicBezTo>
                    <a:pt x="15" y="28"/>
                    <a:pt x="7" y="40"/>
                    <a:pt x="0" y="46"/>
                  </a:cubicBezTo>
                  <a:cubicBezTo>
                    <a:pt x="9" y="49"/>
                    <a:pt x="16" y="53"/>
                    <a:pt x="22" y="59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0">
                <a:solidFill>
                  <a:srgbClr val="000000"/>
                </a:solidFill>
                <a:latin typeface="Arial" panose="020B0604020202090204" pitchFamily="34" charset="0"/>
                <a:ea typeface="MS PGothic" pitchFamily="34" charset="-128"/>
              </a:endParaRPr>
            </a:p>
          </p:txBody>
        </p:sp>
      </p:grpSp>
      <p:sp>
        <p:nvSpPr>
          <p:cNvPr id="45" name="Line 65"/>
          <p:cNvSpPr>
            <a:spLocks noChangeShapeType="1"/>
          </p:cNvSpPr>
          <p:nvPr userDrawn="1"/>
        </p:nvSpPr>
        <p:spPr bwMode="auto">
          <a:xfrm>
            <a:off x="11140007" y="5692654"/>
            <a:ext cx="382068" cy="0"/>
          </a:xfrm>
          <a:prstGeom prst="line">
            <a:avLst/>
          </a:prstGeom>
          <a:noFill/>
          <a:ln w="19050" cap="rnd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700">
              <a:solidFill>
                <a:srgbClr val="000000"/>
              </a:solidFill>
              <a:latin typeface="Arial" panose="020B0604020202090204" pitchFamily="34" charset="0"/>
              <a:ea typeface="MS PGothic" pitchFamily="34" charset="-128"/>
            </a:endParaRPr>
          </a:p>
        </p:txBody>
      </p:sp>
      <p:sp>
        <p:nvSpPr>
          <p:cNvPr id="46" name="Freeform 59"/>
          <p:cNvSpPr/>
          <p:nvPr userDrawn="1"/>
        </p:nvSpPr>
        <p:spPr>
          <a:xfrm flipH="1" flipV="1">
            <a:off x="552100" y="4182113"/>
            <a:ext cx="7611371" cy="1572042"/>
          </a:xfrm>
          <a:custGeom>
            <a:avLst/>
            <a:gdLst>
              <a:gd name="connsiteX0" fmla="*/ 8521700 w 8521700"/>
              <a:gd name="connsiteY0" fmla="*/ 3124200 h 4356100"/>
              <a:gd name="connsiteX1" fmla="*/ 8521700 w 8521700"/>
              <a:gd name="connsiteY1" fmla="*/ 203200 h 4356100"/>
              <a:gd name="connsiteX2" fmla="*/ 8318500 w 8521700"/>
              <a:gd name="connsiteY2" fmla="*/ 0 h 4356100"/>
              <a:gd name="connsiteX3" fmla="*/ 228600 w 8521700"/>
              <a:gd name="connsiteY3" fmla="*/ 0 h 4356100"/>
              <a:gd name="connsiteX4" fmla="*/ 0 w 8521700"/>
              <a:gd name="connsiteY4" fmla="*/ 215900 h 4356100"/>
              <a:gd name="connsiteX5" fmla="*/ 0 w 8521700"/>
              <a:gd name="connsiteY5" fmla="*/ 4356100 h 4356100"/>
              <a:gd name="connsiteX6" fmla="*/ 6578600 w 8521700"/>
              <a:gd name="connsiteY6" fmla="*/ 4318000 h 4356100"/>
              <a:gd name="connsiteX0-1" fmla="*/ 8532812 w 8532812"/>
              <a:gd name="connsiteY0-2" fmla="*/ 3124200 h 4318000"/>
              <a:gd name="connsiteX1-3" fmla="*/ 8532812 w 8532812"/>
              <a:gd name="connsiteY1-4" fmla="*/ 203200 h 4318000"/>
              <a:gd name="connsiteX2-5" fmla="*/ 8329612 w 8532812"/>
              <a:gd name="connsiteY2-6" fmla="*/ 0 h 4318000"/>
              <a:gd name="connsiteX3-7" fmla="*/ 239712 w 8532812"/>
              <a:gd name="connsiteY3-8" fmla="*/ 0 h 4318000"/>
              <a:gd name="connsiteX4-9" fmla="*/ 11112 w 8532812"/>
              <a:gd name="connsiteY4-10" fmla="*/ 215900 h 4318000"/>
              <a:gd name="connsiteX5-11" fmla="*/ 0 w 8532812"/>
              <a:gd name="connsiteY5-12" fmla="*/ 4318000 h 4318000"/>
              <a:gd name="connsiteX6-13" fmla="*/ 6589712 w 8532812"/>
              <a:gd name="connsiteY6-14" fmla="*/ 4318000 h 4318000"/>
              <a:gd name="connsiteX0-15" fmla="*/ 8532812 w 8532812"/>
              <a:gd name="connsiteY0-16" fmla="*/ 3125893 h 4319693"/>
              <a:gd name="connsiteX1-17" fmla="*/ 8532812 w 8532812"/>
              <a:gd name="connsiteY1-18" fmla="*/ 204893 h 4319693"/>
              <a:gd name="connsiteX2-19" fmla="*/ 8329612 w 8532812"/>
              <a:gd name="connsiteY2-20" fmla="*/ 1693 h 4319693"/>
              <a:gd name="connsiteX3-21" fmla="*/ 239712 w 8532812"/>
              <a:gd name="connsiteY3-22" fmla="*/ 1693 h 4319693"/>
              <a:gd name="connsiteX4-23" fmla="*/ 11112 w 8532812"/>
              <a:gd name="connsiteY4-24" fmla="*/ 217593 h 4319693"/>
              <a:gd name="connsiteX5-25" fmla="*/ 0 w 8532812"/>
              <a:gd name="connsiteY5-26" fmla="*/ 4319693 h 4319693"/>
              <a:gd name="connsiteX6-27" fmla="*/ 6589712 w 8532812"/>
              <a:gd name="connsiteY6-28" fmla="*/ 4319693 h 4319693"/>
              <a:gd name="connsiteX0-29" fmla="*/ 8532812 w 8532812"/>
              <a:gd name="connsiteY0-30" fmla="*/ 3125893 h 4319693"/>
              <a:gd name="connsiteX1-31" fmla="*/ 8532812 w 8532812"/>
              <a:gd name="connsiteY1-32" fmla="*/ 204893 h 4319693"/>
              <a:gd name="connsiteX2-33" fmla="*/ 8329612 w 8532812"/>
              <a:gd name="connsiteY2-34" fmla="*/ 1693 h 4319693"/>
              <a:gd name="connsiteX3-35" fmla="*/ 239712 w 8532812"/>
              <a:gd name="connsiteY3-36" fmla="*/ 1693 h 4319693"/>
              <a:gd name="connsiteX4-37" fmla="*/ 11112 w 8532812"/>
              <a:gd name="connsiteY4-38" fmla="*/ 217593 h 4319693"/>
              <a:gd name="connsiteX5-39" fmla="*/ 0 w 8532812"/>
              <a:gd name="connsiteY5-40" fmla="*/ 4319693 h 4319693"/>
              <a:gd name="connsiteX6-41" fmla="*/ 6589712 w 8532812"/>
              <a:gd name="connsiteY6-42" fmla="*/ 4319693 h 4319693"/>
              <a:gd name="connsiteX0-43" fmla="*/ 8532812 w 8543819"/>
              <a:gd name="connsiteY0-44" fmla="*/ 3141768 h 4335568"/>
              <a:gd name="connsiteX1-45" fmla="*/ 8532812 w 8543819"/>
              <a:gd name="connsiteY1-46" fmla="*/ 220768 h 4335568"/>
              <a:gd name="connsiteX2-47" fmla="*/ 8329612 w 8543819"/>
              <a:gd name="connsiteY2-48" fmla="*/ 17568 h 4335568"/>
              <a:gd name="connsiteX3-49" fmla="*/ 239712 w 8543819"/>
              <a:gd name="connsiteY3-50" fmla="*/ 17568 h 4335568"/>
              <a:gd name="connsiteX4-51" fmla="*/ 11112 w 8543819"/>
              <a:gd name="connsiteY4-52" fmla="*/ 233468 h 4335568"/>
              <a:gd name="connsiteX5-53" fmla="*/ 0 w 8543819"/>
              <a:gd name="connsiteY5-54" fmla="*/ 4335568 h 4335568"/>
              <a:gd name="connsiteX6-55" fmla="*/ 6589712 w 8543819"/>
              <a:gd name="connsiteY6-56" fmla="*/ 4335568 h 4335568"/>
              <a:gd name="connsiteX0-57" fmla="*/ 8582660 w 8593667"/>
              <a:gd name="connsiteY0-58" fmla="*/ 3163147 h 4356947"/>
              <a:gd name="connsiteX1-59" fmla="*/ 8582660 w 8593667"/>
              <a:gd name="connsiteY1-60" fmla="*/ 242147 h 4356947"/>
              <a:gd name="connsiteX2-61" fmla="*/ 8379460 w 8593667"/>
              <a:gd name="connsiteY2-62" fmla="*/ 38947 h 4356947"/>
              <a:gd name="connsiteX3-63" fmla="*/ 289560 w 8593667"/>
              <a:gd name="connsiteY3-64" fmla="*/ 38947 h 4356947"/>
              <a:gd name="connsiteX4-65" fmla="*/ 60960 w 8593667"/>
              <a:gd name="connsiteY4-66" fmla="*/ 254847 h 4356947"/>
              <a:gd name="connsiteX5-67" fmla="*/ 49848 w 8593667"/>
              <a:gd name="connsiteY5-68" fmla="*/ 4356947 h 4356947"/>
              <a:gd name="connsiteX6-69" fmla="*/ 6639560 w 8593667"/>
              <a:gd name="connsiteY6-70" fmla="*/ 4356947 h 4356947"/>
              <a:gd name="connsiteX0-71" fmla="*/ 8582660 w 8593667"/>
              <a:gd name="connsiteY0-72" fmla="*/ 3163147 h 4356947"/>
              <a:gd name="connsiteX1-73" fmla="*/ 8582660 w 8593667"/>
              <a:gd name="connsiteY1-74" fmla="*/ 242147 h 4356947"/>
              <a:gd name="connsiteX2-75" fmla="*/ 8379460 w 8593667"/>
              <a:gd name="connsiteY2-76" fmla="*/ 38947 h 4356947"/>
              <a:gd name="connsiteX3-77" fmla="*/ 289560 w 8593667"/>
              <a:gd name="connsiteY3-78" fmla="*/ 38947 h 4356947"/>
              <a:gd name="connsiteX4-79" fmla="*/ 60960 w 8593667"/>
              <a:gd name="connsiteY4-80" fmla="*/ 254847 h 4356947"/>
              <a:gd name="connsiteX5-81" fmla="*/ 49848 w 8593667"/>
              <a:gd name="connsiteY5-82" fmla="*/ 4356947 h 4356947"/>
              <a:gd name="connsiteX6-83" fmla="*/ 6639560 w 8593667"/>
              <a:gd name="connsiteY6-84" fmla="*/ 4356947 h 4356947"/>
              <a:gd name="connsiteX0-85" fmla="*/ 8566468 w 8577475"/>
              <a:gd name="connsiteY0-86" fmla="*/ 3217122 h 4410922"/>
              <a:gd name="connsiteX1-87" fmla="*/ 8566468 w 8577475"/>
              <a:gd name="connsiteY1-88" fmla="*/ 296122 h 4410922"/>
              <a:gd name="connsiteX2-89" fmla="*/ 8363268 w 8577475"/>
              <a:gd name="connsiteY2-90" fmla="*/ 92922 h 4410922"/>
              <a:gd name="connsiteX3-91" fmla="*/ 273368 w 8577475"/>
              <a:gd name="connsiteY3-92" fmla="*/ 92922 h 4410922"/>
              <a:gd name="connsiteX4-93" fmla="*/ 44768 w 8577475"/>
              <a:gd name="connsiteY4-94" fmla="*/ 308822 h 4410922"/>
              <a:gd name="connsiteX5-95" fmla="*/ 33656 w 8577475"/>
              <a:gd name="connsiteY5-96" fmla="*/ 4410922 h 4410922"/>
              <a:gd name="connsiteX6-97" fmla="*/ 6623368 w 8577475"/>
              <a:gd name="connsiteY6-98" fmla="*/ 4410922 h 4410922"/>
              <a:gd name="connsiteX0-99" fmla="*/ 8566468 w 8577475"/>
              <a:gd name="connsiteY0-100" fmla="*/ 3217122 h 4410922"/>
              <a:gd name="connsiteX1-101" fmla="*/ 8566468 w 8577475"/>
              <a:gd name="connsiteY1-102" fmla="*/ 296122 h 4410922"/>
              <a:gd name="connsiteX2-103" fmla="*/ 8363268 w 8577475"/>
              <a:gd name="connsiteY2-104" fmla="*/ 92922 h 4410922"/>
              <a:gd name="connsiteX3-105" fmla="*/ 273368 w 8577475"/>
              <a:gd name="connsiteY3-106" fmla="*/ 92922 h 4410922"/>
              <a:gd name="connsiteX4-107" fmla="*/ 44768 w 8577475"/>
              <a:gd name="connsiteY4-108" fmla="*/ 308822 h 4410922"/>
              <a:gd name="connsiteX5-109" fmla="*/ 33656 w 8577475"/>
              <a:gd name="connsiteY5-110" fmla="*/ 4410922 h 4410922"/>
              <a:gd name="connsiteX6-111" fmla="*/ 6623368 w 8577475"/>
              <a:gd name="connsiteY6-112" fmla="*/ 4410922 h 4410922"/>
              <a:gd name="connsiteX0-113" fmla="*/ 8577580 w 8588587"/>
              <a:gd name="connsiteY0-114" fmla="*/ 3174259 h 4368059"/>
              <a:gd name="connsiteX1-115" fmla="*/ 8577580 w 8588587"/>
              <a:gd name="connsiteY1-116" fmla="*/ 253259 h 4368059"/>
              <a:gd name="connsiteX2-117" fmla="*/ 8374380 w 8588587"/>
              <a:gd name="connsiteY2-118" fmla="*/ 50059 h 4368059"/>
              <a:gd name="connsiteX3-119" fmla="*/ 284480 w 8588587"/>
              <a:gd name="connsiteY3-120" fmla="*/ 50059 h 4368059"/>
              <a:gd name="connsiteX4-121" fmla="*/ 44768 w 8588587"/>
              <a:gd name="connsiteY4-122" fmla="*/ 308822 h 4368059"/>
              <a:gd name="connsiteX5-123" fmla="*/ 44768 w 8588587"/>
              <a:gd name="connsiteY5-124" fmla="*/ 4368059 h 4368059"/>
              <a:gd name="connsiteX6-125" fmla="*/ 6634480 w 8588587"/>
              <a:gd name="connsiteY6-126" fmla="*/ 4368059 h 4368059"/>
              <a:gd name="connsiteX0-127" fmla="*/ 8553768 w 8564775"/>
              <a:gd name="connsiteY0-128" fmla="*/ 3164734 h 4358534"/>
              <a:gd name="connsiteX1-129" fmla="*/ 8553768 w 8564775"/>
              <a:gd name="connsiteY1-130" fmla="*/ 243734 h 4358534"/>
              <a:gd name="connsiteX2-131" fmla="*/ 8350568 w 8564775"/>
              <a:gd name="connsiteY2-132" fmla="*/ 40534 h 4358534"/>
              <a:gd name="connsiteX3-133" fmla="*/ 260668 w 8564775"/>
              <a:gd name="connsiteY3-134" fmla="*/ 40534 h 4358534"/>
              <a:gd name="connsiteX4-135" fmla="*/ 20956 w 8564775"/>
              <a:gd name="connsiteY4-136" fmla="*/ 299297 h 4358534"/>
              <a:gd name="connsiteX5-137" fmla="*/ 20956 w 8564775"/>
              <a:gd name="connsiteY5-138" fmla="*/ 4358534 h 4358534"/>
              <a:gd name="connsiteX6-139" fmla="*/ 6610668 w 8564775"/>
              <a:gd name="connsiteY6-140" fmla="*/ 4358534 h 4358534"/>
              <a:gd name="connsiteX0-141" fmla="*/ 8553768 w 8564775"/>
              <a:gd name="connsiteY0-142" fmla="*/ 3164734 h 4358534"/>
              <a:gd name="connsiteX1-143" fmla="*/ 8553768 w 8564775"/>
              <a:gd name="connsiteY1-144" fmla="*/ 243734 h 4358534"/>
              <a:gd name="connsiteX2-145" fmla="*/ 8350568 w 8564775"/>
              <a:gd name="connsiteY2-146" fmla="*/ 40534 h 4358534"/>
              <a:gd name="connsiteX3-147" fmla="*/ 260668 w 8564775"/>
              <a:gd name="connsiteY3-148" fmla="*/ 40534 h 4358534"/>
              <a:gd name="connsiteX4-149" fmla="*/ 20956 w 8564775"/>
              <a:gd name="connsiteY4-150" fmla="*/ 299297 h 4358534"/>
              <a:gd name="connsiteX5-151" fmla="*/ 20956 w 8564775"/>
              <a:gd name="connsiteY5-152" fmla="*/ 4302179 h 4358534"/>
              <a:gd name="connsiteX6-153" fmla="*/ 20956 w 8564775"/>
              <a:gd name="connsiteY6-154" fmla="*/ 4358534 h 4358534"/>
              <a:gd name="connsiteX7" fmla="*/ 6610668 w 8564775"/>
              <a:gd name="connsiteY7" fmla="*/ 4358534 h 4358534"/>
              <a:gd name="connsiteX0-155" fmla="*/ 8553768 w 8564775"/>
              <a:gd name="connsiteY0-156" fmla="*/ 3164734 h 4358534"/>
              <a:gd name="connsiteX1-157" fmla="*/ 8553768 w 8564775"/>
              <a:gd name="connsiteY1-158" fmla="*/ 243734 h 4358534"/>
              <a:gd name="connsiteX2-159" fmla="*/ 8350568 w 8564775"/>
              <a:gd name="connsiteY2-160" fmla="*/ 40534 h 4358534"/>
              <a:gd name="connsiteX3-161" fmla="*/ 260668 w 8564775"/>
              <a:gd name="connsiteY3-162" fmla="*/ 40534 h 4358534"/>
              <a:gd name="connsiteX4-163" fmla="*/ 20956 w 8564775"/>
              <a:gd name="connsiteY4-164" fmla="*/ 299297 h 4358534"/>
              <a:gd name="connsiteX5-165" fmla="*/ 20956 w 8564775"/>
              <a:gd name="connsiteY5-166" fmla="*/ 4302179 h 4358534"/>
              <a:gd name="connsiteX6-167" fmla="*/ 20956 w 8564775"/>
              <a:gd name="connsiteY6-168" fmla="*/ 4358534 h 4358534"/>
              <a:gd name="connsiteX7-169" fmla="*/ 78106 w 8564775"/>
              <a:gd name="connsiteY7-170" fmla="*/ 4356948 h 4358534"/>
              <a:gd name="connsiteX8" fmla="*/ 6610668 w 8564775"/>
              <a:gd name="connsiteY8" fmla="*/ 4358534 h 4358534"/>
              <a:gd name="connsiteX0-171" fmla="*/ 8553768 w 8564775"/>
              <a:gd name="connsiteY0-172" fmla="*/ 3164734 h 4358534"/>
              <a:gd name="connsiteX1-173" fmla="*/ 8553768 w 8564775"/>
              <a:gd name="connsiteY1-174" fmla="*/ 243734 h 4358534"/>
              <a:gd name="connsiteX2-175" fmla="*/ 8350568 w 8564775"/>
              <a:gd name="connsiteY2-176" fmla="*/ 40534 h 4358534"/>
              <a:gd name="connsiteX3-177" fmla="*/ 260668 w 8564775"/>
              <a:gd name="connsiteY3-178" fmla="*/ 40534 h 4358534"/>
              <a:gd name="connsiteX4-179" fmla="*/ 20956 w 8564775"/>
              <a:gd name="connsiteY4-180" fmla="*/ 299297 h 4358534"/>
              <a:gd name="connsiteX5-181" fmla="*/ 20956 w 8564775"/>
              <a:gd name="connsiteY5-182" fmla="*/ 4302179 h 4358534"/>
              <a:gd name="connsiteX6-183" fmla="*/ 78106 w 8564775"/>
              <a:gd name="connsiteY6-184" fmla="*/ 4356948 h 4358534"/>
              <a:gd name="connsiteX7-185" fmla="*/ 6610668 w 8564775"/>
              <a:gd name="connsiteY7-186" fmla="*/ 4358534 h 4358534"/>
              <a:gd name="connsiteX0-187" fmla="*/ 8553768 w 8564775"/>
              <a:gd name="connsiteY0-188" fmla="*/ 3164734 h 4389492"/>
              <a:gd name="connsiteX1-189" fmla="*/ 8553768 w 8564775"/>
              <a:gd name="connsiteY1-190" fmla="*/ 243734 h 4389492"/>
              <a:gd name="connsiteX2-191" fmla="*/ 8350568 w 8564775"/>
              <a:gd name="connsiteY2-192" fmla="*/ 40534 h 4389492"/>
              <a:gd name="connsiteX3-193" fmla="*/ 260668 w 8564775"/>
              <a:gd name="connsiteY3-194" fmla="*/ 40534 h 4389492"/>
              <a:gd name="connsiteX4-195" fmla="*/ 20956 w 8564775"/>
              <a:gd name="connsiteY4-196" fmla="*/ 299297 h 4389492"/>
              <a:gd name="connsiteX5-197" fmla="*/ 20956 w 8564775"/>
              <a:gd name="connsiteY5-198" fmla="*/ 4302179 h 4389492"/>
              <a:gd name="connsiteX6-199" fmla="*/ 78106 w 8564775"/>
              <a:gd name="connsiteY6-200" fmla="*/ 4356948 h 4389492"/>
              <a:gd name="connsiteX7-201" fmla="*/ 6610668 w 8564775"/>
              <a:gd name="connsiteY7-202" fmla="*/ 4358534 h 4389492"/>
              <a:gd name="connsiteX0-203" fmla="*/ 8553768 w 8564775"/>
              <a:gd name="connsiteY0-204" fmla="*/ 3164734 h 4358534"/>
              <a:gd name="connsiteX1-205" fmla="*/ 8553768 w 8564775"/>
              <a:gd name="connsiteY1-206" fmla="*/ 243734 h 4358534"/>
              <a:gd name="connsiteX2-207" fmla="*/ 8350568 w 8564775"/>
              <a:gd name="connsiteY2-208" fmla="*/ 40534 h 4358534"/>
              <a:gd name="connsiteX3-209" fmla="*/ 260668 w 8564775"/>
              <a:gd name="connsiteY3-210" fmla="*/ 40534 h 4358534"/>
              <a:gd name="connsiteX4-211" fmla="*/ 20956 w 8564775"/>
              <a:gd name="connsiteY4-212" fmla="*/ 299297 h 4358534"/>
              <a:gd name="connsiteX5-213" fmla="*/ 20956 w 8564775"/>
              <a:gd name="connsiteY5-214" fmla="*/ 4256935 h 4358534"/>
              <a:gd name="connsiteX6-215" fmla="*/ 78106 w 8564775"/>
              <a:gd name="connsiteY6-216" fmla="*/ 4356948 h 4358534"/>
              <a:gd name="connsiteX7-217" fmla="*/ 6610668 w 8564775"/>
              <a:gd name="connsiteY7-218" fmla="*/ 4358534 h 4358534"/>
              <a:gd name="connsiteX0-219" fmla="*/ 8553768 w 8564775"/>
              <a:gd name="connsiteY0-220" fmla="*/ 3164734 h 4358535"/>
              <a:gd name="connsiteX1-221" fmla="*/ 8553768 w 8564775"/>
              <a:gd name="connsiteY1-222" fmla="*/ 243734 h 4358535"/>
              <a:gd name="connsiteX2-223" fmla="*/ 8350568 w 8564775"/>
              <a:gd name="connsiteY2-224" fmla="*/ 40534 h 4358535"/>
              <a:gd name="connsiteX3-225" fmla="*/ 260668 w 8564775"/>
              <a:gd name="connsiteY3-226" fmla="*/ 40534 h 4358535"/>
              <a:gd name="connsiteX4-227" fmla="*/ 20956 w 8564775"/>
              <a:gd name="connsiteY4-228" fmla="*/ 299297 h 4358535"/>
              <a:gd name="connsiteX5-229" fmla="*/ 20956 w 8564775"/>
              <a:gd name="connsiteY5-230" fmla="*/ 4256935 h 4358535"/>
              <a:gd name="connsiteX6-231" fmla="*/ 113825 w 8564775"/>
              <a:gd name="connsiteY6-232" fmla="*/ 4358535 h 4358535"/>
              <a:gd name="connsiteX7-233" fmla="*/ 6610668 w 8564775"/>
              <a:gd name="connsiteY7-234" fmla="*/ 4358534 h 4358535"/>
              <a:gd name="connsiteX0-235" fmla="*/ 8553768 w 8564775"/>
              <a:gd name="connsiteY0-236" fmla="*/ 3164734 h 4367267"/>
              <a:gd name="connsiteX1-237" fmla="*/ 8553768 w 8564775"/>
              <a:gd name="connsiteY1-238" fmla="*/ 243734 h 4367267"/>
              <a:gd name="connsiteX2-239" fmla="*/ 8350568 w 8564775"/>
              <a:gd name="connsiteY2-240" fmla="*/ 40534 h 4367267"/>
              <a:gd name="connsiteX3-241" fmla="*/ 260668 w 8564775"/>
              <a:gd name="connsiteY3-242" fmla="*/ 40534 h 4367267"/>
              <a:gd name="connsiteX4-243" fmla="*/ 20956 w 8564775"/>
              <a:gd name="connsiteY4-244" fmla="*/ 299297 h 4367267"/>
              <a:gd name="connsiteX5-245" fmla="*/ 20956 w 8564775"/>
              <a:gd name="connsiteY5-246" fmla="*/ 4256935 h 4367267"/>
              <a:gd name="connsiteX6-247" fmla="*/ 113825 w 8564775"/>
              <a:gd name="connsiteY6-248" fmla="*/ 4358535 h 4367267"/>
              <a:gd name="connsiteX7-249" fmla="*/ 6610668 w 8564775"/>
              <a:gd name="connsiteY7-250" fmla="*/ 4358534 h 4367267"/>
              <a:gd name="connsiteX0-251" fmla="*/ 8553768 w 8564775"/>
              <a:gd name="connsiteY0-252" fmla="*/ 3164734 h 4367267"/>
              <a:gd name="connsiteX1-253" fmla="*/ 8553768 w 8564775"/>
              <a:gd name="connsiteY1-254" fmla="*/ 243734 h 4367267"/>
              <a:gd name="connsiteX2-255" fmla="*/ 8350568 w 8564775"/>
              <a:gd name="connsiteY2-256" fmla="*/ 40534 h 4367267"/>
              <a:gd name="connsiteX3-257" fmla="*/ 167799 w 8564775"/>
              <a:gd name="connsiteY3-258" fmla="*/ 43710 h 4367267"/>
              <a:gd name="connsiteX4-259" fmla="*/ 20956 w 8564775"/>
              <a:gd name="connsiteY4-260" fmla="*/ 299297 h 4367267"/>
              <a:gd name="connsiteX5-261" fmla="*/ 20956 w 8564775"/>
              <a:gd name="connsiteY5-262" fmla="*/ 4256935 h 4367267"/>
              <a:gd name="connsiteX6-263" fmla="*/ 113825 w 8564775"/>
              <a:gd name="connsiteY6-264" fmla="*/ 4358535 h 4367267"/>
              <a:gd name="connsiteX7-265" fmla="*/ 6610668 w 8564775"/>
              <a:gd name="connsiteY7-266" fmla="*/ 4358534 h 4367267"/>
              <a:gd name="connsiteX0-267" fmla="*/ 8553768 w 8564775"/>
              <a:gd name="connsiteY0-268" fmla="*/ 3309991 h 4512524"/>
              <a:gd name="connsiteX1-269" fmla="*/ 8553768 w 8564775"/>
              <a:gd name="connsiteY1-270" fmla="*/ 388991 h 4512524"/>
              <a:gd name="connsiteX2-271" fmla="*/ 8350568 w 8564775"/>
              <a:gd name="connsiteY2-272" fmla="*/ 185791 h 4512524"/>
              <a:gd name="connsiteX3-273" fmla="*/ 167799 w 8564775"/>
              <a:gd name="connsiteY3-274" fmla="*/ 188967 h 4512524"/>
              <a:gd name="connsiteX4-275" fmla="*/ 20956 w 8564775"/>
              <a:gd name="connsiteY4-276" fmla="*/ 299297 h 4512524"/>
              <a:gd name="connsiteX5-277" fmla="*/ 20956 w 8564775"/>
              <a:gd name="connsiteY5-278" fmla="*/ 4402192 h 4512524"/>
              <a:gd name="connsiteX6-279" fmla="*/ 113825 w 8564775"/>
              <a:gd name="connsiteY6-280" fmla="*/ 4503792 h 4512524"/>
              <a:gd name="connsiteX7-281" fmla="*/ 6610668 w 8564775"/>
              <a:gd name="connsiteY7-282" fmla="*/ 4503791 h 4512524"/>
              <a:gd name="connsiteX0-283" fmla="*/ 8553768 w 8564775"/>
              <a:gd name="connsiteY0-284" fmla="*/ 3343329 h 4545862"/>
              <a:gd name="connsiteX1-285" fmla="*/ 8553768 w 8564775"/>
              <a:gd name="connsiteY1-286" fmla="*/ 422329 h 4545862"/>
              <a:gd name="connsiteX2-287" fmla="*/ 8350568 w 8564775"/>
              <a:gd name="connsiteY2-288" fmla="*/ 219129 h 4545862"/>
              <a:gd name="connsiteX3-289" fmla="*/ 167799 w 8564775"/>
              <a:gd name="connsiteY3-290" fmla="*/ 222305 h 4545862"/>
              <a:gd name="connsiteX4-291" fmla="*/ 20956 w 8564775"/>
              <a:gd name="connsiteY4-292" fmla="*/ 299297 h 4545862"/>
              <a:gd name="connsiteX5-293" fmla="*/ 20956 w 8564775"/>
              <a:gd name="connsiteY5-294" fmla="*/ 4435530 h 4545862"/>
              <a:gd name="connsiteX6-295" fmla="*/ 113825 w 8564775"/>
              <a:gd name="connsiteY6-296" fmla="*/ 4537130 h 4545862"/>
              <a:gd name="connsiteX7-297" fmla="*/ 6610668 w 8564775"/>
              <a:gd name="connsiteY7-298" fmla="*/ 4537129 h 4545862"/>
              <a:gd name="connsiteX0-299" fmla="*/ 8545037 w 8556044"/>
              <a:gd name="connsiteY0-300" fmla="*/ 3152829 h 4355362"/>
              <a:gd name="connsiteX1-301" fmla="*/ 8545037 w 8556044"/>
              <a:gd name="connsiteY1-302" fmla="*/ 231829 h 4355362"/>
              <a:gd name="connsiteX2-303" fmla="*/ 8341837 w 8556044"/>
              <a:gd name="connsiteY2-304" fmla="*/ 28629 h 4355362"/>
              <a:gd name="connsiteX3-305" fmla="*/ 159068 w 8556044"/>
              <a:gd name="connsiteY3-306" fmla="*/ 31805 h 4355362"/>
              <a:gd name="connsiteX4-307" fmla="*/ 12225 w 8556044"/>
              <a:gd name="connsiteY4-308" fmla="*/ 108797 h 4355362"/>
              <a:gd name="connsiteX5-309" fmla="*/ 12225 w 8556044"/>
              <a:gd name="connsiteY5-310" fmla="*/ 4245030 h 4355362"/>
              <a:gd name="connsiteX6-311" fmla="*/ 105094 w 8556044"/>
              <a:gd name="connsiteY6-312" fmla="*/ 4346630 h 4355362"/>
              <a:gd name="connsiteX7-313" fmla="*/ 6601937 w 8556044"/>
              <a:gd name="connsiteY7-314" fmla="*/ 4346629 h 4355362"/>
              <a:gd name="connsiteX0-315" fmla="*/ 8590280 w 8601287"/>
              <a:gd name="connsiteY0-316" fmla="*/ 3152829 h 4355362"/>
              <a:gd name="connsiteX1-317" fmla="*/ 8590280 w 8601287"/>
              <a:gd name="connsiteY1-318" fmla="*/ 231829 h 4355362"/>
              <a:gd name="connsiteX2-319" fmla="*/ 8387080 w 8601287"/>
              <a:gd name="connsiteY2-320" fmla="*/ 28629 h 4355362"/>
              <a:gd name="connsiteX3-321" fmla="*/ 159068 w 8601287"/>
              <a:gd name="connsiteY3-322" fmla="*/ 31805 h 4355362"/>
              <a:gd name="connsiteX4-323" fmla="*/ 57468 w 8601287"/>
              <a:gd name="connsiteY4-324" fmla="*/ 108797 h 4355362"/>
              <a:gd name="connsiteX5-325" fmla="*/ 57468 w 8601287"/>
              <a:gd name="connsiteY5-326" fmla="*/ 4245030 h 4355362"/>
              <a:gd name="connsiteX6-327" fmla="*/ 150337 w 8601287"/>
              <a:gd name="connsiteY6-328" fmla="*/ 4346630 h 4355362"/>
              <a:gd name="connsiteX7-329" fmla="*/ 6647180 w 8601287"/>
              <a:gd name="connsiteY7-330" fmla="*/ 4346629 h 4355362"/>
              <a:gd name="connsiteX0-331" fmla="*/ 8537575 w 8548582"/>
              <a:gd name="connsiteY0-332" fmla="*/ 3152829 h 4355362"/>
              <a:gd name="connsiteX1-333" fmla="*/ 8537575 w 8548582"/>
              <a:gd name="connsiteY1-334" fmla="*/ 231829 h 4355362"/>
              <a:gd name="connsiteX2-335" fmla="*/ 8334375 w 8548582"/>
              <a:gd name="connsiteY2-336" fmla="*/ 28629 h 4355362"/>
              <a:gd name="connsiteX3-337" fmla="*/ 106363 w 8548582"/>
              <a:gd name="connsiteY3-338" fmla="*/ 31805 h 4355362"/>
              <a:gd name="connsiteX4-339" fmla="*/ 4763 w 8548582"/>
              <a:gd name="connsiteY4-340" fmla="*/ 108797 h 4355362"/>
              <a:gd name="connsiteX5-341" fmla="*/ 4763 w 8548582"/>
              <a:gd name="connsiteY5-342" fmla="*/ 4245030 h 4355362"/>
              <a:gd name="connsiteX6-343" fmla="*/ 97632 w 8548582"/>
              <a:gd name="connsiteY6-344" fmla="*/ 4346630 h 4355362"/>
              <a:gd name="connsiteX7-345" fmla="*/ 6594475 w 8548582"/>
              <a:gd name="connsiteY7-346" fmla="*/ 4346629 h 4355362"/>
              <a:gd name="connsiteX0-347" fmla="*/ 8537575 w 8548582"/>
              <a:gd name="connsiteY0-348" fmla="*/ 3152829 h 4355362"/>
              <a:gd name="connsiteX1-349" fmla="*/ 8537575 w 8548582"/>
              <a:gd name="connsiteY1-350" fmla="*/ 231829 h 4355362"/>
              <a:gd name="connsiteX2-351" fmla="*/ 8334375 w 8548582"/>
              <a:gd name="connsiteY2-352" fmla="*/ 28629 h 4355362"/>
              <a:gd name="connsiteX3-353" fmla="*/ 106363 w 8548582"/>
              <a:gd name="connsiteY3-354" fmla="*/ 31805 h 4355362"/>
              <a:gd name="connsiteX4-355" fmla="*/ 4763 w 8548582"/>
              <a:gd name="connsiteY4-356" fmla="*/ 108797 h 4355362"/>
              <a:gd name="connsiteX5-357" fmla="*/ 4763 w 8548582"/>
              <a:gd name="connsiteY5-358" fmla="*/ 4245030 h 4355362"/>
              <a:gd name="connsiteX6-359" fmla="*/ 97632 w 8548582"/>
              <a:gd name="connsiteY6-360" fmla="*/ 4346630 h 4355362"/>
              <a:gd name="connsiteX7-361" fmla="*/ 6594475 w 8548582"/>
              <a:gd name="connsiteY7-362" fmla="*/ 4346629 h 4355362"/>
              <a:gd name="connsiteX0-363" fmla="*/ 8537575 w 8548582"/>
              <a:gd name="connsiteY0-364" fmla="*/ 3152829 h 4355362"/>
              <a:gd name="connsiteX1-365" fmla="*/ 8537575 w 8548582"/>
              <a:gd name="connsiteY1-366" fmla="*/ 231829 h 4355362"/>
              <a:gd name="connsiteX2-367" fmla="*/ 8334375 w 8548582"/>
              <a:gd name="connsiteY2-368" fmla="*/ 28629 h 4355362"/>
              <a:gd name="connsiteX3-369" fmla="*/ 106363 w 8548582"/>
              <a:gd name="connsiteY3-370" fmla="*/ 31805 h 4355362"/>
              <a:gd name="connsiteX4-371" fmla="*/ 4763 w 8548582"/>
              <a:gd name="connsiteY4-372" fmla="*/ 108797 h 4355362"/>
              <a:gd name="connsiteX5-373" fmla="*/ 4763 w 8548582"/>
              <a:gd name="connsiteY5-374" fmla="*/ 4245030 h 4355362"/>
              <a:gd name="connsiteX6-375" fmla="*/ 97632 w 8548582"/>
              <a:gd name="connsiteY6-376" fmla="*/ 4346630 h 4355362"/>
              <a:gd name="connsiteX7-377" fmla="*/ 6594475 w 8548582"/>
              <a:gd name="connsiteY7-378" fmla="*/ 4346629 h 4355362"/>
              <a:gd name="connsiteX0-379" fmla="*/ 8537575 w 8548582"/>
              <a:gd name="connsiteY0-380" fmla="*/ 3152829 h 4355362"/>
              <a:gd name="connsiteX1-381" fmla="*/ 8537575 w 8548582"/>
              <a:gd name="connsiteY1-382" fmla="*/ 231829 h 4355362"/>
              <a:gd name="connsiteX2-383" fmla="*/ 8334375 w 8548582"/>
              <a:gd name="connsiteY2-384" fmla="*/ 28629 h 4355362"/>
              <a:gd name="connsiteX3-385" fmla="*/ 106363 w 8548582"/>
              <a:gd name="connsiteY3-386" fmla="*/ 31805 h 4355362"/>
              <a:gd name="connsiteX4-387" fmla="*/ 4763 w 8548582"/>
              <a:gd name="connsiteY4-388" fmla="*/ 108797 h 4355362"/>
              <a:gd name="connsiteX5-389" fmla="*/ 4763 w 8548582"/>
              <a:gd name="connsiteY5-390" fmla="*/ 4245030 h 4355362"/>
              <a:gd name="connsiteX6-391" fmla="*/ 97632 w 8548582"/>
              <a:gd name="connsiteY6-392" fmla="*/ 4346630 h 4355362"/>
              <a:gd name="connsiteX7-393" fmla="*/ 6594475 w 8548582"/>
              <a:gd name="connsiteY7-394" fmla="*/ 4346629 h 4355362"/>
              <a:gd name="connsiteX0-395" fmla="*/ 8537575 w 8548582"/>
              <a:gd name="connsiteY0-396" fmla="*/ 3152829 h 4355362"/>
              <a:gd name="connsiteX1-397" fmla="*/ 8537575 w 8548582"/>
              <a:gd name="connsiteY1-398" fmla="*/ 231829 h 4355362"/>
              <a:gd name="connsiteX2-399" fmla="*/ 8334375 w 8548582"/>
              <a:gd name="connsiteY2-400" fmla="*/ 28629 h 4355362"/>
              <a:gd name="connsiteX3-401" fmla="*/ 106363 w 8548582"/>
              <a:gd name="connsiteY3-402" fmla="*/ 31805 h 4355362"/>
              <a:gd name="connsiteX4-403" fmla="*/ 4763 w 8548582"/>
              <a:gd name="connsiteY4-404" fmla="*/ 108797 h 4355362"/>
              <a:gd name="connsiteX5-405" fmla="*/ 4763 w 8548582"/>
              <a:gd name="connsiteY5-406" fmla="*/ 4245030 h 4355362"/>
              <a:gd name="connsiteX6-407" fmla="*/ 97632 w 8548582"/>
              <a:gd name="connsiteY6-408" fmla="*/ 4346630 h 4355362"/>
              <a:gd name="connsiteX7-409" fmla="*/ 6594475 w 8548582"/>
              <a:gd name="connsiteY7-410" fmla="*/ 4346629 h 4355362"/>
              <a:gd name="connsiteX0-411" fmla="*/ 8537575 w 8548582"/>
              <a:gd name="connsiteY0-412" fmla="*/ 3152829 h 4355362"/>
              <a:gd name="connsiteX1-413" fmla="*/ 8537575 w 8548582"/>
              <a:gd name="connsiteY1-414" fmla="*/ 231829 h 4355362"/>
              <a:gd name="connsiteX2-415" fmla="*/ 8334375 w 8548582"/>
              <a:gd name="connsiteY2-416" fmla="*/ 28629 h 4355362"/>
              <a:gd name="connsiteX3-417" fmla="*/ 106363 w 8548582"/>
              <a:gd name="connsiteY3-418" fmla="*/ 31805 h 4355362"/>
              <a:gd name="connsiteX4-419" fmla="*/ 4763 w 8548582"/>
              <a:gd name="connsiteY4-420" fmla="*/ 108797 h 4355362"/>
              <a:gd name="connsiteX5-421" fmla="*/ 4763 w 8548582"/>
              <a:gd name="connsiteY5-422" fmla="*/ 4245030 h 4355362"/>
              <a:gd name="connsiteX6-423" fmla="*/ 97632 w 8548582"/>
              <a:gd name="connsiteY6-424" fmla="*/ 4346630 h 4355362"/>
              <a:gd name="connsiteX7-425" fmla="*/ 6594475 w 8548582"/>
              <a:gd name="connsiteY7-426" fmla="*/ 4346629 h 4355362"/>
              <a:gd name="connsiteX0-427" fmla="*/ 8537575 w 8548582"/>
              <a:gd name="connsiteY0-428" fmla="*/ 3141768 h 4344301"/>
              <a:gd name="connsiteX1-429" fmla="*/ 8537575 w 8548582"/>
              <a:gd name="connsiteY1-430" fmla="*/ 220768 h 4344301"/>
              <a:gd name="connsiteX2-431" fmla="*/ 8334375 w 8548582"/>
              <a:gd name="connsiteY2-432" fmla="*/ 17568 h 4344301"/>
              <a:gd name="connsiteX3-433" fmla="*/ 106363 w 8548582"/>
              <a:gd name="connsiteY3-434" fmla="*/ 20744 h 4344301"/>
              <a:gd name="connsiteX4-435" fmla="*/ 4762 w 8548582"/>
              <a:gd name="connsiteY4-436" fmla="*/ 109642 h 4344301"/>
              <a:gd name="connsiteX5-437" fmla="*/ 4763 w 8548582"/>
              <a:gd name="connsiteY5-438" fmla="*/ 4233969 h 4344301"/>
              <a:gd name="connsiteX6-439" fmla="*/ 97632 w 8548582"/>
              <a:gd name="connsiteY6-440" fmla="*/ 4335569 h 4344301"/>
              <a:gd name="connsiteX7-441" fmla="*/ 6594475 w 8548582"/>
              <a:gd name="connsiteY7-442" fmla="*/ 4335568 h 4344301"/>
              <a:gd name="connsiteX0-443" fmla="*/ 8539482 w 8550489"/>
              <a:gd name="connsiteY0-444" fmla="*/ 3154417 h 4356950"/>
              <a:gd name="connsiteX1-445" fmla="*/ 8539482 w 8550489"/>
              <a:gd name="connsiteY1-446" fmla="*/ 233417 h 4356950"/>
              <a:gd name="connsiteX2-447" fmla="*/ 8336282 w 8550489"/>
              <a:gd name="connsiteY2-448" fmla="*/ 30217 h 4356950"/>
              <a:gd name="connsiteX3-449" fmla="*/ 108270 w 8550489"/>
              <a:gd name="connsiteY3-450" fmla="*/ 33393 h 4356950"/>
              <a:gd name="connsiteX4-451" fmla="*/ 6669 w 8550489"/>
              <a:gd name="connsiteY4-452" fmla="*/ 122291 h 4356950"/>
              <a:gd name="connsiteX5-453" fmla="*/ 6670 w 8550489"/>
              <a:gd name="connsiteY5-454" fmla="*/ 4246618 h 4356950"/>
              <a:gd name="connsiteX6-455" fmla="*/ 99539 w 8550489"/>
              <a:gd name="connsiteY6-456" fmla="*/ 4348218 h 4356950"/>
              <a:gd name="connsiteX7-457" fmla="*/ 6596382 w 8550489"/>
              <a:gd name="connsiteY7-458" fmla="*/ 4348217 h 4356950"/>
              <a:gd name="connsiteX0-459" fmla="*/ 8539482 w 8550489"/>
              <a:gd name="connsiteY0-460" fmla="*/ 3154417 h 4356950"/>
              <a:gd name="connsiteX1-461" fmla="*/ 8539482 w 8550489"/>
              <a:gd name="connsiteY1-462" fmla="*/ 233417 h 4356950"/>
              <a:gd name="connsiteX2-463" fmla="*/ 8336282 w 8550489"/>
              <a:gd name="connsiteY2-464" fmla="*/ 30217 h 4356950"/>
              <a:gd name="connsiteX3-465" fmla="*/ 103508 w 8550489"/>
              <a:gd name="connsiteY3-466" fmla="*/ 33393 h 4356950"/>
              <a:gd name="connsiteX4-467" fmla="*/ 6669 w 8550489"/>
              <a:gd name="connsiteY4-468" fmla="*/ 122291 h 4356950"/>
              <a:gd name="connsiteX5-469" fmla="*/ 6670 w 8550489"/>
              <a:gd name="connsiteY5-470" fmla="*/ 4246618 h 4356950"/>
              <a:gd name="connsiteX6-471" fmla="*/ 99539 w 8550489"/>
              <a:gd name="connsiteY6-472" fmla="*/ 4348218 h 4356950"/>
              <a:gd name="connsiteX7-473" fmla="*/ 6596382 w 8550489"/>
              <a:gd name="connsiteY7-474" fmla="*/ 4348217 h 4356950"/>
              <a:gd name="connsiteX0-475" fmla="*/ 8539482 w 8550489"/>
              <a:gd name="connsiteY0-476" fmla="*/ 3154417 h 4356950"/>
              <a:gd name="connsiteX1-477" fmla="*/ 8539482 w 8550489"/>
              <a:gd name="connsiteY1-478" fmla="*/ 233417 h 4356950"/>
              <a:gd name="connsiteX2-479" fmla="*/ 8336282 w 8550489"/>
              <a:gd name="connsiteY2-480" fmla="*/ 30217 h 4356950"/>
              <a:gd name="connsiteX3-481" fmla="*/ 103508 w 8550489"/>
              <a:gd name="connsiteY3-482" fmla="*/ 33393 h 4356950"/>
              <a:gd name="connsiteX4-483" fmla="*/ 6669 w 8550489"/>
              <a:gd name="connsiteY4-484" fmla="*/ 122291 h 4356950"/>
              <a:gd name="connsiteX5-485" fmla="*/ 6670 w 8550489"/>
              <a:gd name="connsiteY5-486" fmla="*/ 4246618 h 4356950"/>
              <a:gd name="connsiteX6-487" fmla="*/ 99539 w 8550489"/>
              <a:gd name="connsiteY6-488" fmla="*/ 4348218 h 4356950"/>
              <a:gd name="connsiteX7-489" fmla="*/ 6596382 w 8550489"/>
              <a:gd name="connsiteY7-490" fmla="*/ 4348217 h 4356950"/>
              <a:gd name="connsiteX0-491" fmla="*/ 8539482 w 8550489"/>
              <a:gd name="connsiteY0-492" fmla="*/ 3154417 h 4356950"/>
              <a:gd name="connsiteX1-493" fmla="*/ 8539482 w 8550489"/>
              <a:gd name="connsiteY1-494" fmla="*/ 233417 h 4356950"/>
              <a:gd name="connsiteX2-495" fmla="*/ 8336282 w 8550489"/>
              <a:gd name="connsiteY2-496" fmla="*/ 30217 h 4356950"/>
              <a:gd name="connsiteX3-497" fmla="*/ 103508 w 8550489"/>
              <a:gd name="connsiteY3-498" fmla="*/ 33393 h 4356950"/>
              <a:gd name="connsiteX4-499" fmla="*/ 6669 w 8550489"/>
              <a:gd name="connsiteY4-500" fmla="*/ 122291 h 4356950"/>
              <a:gd name="connsiteX5-501" fmla="*/ 6670 w 8550489"/>
              <a:gd name="connsiteY5-502" fmla="*/ 4246618 h 4356950"/>
              <a:gd name="connsiteX6-503" fmla="*/ 99539 w 8550489"/>
              <a:gd name="connsiteY6-504" fmla="*/ 4348218 h 4356950"/>
              <a:gd name="connsiteX7-505" fmla="*/ 6596382 w 8550489"/>
              <a:gd name="connsiteY7-506" fmla="*/ 4348217 h 4356950"/>
              <a:gd name="connsiteX0-507" fmla="*/ 8539482 w 8550489"/>
              <a:gd name="connsiteY0-508" fmla="*/ 3154417 h 4356950"/>
              <a:gd name="connsiteX1-509" fmla="*/ 8539482 w 8550489"/>
              <a:gd name="connsiteY1-510" fmla="*/ 233417 h 4356950"/>
              <a:gd name="connsiteX2-511" fmla="*/ 8336282 w 8550489"/>
              <a:gd name="connsiteY2-512" fmla="*/ 30217 h 4356950"/>
              <a:gd name="connsiteX3-513" fmla="*/ 103508 w 8550489"/>
              <a:gd name="connsiteY3-514" fmla="*/ 33393 h 4356950"/>
              <a:gd name="connsiteX4-515" fmla="*/ 6669 w 8550489"/>
              <a:gd name="connsiteY4-516" fmla="*/ 122291 h 4356950"/>
              <a:gd name="connsiteX5-517" fmla="*/ 6670 w 8550489"/>
              <a:gd name="connsiteY5-518" fmla="*/ 4246618 h 4356950"/>
              <a:gd name="connsiteX6-519" fmla="*/ 99539 w 8550489"/>
              <a:gd name="connsiteY6-520" fmla="*/ 4348218 h 4356950"/>
              <a:gd name="connsiteX7-521" fmla="*/ 6596382 w 8550489"/>
              <a:gd name="connsiteY7-522" fmla="*/ 4348217 h 4356950"/>
              <a:gd name="connsiteX0-523" fmla="*/ 8539482 w 8550489"/>
              <a:gd name="connsiteY0-524" fmla="*/ 3154417 h 4356950"/>
              <a:gd name="connsiteX1-525" fmla="*/ 8539482 w 8550489"/>
              <a:gd name="connsiteY1-526" fmla="*/ 233417 h 4356950"/>
              <a:gd name="connsiteX2-527" fmla="*/ 8336282 w 8550489"/>
              <a:gd name="connsiteY2-528" fmla="*/ 30217 h 4356950"/>
              <a:gd name="connsiteX3-529" fmla="*/ 103508 w 8550489"/>
              <a:gd name="connsiteY3-530" fmla="*/ 33393 h 4356950"/>
              <a:gd name="connsiteX4-531" fmla="*/ 6669 w 8550489"/>
              <a:gd name="connsiteY4-532" fmla="*/ 122291 h 4356950"/>
              <a:gd name="connsiteX5-533" fmla="*/ 6670 w 8550489"/>
              <a:gd name="connsiteY5-534" fmla="*/ 4246618 h 4356950"/>
              <a:gd name="connsiteX6-535" fmla="*/ 99539 w 8550489"/>
              <a:gd name="connsiteY6-536" fmla="*/ 4348218 h 4356950"/>
              <a:gd name="connsiteX7-537" fmla="*/ 6596382 w 8550489"/>
              <a:gd name="connsiteY7-538" fmla="*/ 4348217 h 4356950"/>
              <a:gd name="connsiteX0-539" fmla="*/ 8539482 w 8550489"/>
              <a:gd name="connsiteY0-540" fmla="*/ 3159230 h 4361763"/>
              <a:gd name="connsiteX1-541" fmla="*/ 8539482 w 8550489"/>
              <a:gd name="connsiteY1-542" fmla="*/ 238230 h 4361763"/>
              <a:gd name="connsiteX2-543" fmla="*/ 8336282 w 8550489"/>
              <a:gd name="connsiteY2-544" fmla="*/ 35030 h 4361763"/>
              <a:gd name="connsiteX3-545" fmla="*/ 103508 w 8550489"/>
              <a:gd name="connsiteY3-546" fmla="*/ 38206 h 4361763"/>
              <a:gd name="connsiteX4-547" fmla="*/ 6669 w 8550489"/>
              <a:gd name="connsiteY4-548" fmla="*/ 127104 h 4361763"/>
              <a:gd name="connsiteX5-549" fmla="*/ 6670 w 8550489"/>
              <a:gd name="connsiteY5-550" fmla="*/ 4251431 h 4361763"/>
              <a:gd name="connsiteX6-551" fmla="*/ 99539 w 8550489"/>
              <a:gd name="connsiteY6-552" fmla="*/ 4353031 h 4361763"/>
              <a:gd name="connsiteX7-553" fmla="*/ 6596382 w 8550489"/>
              <a:gd name="connsiteY7-554" fmla="*/ 4353030 h 4361763"/>
              <a:gd name="connsiteX0-555" fmla="*/ 8539482 w 8550489"/>
              <a:gd name="connsiteY0-556" fmla="*/ 3154417 h 4356950"/>
              <a:gd name="connsiteX1-557" fmla="*/ 8539482 w 8550489"/>
              <a:gd name="connsiteY1-558" fmla="*/ 233417 h 4356950"/>
              <a:gd name="connsiteX2-559" fmla="*/ 8336282 w 8550489"/>
              <a:gd name="connsiteY2-560" fmla="*/ 30217 h 4356950"/>
              <a:gd name="connsiteX3-561" fmla="*/ 103508 w 8550489"/>
              <a:gd name="connsiteY3-562" fmla="*/ 33393 h 4356950"/>
              <a:gd name="connsiteX4-563" fmla="*/ 6669 w 8550489"/>
              <a:gd name="connsiteY4-564" fmla="*/ 122291 h 4356950"/>
              <a:gd name="connsiteX5-565" fmla="*/ 6670 w 8550489"/>
              <a:gd name="connsiteY5-566" fmla="*/ 4246618 h 4356950"/>
              <a:gd name="connsiteX6-567" fmla="*/ 99539 w 8550489"/>
              <a:gd name="connsiteY6-568" fmla="*/ 4348218 h 4356950"/>
              <a:gd name="connsiteX7-569" fmla="*/ 6596382 w 8550489"/>
              <a:gd name="connsiteY7-570" fmla="*/ 4348217 h 4356950"/>
              <a:gd name="connsiteX0-571" fmla="*/ 8539482 w 8550489"/>
              <a:gd name="connsiteY0-572" fmla="*/ 3154417 h 4356950"/>
              <a:gd name="connsiteX1-573" fmla="*/ 8539482 w 8550489"/>
              <a:gd name="connsiteY1-574" fmla="*/ 233417 h 4356950"/>
              <a:gd name="connsiteX2-575" fmla="*/ 8336282 w 8550489"/>
              <a:gd name="connsiteY2-576" fmla="*/ 30217 h 4356950"/>
              <a:gd name="connsiteX3-577" fmla="*/ 103508 w 8550489"/>
              <a:gd name="connsiteY3-578" fmla="*/ 33393 h 4356950"/>
              <a:gd name="connsiteX4-579" fmla="*/ 6669 w 8550489"/>
              <a:gd name="connsiteY4-580" fmla="*/ 122291 h 4356950"/>
              <a:gd name="connsiteX5-581" fmla="*/ 6670 w 8550489"/>
              <a:gd name="connsiteY5-582" fmla="*/ 4246618 h 4356950"/>
              <a:gd name="connsiteX6-583" fmla="*/ 99539 w 8550489"/>
              <a:gd name="connsiteY6-584" fmla="*/ 4348218 h 4356950"/>
              <a:gd name="connsiteX7-585" fmla="*/ 6596382 w 8550489"/>
              <a:gd name="connsiteY7-586" fmla="*/ 4348217 h 4356950"/>
              <a:gd name="connsiteX0-587" fmla="*/ 8539482 w 8550489"/>
              <a:gd name="connsiteY0-588" fmla="*/ 3154417 h 4356950"/>
              <a:gd name="connsiteX1-589" fmla="*/ 8539482 w 8550489"/>
              <a:gd name="connsiteY1-590" fmla="*/ 233417 h 4356950"/>
              <a:gd name="connsiteX2-591" fmla="*/ 8336282 w 8550489"/>
              <a:gd name="connsiteY2-592" fmla="*/ 30217 h 4356950"/>
              <a:gd name="connsiteX3-593" fmla="*/ 103508 w 8550489"/>
              <a:gd name="connsiteY3-594" fmla="*/ 33393 h 4356950"/>
              <a:gd name="connsiteX4-595" fmla="*/ 6669 w 8550489"/>
              <a:gd name="connsiteY4-596" fmla="*/ 122291 h 4356950"/>
              <a:gd name="connsiteX5-597" fmla="*/ 6670 w 8550489"/>
              <a:gd name="connsiteY5-598" fmla="*/ 4246618 h 4356950"/>
              <a:gd name="connsiteX6-599" fmla="*/ 99539 w 8550489"/>
              <a:gd name="connsiteY6-600" fmla="*/ 4348218 h 4356950"/>
              <a:gd name="connsiteX7-601" fmla="*/ 6596382 w 8550489"/>
              <a:gd name="connsiteY7-602" fmla="*/ 4348217 h 4356950"/>
              <a:gd name="connsiteX0-603" fmla="*/ 8539481 w 8550488"/>
              <a:gd name="connsiteY0-604" fmla="*/ 3142511 h 4345044"/>
              <a:gd name="connsiteX1-605" fmla="*/ 8539481 w 8550488"/>
              <a:gd name="connsiteY1-606" fmla="*/ 221511 h 4345044"/>
              <a:gd name="connsiteX2-607" fmla="*/ 8336281 w 8550488"/>
              <a:gd name="connsiteY2-608" fmla="*/ 18311 h 4345044"/>
              <a:gd name="connsiteX3-609" fmla="*/ 103507 w 8550488"/>
              <a:gd name="connsiteY3-610" fmla="*/ 21487 h 4345044"/>
              <a:gd name="connsiteX4-611" fmla="*/ 6669 w 8550488"/>
              <a:gd name="connsiteY4-612" fmla="*/ 122291 h 4345044"/>
              <a:gd name="connsiteX5-613" fmla="*/ 6669 w 8550488"/>
              <a:gd name="connsiteY5-614" fmla="*/ 4234712 h 4345044"/>
              <a:gd name="connsiteX6-615" fmla="*/ 99538 w 8550488"/>
              <a:gd name="connsiteY6-616" fmla="*/ 4336312 h 4345044"/>
              <a:gd name="connsiteX7-617" fmla="*/ 6596381 w 8550488"/>
              <a:gd name="connsiteY7-618" fmla="*/ 4336311 h 4345044"/>
              <a:gd name="connsiteX0-619" fmla="*/ 8539481 w 8550487"/>
              <a:gd name="connsiteY0-620" fmla="*/ 3246543 h 4449076"/>
              <a:gd name="connsiteX1-621" fmla="*/ 8539480 w 8550487"/>
              <a:gd name="connsiteY1-622" fmla="*/ 220768 h 4449076"/>
              <a:gd name="connsiteX2-623" fmla="*/ 8336281 w 8550487"/>
              <a:gd name="connsiteY2-624" fmla="*/ 122343 h 4449076"/>
              <a:gd name="connsiteX3-625" fmla="*/ 103507 w 8550487"/>
              <a:gd name="connsiteY3-626" fmla="*/ 125519 h 4449076"/>
              <a:gd name="connsiteX4-627" fmla="*/ 6669 w 8550487"/>
              <a:gd name="connsiteY4-628" fmla="*/ 226323 h 4449076"/>
              <a:gd name="connsiteX5-629" fmla="*/ 6669 w 8550487"/>
              <a:gd name="connsiteY5-630" fmla="*/ 4338744 h 4449076"/>
              <a:gd name="connsiteX6-631" fmla="*/ 99538 w 8550487"/>
              <a:gd name="connsiteY6-632" fmla="*/ 4440344 h 4449076"/>
              <a:gd name="connsiteX7-633" fmla="*/ 6596381 w 8550487"/>
              <a:gd name="connsiteY7-634" fmla="*/ 4440343 h 4449076"/>
              <a:gd name="connsiteX0-635" fmla="*/ 8539481 w 8597847"/>
              <a:gd name="connsiteY0-636" fmla="*/ 3246543 h 4449076"/>
              <a:gd name="connsiteX1-637" fmla="*/ 8539480 w 8597847"/>
              <a:gd name="connsiteY1-638" fmla="*/ 220768 h 4449076"/>
              <a:gd name="connsiteX2-639" fmla="*/ 8438674 w 8597847"/>
              <a:gd name="connsiteY2-640" fmla="*/ 125519 h 4449076"/>
              <a:gd name="connsiteX3-641" fmla="*/ 103507 w 8597847"/>
              <a:gd name="connsiteY3-642" fmla="*/ 125519 h 4449076"/>
              <a:gd name="connsiteX4-643" fmla="*/ 6669 w 8597847"/>
              <a:gd name="connsiteY4-644" fmla="*/ 226323 h 4449076"/>
              <a:gd name="connsiteX5-645" fmla="*/ 6669 w 8597847"/>
              <a:gd name="connsiteY5-646" fmla="*/ 4338744 h 4449076"/>
              <a:gd name="connsiteX6-647" fmla="*/ 99538 w 8597847"/>
              <a:gd name="connsiteY6-648" fmla="*/ 4440344 h 4449076"/>
              <a:gd name="connsiteX7-649" fmla="*/ 6596381 w 8597847"/>
              <a:gd name="connsiteY7-650" fmla="*/ 4440343 h 4449076"/>
              <a:gd name="connsiteX0-651" fmla="*/ 8539481 w 8550487"/>
              <a:gd name="connsiteY0-652" fmla="*/ 3246543 h 4449076"/>
              <a:gd name="connsiteX1-653" fmla="*/ 8539480 w 8550487"/>
              <a:gd name="connsiteY1-654" fmla="*/ 220768 h 4449076"/>
              <a:gd name="connsiteX2-655" fmla="*/ 8438674 w 8550487"/>
              <a:gd name="connsiteY2-656" fmla="*/ 125519 h 4449076"/>
              <a:gd name="connsiteX3-657" fmla="*/ 103507 w 8550487"/>
              <a:gd name="connsiteY3-658" fmla="*/ 125519 h 4449076"/>
              <a:gd name="connsiteX4-659" fmla="*/ 6669 w 8550487"/>
              <a:gd name="connsiteY4-660" fmla="*/ 226323 h 4449076"/>
              <a:gd name="connsiteX5-661" fmla="*/ 6669 w 8550487"/>
              <a:gd name="connsiteY5-662" fmla="*/ 4338744 h 4449076"/>
              <a:gd name="connsiteX6-663" fmla="*/ 99538 w 8550487"/>
              <a:gd name="connsiteY6-664" fmla="*/ 4440344 h 4449076"/>
              <a:gd name="connsiteX7-665" fmla="*/ 6596381 w 8550487"/>
              <a:gd name="connsiteY7-666" fmla="*/ 4440343 h 4449076"/>
              <a:gd name="connsiteX0-667" fmla="*/ 8539481 w 8556837"/>
              <a:gd name="connsiteY0-668" fmla="*/ 3151293 h 4353826"/>
              <a:gd name="connsiteX1-669" fmla="*/ 8539480 w 8556837"/>
              <a:gd name="connsiteY1-670" fmla="*/ 125518 h 4353826"/>
              <a:gd name="connsiteX2-671" fmla="*/ 8438674 w 8556837"/>
              <a:gd name="connsiteY2-672" fmla="*/ 30269 h 4353826"/>
              <a:gd name="connsiteX3-673" fmla="*/ 103507 w 8556837"/>
              <a:gd name="connsiteY3-674" fmla="*/ 30269 h 4353826"/>
              <a:gd name="connsiteX4-675" fmla="*/ 6669 w 8556837"/>
              <a:gd name="connsiteY4-676" fmla="*/ 131073 h 4353826"/>
              <a:gd name="connsiteX5-677" fmla="*/ 6669 w 8556837"/>
              <a:gd name="connsiteY5-678" fmla="*/ 4243494 h 4353826"/>
              <a:gd name="connsiteX6-679" fmla="*/ 99538 w 8556837"/>
              <a:gd name="connsiteY6-680" fmla="*/ 4345094 h 4353826"/>
              <a:gd name="connsiteX7-681" fmla="*/ 6596381 w 8556837"/>
              <a:gd name="connsiteY7-682" fmla="*/ 4345093 h 4353826"/>
              <a:gd name="connsiteX0-683" fmla="*/ 8539481 w 8539481"/>
              <a:gd name="connsiteY0-684" fmla="*/ 3142511 h 4345044"/>
              <a:gd name="connsiteX1-685" fmla="*/ 8539480 w 8539481"/>
              <a:gd name="connsiteY1-686" fmla="*/ 116736 h 4345044"/>
              <a:gd name="connsiteX2-687" fmla="*/ 8438674 w 8539481"/>
              <a:gd name="connsiteY2-688" fmla="*/ 21487 h 4345044"/>
              <a:gd name="connsiteX3-689" fmla="*/ 103507 w 8539481"/>
              <a:gd name="connsiteY3-690" fmla="*/ 21487 h 4345044"/>
              <a:gd name="connsiteX4-691" fmla="*/ 6669 w 8539481"/>
              <a:gd name="connsiteY4-692" fmla="*/ 122291 h 4345044"/>
              <a:gd name="connsiteX5-693" fmla="*/ 6669 w 8539481"/>
              <a:gd name="connsiteY5-694" fmla="*/ 4234712 h 4345044"/>
              <a:gd name="connsiteX6-695" fmla="*/ 99538 w 8539481"/>
              <a:gd name="connsiteY6-696" fmla="*/ 4336312 h 4345044"/>
              <a:gd name="connsiteX7-697" fmla="*/ 6596381 w 8539481"/>
              <a:gd name="connsiteY7-698" fmla="*/ 4336311 h 4345044"/>
              <a:gd name="connsiteX0-699" fmla="*/ 8539481 w 8539481"/>
              <a:gd name="connsiteY0-700" fmla="*/ 3148119 h 4350652"/>
              <a:gd name="connsiteX1-701" fmla="*/ 8539480 w 8539481"/>
              <a:gd name="connsiteY1-702" fmla="*/ 122344 h 4350652"/>
              <a:gd name="connsiteX2-703" fmla="*/ 8438674 w 8539481"/>
              <a:gd name="connsiteY2-704" fmla="*/ 27095 h 4350652"/>
              <a:gd name="connsiteX3-705" fmla="*/ 103507 w 8539481"/>
              <a:gd name="connsiteY3-706" fmla="*/ 27095 h 4350652"/>
              <a:gd name="connsiteX4-707" fmla="*/ 6669 w 8539481"/>
              <a:gd name="connsiteY4-708" fmla="*/ 127899 h 4350652"/>
              <a:gd name="connsiteX5-709" fmla="*/ 6669 w 8539481"/>
              <a:gd name="connsiteY5-710" fmla="*/ 4240320 h 4350652"/>
              <a:gd name="connsiteX6-711" fmla="*/ 99538 w 8539481"/>
              <a:gd name="connsiteY6-712" fmla="*/ 4341920 h 4350652"/>
              <a:gd name="connsiteX7-713" fmla="*/ 6596381 w 8539481"/>
              <a:gd name="connsiteY7-714" fmla="*/ 4341919 h 4350652"/>
              <a:gd name="connsiteX0-715" fmla="*/ 8539481 w 8539481"/>
              <a:gd name="connsiteY0-716" fmla="*/ 3148119 h 4350652"/>
              <a:gd name="connsiteX1-717" fmla="*/ 8539480 w 8539481"/>
              <a:gd name="connsiteY1-718" fmla="*/ 122344 h 4350652"/>
              <a:gd name="connsiteX2-719" fmla="*/ 8438674 w 8539481"/>
              <a:gd name="connsiteY2-720" fmla="*/ 27095 h 4350652"/>
              <a:gd name="connsiteX3-721" fmla="*/ 103507 w 8539481"/>
              <a:gd name="connsiteY3-722" fmla="*/ 27095 h 4350652"/>
              <a:gd name="connsiteX4-723" fmla="*/ 6669 w 8539481"/>
              <a:gd name="connsiteY4-724" fmla="*/ 127899 h 4350652"/>
              <a:gd name="connsiteX5-725" fmla="*/ 6669 w 8539481"/>
              <a:gd name="connsiteY5-726" fmla="*/ 4240320 h 4350652"/>
              <a:gd name="connsiteX6-727" fmla="*/ 99538 w 8539481"/>
              <a:gd name="connsiteY6-728" fmla="*/ 4341920 h 4350652"/>
              <a:gd name="connsiteX7-729" fmla="*/ 6596381 w 8539481"/>
              <a:gd name="connsiteY7-730" fmla="*/ 4341919 h 4350652"/>
              <a:gd name="connsiteX0-731" fmla="*/ 8539481 w 8539481"/>
              <a:gd name="connsiteY0-732" fmla="*/ 3148119 h 4350652"/>
              <a:gd name="connsiteX1-733" fmla="*/ 8539480 w 8539481"/>
              <a:gd name="connsiteY1-734" fmla="*/ 122344 h 4350652"/>
              <a:gd name="connsiteX2-735" fmla="*/ 8438674 w 8539481"/>
              <a:gd name="connsiteY2-736" fmla="*/ 27095 h 4350652"/>
              <a:gd name="connsiteX3-737" fmla="*/ 103507 w 8539481"/>
              <a:gd name="connsiteY3-738" fmla="*/ 27095 h 4350652"/>
              <a:gd name="connsiteX4-739" fmla="*/ 6669 w 8539481"/>
              <a:gd name="connsiteY4-740" fmla="*/ 127899 h 4350652"/>
              <a:gd name="connsiteX5-741" fmla="*/ 6669 w 8539481"/>
              <a:gd name="connsiteY5-742" fmla="*/ 4240320 h 4350652"/>
              <a:gd name="connsiteX6-743" fmla="*/ 99538 w 8539481"/>
              <a:gd name="connsiteY6-744" fmla="*/ 4341920 h 4350652"/>
              <a:gd name="connsiteX7-745" fmla="*/ 6596381 w 8539481"/>
              <a:gd name="connsiteY7-746" fmla="*/ 4341919 h 4350652"/>
              <a:gd name="connsiteX0-747" fmla="*/ 8539481 w 8539481"/>
              <a:gd name="connsiteY0-748" fmla="*/ 3142511 h 4345044"/>
              <a:gd name="connsiteX1-749" fmla="*/ 8539481 w 8539481"/>
              <a:gd name="connsiteY1-750" fmla="*/ 131023 h 4345044"/>
              <a:gd name="connsiteX2-751" fmla="*/ 8438674 w 8539481"/>
              <a:gd name="connsiteY2-752" fmla="*/ 21487 h 4345044"/>
              <a:gd name="connsiteX3-753" fmla="*/ 103507 w 8539481"/>
              <a:gd name="connsiteY3-754" fmla="*/ 21487 h 4345044"/>
              <a:gd name="connsiteX4-755" fmla="*/ 6669 w 8539481"/>
              <a:gd name="connsiteY4-756" fmla="*/ 122291 h 4345044"/>
              <a:gd name="connsiteX5-757" fmla="*/ 6669 w 8539481"/>
              <a:gd name="connsiteY5-758" fmla="*/ 4234712 h 4345044"/>
              <a:gd name="connsiteX6-759" fmla="*/ 99538 w 8539481"/>
              <a:gd name="connsiteY6-760" fmla="*/ 4336312 h 4345044"/>
              <a:gd name="connsiteX7-761" fmla="*/ 6596381 w 8539481"/>
              <a:gd name="connsiteY7-762" fmla="*/ 4336311 h 4345044"/>
              <a:gd name="connsiteX0-763" fmla="*/ 8539481 w 8539481"/>
              <a:gd name="connsiteY0-764" fmla="*/ 3142511 h 4345044"/>
              <a:gd name="connsiteX1-765" fmla="*/ 8539481 w 8539481"/>
              <a:gd name="connsiteY1-766" fmla="*/ 131023 h 4345044"/>
              <a:gd name="connsiteX2-767" fmla="*/ 8438674 w 8539481"/>
              <a:gd name="connsiteY2-768" fmla="*/ 21487 h 4345044"/>
              <a:gd name="connsiteX3-769" fmla="*/ 103507 w 8539481"/>
              <a:gd name="connsiteY3-770" fmla="*/ 21487 h 4345044"/>
              <a:gd name="connsiteX4-771" fmla="*/ 6669 w 8539481"/>
              <a:gd name="connsiteY4-772" fmla="*/ 122291 h 4345044"/>
              <a:gd name="connsiteX5-773" fmla="*/ 6669 w 8539481"/>
              <a:gd name="connsiteY5-774" fmla="*/ 4234712 h 4345044"/>
              <a:gd name="connsiteX6-775" fmla="*/ 99538 w 8539481"/>
              <a:gd name="connsiteY6-776" fmla="*/ 4336312 h 4345044"/>
              <a:gd name="connsiteX7-777" fmla="*/ 6596381 w 8539481"/>
              <a:gd name="connsiteY7-778" fmla="*/ 4336311 h 4345044"/>
              <a:gd name="connsiteX0-779" fmla="*/ 8539481 w 8549428"/>
              <a:gd name="connsiteY0-780" fmla="*/ 3142511 h 4345044"/>
              <a:gd name="connsiteX1-781" fmla="*/ 8539481 w 8549428"/>
              <a:gd name="connsiteY1-782" fmla="*/ 131023 h 4345044"/>
              <a:gd name="connsiteX2-783" fmla="*/ 8438674 w 8549428"/>
              <a:gd name="connsiteY2-784" fmla="*/ 21487 h 4345044"/>
              <a:gd name="connsiteX3-785" fmla="*/ 103507 w 8549428"/>
              <a:gd name="connsiteY3-786" fmla="*/ 21487 h 4345044"/>
              <a:gd name="connsiteX4-787" fmla="*/ 6669 w 8549428"/>
              <a:gd name="connsiteY4-788" fmla="*/ 122291 h 4345044"/>
              <a:gd name="connsiteX5-789" fmla="*/ 6669 w 8549428"/>
              <a:gd name="connsiteY5-790" fmla="*/ 4234712 h 4345044"/>
              <a:gd name="connsiteX6-791" fmla="*/ 99538 w 8549428"/>
              <a:gd name="connsiteY6-792" fmla="*/ 4336312 h 4345044"/>
              <a:gd name="connsiteX7-793" fmla="*/ 6596381 w 8549428"/>
              <a:gd name="connsiteY7-794" fmla="*/ 4336311 h 4345044"/>
              <a:gd name="connsiteX0-795" fmla="*/ 8539481 w 8549428"/>
              <a:gd name="connsiteY0-796" fmla="*/ 3142511 h 4345044"/>
              <a:gd name="connsiteX1-797" fmla="*/ 8539480 w 8549428"/>
              <a:gd name="connsiteY1-798" fmla="*/ 131023 h 4345044"/>
              <a:gd name="connsiteX2-799" fmla="*/ 8438674 w 8549428"/>
              <a:gd name="connsiteY2-800" fmla="*/ 21487 h 4345044"/>
              <a:gd name="connsiteX3-801" fmla="*/ 103507 w 8549428"/>
              <a:gd name="connsiteY3-802" fmla="*/ 21487 h 4345044"/>
              <a:gd name="connsiteX4-803" fmla="*/ 6669 w 8549428"/>
              <a:gd name="connsiteY4-804" fmla="*/ 122291 h 4345044"/>
              <a:gd name="connsiteX5-805" fmla="*/ 6669 w 8549428"/>
              <a:gd name="connsiteY5-806" fmla="*/ 4234712 h 4345044"/>
              <a:gd name="connsiteX6-807" fmla="*/ 99538 w 8549428"/>
              <a:gd name="connsiteY6-808" fmla="*/ 4336312 h 4345044"/>
              <a:gd name="connsiteX7-809" fmla="*/ 6596381 w 8549428"/>
              <a:gd name="connsiteY7-810" fmla="*/ 4336311 h 4345044"/>
              <a:gd name="connsiteX0-811" fmla="*/ 8539481 w 8539481"/>
              <a:gd name="connsiteY0-812" fmla="*/ 3142511 h 4345044"/>
              <a:gd name="connsiteX1-813" fmla="*/ 8539480 w 8539481"/>
              <a:gd name="connsiteY1-814" fmla="*/ 131023 h 4345044"/>
              <a:gd name="connsiteX2-815" fmla="*/ 8422005 w 8539481"/>
              <a:gd name="connsiteY2-816" fmla="*/ 21487 h 4345044"/>
              <a:gd name="connsiteX3-817" fmla="*/ 103507 w 8539481"/>
              <a:gd name="connsiteY3-818" fmla="*/ 21487 h 4345044"/>
              <a:gd name="connsiteX4-819" fmla="*/ 6669 w 8539481"/>
              <a:gd name="connsiteY4-820" fmla="*/ 122291 h 4345044"/>
              <a:gd name="connsiteX5-821" fmla="*/ 6669 w 8539481"/>
              <a:gd name="connsiteY5-822" fmla="*/ 4234712 h 4345044"/>
              <a:gd name="connsiteX6-823" fmla="*/ 99538 w 8539481"/>
              <a:gd name="connsiteY6-824" fmla="*/ 4336312 h 4345044"/>
              <a:gd name="connsiteX7-825" fmla="*/ 6596381 w 8539481"/>
              <a:gd name="connsiteY7-826" fmla="*/ 4336311 h 4345044"/>
              <a:gd name="connsiteX0-827" fmla="*/ 8539481 w 8539481"/>
              <a:gd name="connsiteY0-828" fmla="*/ 3142511 h 4345044"/>
              <a:gd name="connsiteX1-829" fmla="*/ 8539480 w 8539481"/>
              <a:gd name="connsiteY1-830" fmla="*/ 131023 h 4345044"/>
              <a:gd name="connsiteX2-831" fmla="*/ 8410099 w 8539481"/>
              <a:gd name="connsiteY2-832" fmla="*/ 21487 h 4345044"/>
              <a:gd name="connsiteX3-833" fmla="*/ 103507 w 8539481"/>
              <a:gd name="connsiteY3-834" fmla="*/ 21487 h 4345044"/>
              <a:gd name="connsiteX4-835" fmla="*/ 6669 w 8539481"/>
              <a:gd name="connsiteY4-836" fmla="*/ 122291 h 4345044"/>
              <a:gd name="connsiteX5-837" fmla="*/ 6669 w 8539481"/>
              <a:gd name="connsiteY5-838" fmla="*/ 4234712 h 4345044"/>
              <a:gd name="connsiteX6-839" fmla="*/ 99538 w 8539481"/>
              <a:gd name="connsiteY6-840" fmla="*/ 4336312 h 4345044"/>
              <a:gd name="connsiteX7-841" fmla="*/ 6596381 w 8539481"/>
              <a:gd name="connsiteY7-842" fmla="*/ 4336311 h 4345044"/>
              <a:gd name="connsiteX0-843" fmla="*/ 8539481 w 8539481"/>
              <a:gd name="connsiteY0-844" fmla="*/ 3162407 h 4364940"/>
              <a:gd name="connsiteX1-845" fmla="*/ 8539481 w 8539481"/>
              <a:gd name="connsiteY1-846" fmla="*/ 122344 h 4364940"/>
              <a:gd name="connsiteX2-847" fmla="*/ 8410099 w 8539481"/>
              <a:gd name="connsiteY2-848" fmla="*/ 41383 h 4364940"/>
              <a:gd name="connsiteX3-849" fmla="*/ 103507 w 8539481"/>
              <a:gd name="connsiteY3-850" fmla="*/ 41383 h 4364940"/>
              <a:gd name="connsiteX4-851" fmla="*/ 6669 w 8539481"/>
              <a:gd name="connsiteY4-852" fmla="*/ 142187 h 4364940"/>
              <a:gd name="connsiteX5-853" fmla="*/ 6669 w 8539481"/>
              <a:gd name="connsiteY5-854" fmla="*/ 4254608 h 4364940"/>
              <a:gd name="connsiteX6-855" fmla="*/ 99538 w 8539481"/>
              <a:gd name="connsiteY6-856" fmla="*/ 4356208 h 4364940"/>
              <a:gd name="connsiteX7-857" fmla="*/ 6596381 w 8539481"/>
              <a:gd name="connsiteY7-858" fmla="*/ 4356207 h 4364940"/>
              <a:gd name="connsiteX0-859" fmla="*/ 8539481 w 8546253"/>
              <a:gd name="connsiteY0-860" fmla="*/ 3162407 h 4364940"/>
              <a:gd name="connsiteX1-861" fmla="*/ 8539481 w 8546253"/>
              <a:gd name="connsiteY1-862" fmla="*/ 122344 h 4364940"/>
              <a:gd name="connsiteX2-863" fmla="*/ 8410099 w 8546253"/>
              <a:gd name="connsiteY2-864" fmla="*/ 41383 h 4364940"/>
              <a:gd name="connsiteX3-865" fmla="*/ 103507 w 8546253"/>
              <a:gd name="connsiteY3-866" fmla="*/ 41383 h 4364940"/>
              <a:gd name="connsiteX4-867" fmla="*/ 6669 w 8546253"/>
              <a:gd name="connsiteY4-868" fmla="*/ 142187 h 4364940"/>
              <a:gd name="connsiteX5-869" fmla="*/ 6669 w 8546253"/>
              <a:gd name="connsiteY5-870" fmla="*/ 4254608 h 4364940"/>
              <a:gd name="connsiteX6-871" fmla="*/ 99538 w 8546253"/>
              <a:gd name="connsiteY6-872" fmla="*/ 4356208 h 4364940"/>
              <a:gd name="connsiteX7-873" fmla="*/ 6596381 w 8546253"/>
              <a:gd name="connsiteY7-874" fmla="*/ 4356207 h 4364940"/>
              <a:gd name="connsiteX0-875" fmla="*/ 8539481 w 8559747"/>
              <a:gd name="connsiteY0-876" fmla="*/ 3162407 h 4364940"/>
              <a:gd name="connsiteX1-877" fmla="*/ 8539481 w 8559747"/>
              <a:gd name="connsiteY1-878" fmla="*/ 122344 h 4364940"/>
              <a:gd name="connsiteX2-879" fmla="*/ 8410099 w 8559747"/>
              <a:gd name="connsiteY2-880" fmla="*/ 41383 h 4364940"/>
              <a:gd name="connsiteX3-881" fmla="*/ 103507 w 8559747"/>
              <a:gd name="connsiteY3-882" fmla="*/ 41383 h 4364940"/>
              <a:gd name="connsiteX4-883" fmla="*/ 6669 w 8559747"/>
              <a:gd name="connsiteY4-884" fmla="*/ 142187 h 4364940"/>
              <a:gd name="connsiteX5-885" fmla="*/ 6669 w 8559747"/>
              <a:gd name="connsiteY5-886" fmla="*/ 4254608 h 4364940"/>
              <a:gd name="connsiteX6-887" fmla="*/ 99538 w 8559747"/>
              <a:gd name="connsiteY6-888" fmla="*/ 4356208 h 4364940"/>
              <a:gd name="connsiteX7-889" fmla="*/ 6596381 w 8559747"/>
              <a:gd name="connsiteY7-890" fmla="*/ 4356207 h 4364940"/>
              <a:gd name="connsiteX0-891" fmla="*/ 8539481 w 8582766"/>
              <a:gd name="connsiteY0-892" fmla="*/ 3162407 h 4364940"/>
              <a:gd name="connsiteX1-893" fmla="*/ 8539481 w 8582766"/>
              <a:gd name="connsiteY1-894" fmla="*/ 122344 h 4364940"/>
              <a:gd name="connsiteX2-895" fmla="*/ 8410099 w 8582766"/>
              <a:gd name="connsiteY2-896" fmla="*/ 41383 h 4364940"/>
              <a:gd name="connsiteX3-897" fmla="*/ 103507 w 8582766"/>
              <a:gd name="connsiteY3-898" fmla="*/ 41383 h 4364940"/>
              <a:gd name="connsiteX4-899" fmla="*/ 6669 w 8582766"/>
              <a:gd name="connsiteY4-900" fmla="*/ 142187 h 4364940"/>
              <a:gd name="connsiteX5-901" fmla="*/ 6669 w 8582766"/>
              <a:gd name="connsiteY5-902" fmla="*/ 4254608 h 4364940"/>
              <a:gd name="connsiteX6-903" fmla="*/ 99538 w 8582766"/>
              <a:gd name="connsiteY6-904" fmla="*/ 4356208 h 4364940"/>
              <a:gd name="connsiteX7-905" fmla="*/ 6596381 w 8582766"/>
              <a:gd name="connsiteY7-906" fmla="*/ 4356207 h 4364940"/>
              <a:gd name="connsiteX0-907" fmla="*/ 8539481 w 8628010"/>
              <a:gd name="connsiteY0-908" fmla="*/ 3162407 h 4364940"/>
              <a:gd name="connsiteX1-909" fmla="*/ 8539481 w 8628010"/>
              <a:gd name="connsiteY1-910" fmla="*/ 122344 h 4364940"/>
              <a:gd name="connsiteX2-911" fmla="*/ 8455343 w 8628010"/>
              <a:gd name="connsiteY2-912" fmla="*/ 41383 h 4364940"/>
              <a:gd name="connsiteX3-913" fmla="*/ 103507 w 8628010"/>
              <a:gd name="connsiteY3-914" fmla="*/ 41383 h 4364940"/>
              <a:gd name="connsiteX4-915" fmla="*/ 6669 w 8628010"/>
              <a:gd name="connsiteY4-916" fmla="*/ 142187 h 4364940"/>
              <a:gd name="connsiteX5-917" fmla="*/ 6669 w 8628010"/>
              <a:gd name="connsiteY5-918" fmla="*/ 4254608 h 4364940"/>
              <a:gd name="connsiteX6-919" fmla="*/ 99538 w 8628010"/>
              <a:gd name="connsiteY6-920" fmla="*/ 4356208 h 4364940"/>
              <a:gd name="connsiteX7-921" fmla="*/ 6596381 w 8628010"/>
              <a:gd name="connsiteY7-922" fmla="*/ 4356207 h 4364940"/>
              <a:gd name="connsiteX0-923" fmla="*/ 8539481 w 8539481"/>
              <a:gd name="connsiteY0-924" fmla="*/ 3162407 h 4364940"/>
              <a:gd name="connsiteX1-925" fmla="*/ 8539481 w 8539481"/>
              <a:gd name="connsiteY1-926" fmla="*/ 122344 h 4364940"/>
              <a:gd name="connsiteX2-927" fmla="*/ 8455343 w 8539481"/>
              <a:gd name="connsiteY2-928" fmla="*/ 41383 h 4364940"/>
              <a:gd name="connsiteX3-929" fmla="*/ 103507 w 8539481"/>
              <a:gd name="connsiteY3-930" fmla="*/ 41383 h 4364940"/>
              <a:gd name="connsiteX4-931" fmla="*/ 6669 w 8539481"/>
              <a:gd name="connsiteY4-932" fmla="*/ 142187 h 4364940"/>
              <a:gd name="connsiteX5-933" fmla="*/ 6669 w 8539481"/>
              <a:gd name="connsiteY5-934" fmla="*/ 4254608 h 4364940"/>
              <a:gd name="connsiteX6-935" fmla="*/ 99538 w 8539481"/>
              <a:gd name="connsiteY6-936" fmla="*/ 4356208 h 4364940"/>
              <a:gd name="connsiteX7-937" fmla="*/ 6596381 w 8539481"/>
              <a:gd name="connsiteY7-938" fmla="*/ 4356207 h 4364940"/>
              <a:gd name="connsiteX0-939" fmla="*/ 8539481 w 8539481"/>
              <a:gd name="connsiteY0-940" fmla="*/ 3162407 h 4364940"/>
              <a:gd name="connsiteX1-941" fmla="*/ 8539481 w 8539481"/>
              <a:gd name="connsiteY1-942" fmla="*/ 122344 h 4364940"/>
              <a:gd name="connsiteX2-943" fmla="*/ 8455343 w 8539481"/>
              <a:gd name="connsiteY2-944" fmla="*/ 41383 h 4364940"/>
              <a:gd name="connsiteX3-945" fmla="*/ 103507 w 8539481"/>
              <a:gd name="connsiteY3-946" fmla="*/ 41383 h 4364940"/>
              <a:gd name="connsiteX4-947" fmla="*/ 6669 w 8539481"/>
              <a:gd name="connsiteY4-948" fmla="*/ 142187 h 4364940"/>
              <a:gd name="connsiteX5-949" fmla="*/ 6669 w 8539481"/>
              <a:gd name="connsiteY5-950" fmla="*/ 4254608 h 4364940"/>
              <a:gd name="connsiteX6-951" fmla="*/ 99538 w 8539481"/>
              <a:gd name="connsiteY6-952" fmla="*/ 4356208 h 4364940"/>
              <a:gd name="connsiteX7-953" fmla="*/ 6596381 w 8539481"/>
              <a:gd name="connsiteY7-954" fmla="*/ 4356207 h 4364940"/>
              <a:gd name="connsiteX0-955" fmla="*/ 8539481 w 8539481"/>
              <a:gd name="connsiteY0-956" fmla="*/ 3142511 h 4345044"/>
              <a:gd name="connsiteX1-957" fmla="*/ 8539481 w 8539481"/>
              <a:gd name="connsiteY1-958" fmla="*/ 102448 h 4345044"/>
              <a:gd name="connsiteX2-959" fmla="*/ 8455343 w 8539481"/>
              <a:gd name="connsiteY2-960" fmla="*/ 21487 h 4345044"/>
              <a:gd name="connsiteX3-961" fmla="*/ 103507 w 8539481"/>
              <a:gd name="connsiteY3-962" fmla="*/ 21487 h 4345044"/>
              <a:gd name="connsiteX4-963" fmla="*/ 6669 w 8539481"/>
              <a:gd name="connsiteY4-964" fmla="*/ 122291 h 4345044"/>
              <a:gd name="connsiteX5-965" fmla="*/ 6669 w 8539481"/>
              <a:gd name="connsiteY5-966" fmla="*/ 4234712 h 4345044"/>
              <a:gd name="connsiteX6-967" fmla="*/ 99538 w 8539481"/>
              <a:gd name="connsiteY6-968" fmla="*/ 4336312 h 4345044"/>
              <a:gd name="connsiteX7-969" fmla="*/ 6596381 w 8539481"/>
              <a:gd name="connsiteY7-970" fmla="*/ 4336311 h 4345044"/>
              <a:gd name="connsiteX0-971" fmla="*/ 8542656 w 8542656"/>
              <a:gd name="connsiteY0-972" fmla="*/ 558061 h 4345044"/>
              <a:gd name="connsiteX1-973" fmla="*/ 8539481 w 8542656"/>
              <a:gd name="connsiteY1-974" fmla="*/ 102448 h 4345044"/>
              <a:gd name="connsiteX2-975" fmla="*/ 8455343 w 8542656"/>
              <a:gd name="connsiteY2-976" fmla="*/ 21487 h 4345044"/>
              <a:gd name="connsiteX3-977" fmla="*/ 103507 w 8542656"/>
              <a:gd name="connsiteY3-978" fmla="*/ 21487 h 4345044"/>
              <a:gd name="connsiteX4-979" fmla="*/ 6669 w 8542656"/>
              <a:gd name="connsiteY4-980" fmla="*/ 122291 h 4345044"/>
              <a:gd name="connsiteX5-981" fmla="*/ 6669 w 8542656"/>
              <a:gd name="connsiteY5-982" fmla="*/ 4234712 h 4345044"/>
              <a:gd name="connsiteX6-983" fmla="*/ 99538 w 8542656"/>
              <a:gd name="connsiteY6-984" fmla="*/ 4336312 h 4345044"/>
              <a:gd name="connsiteX7-985" fmla="*/ 6596381 w 8542656"/>
              <a:gd name="connsiteY7-986" fmla="*/ 4336311 h 4345044"/>
              <a:gd name="connsiteX0-987" fmla="*/ 8542655 w 8542655"/>
              <a:gd name="connsiteY0-988" fmla="*/ 881912 h 4345044"/>
              <a:gd name="connsiteX1-989" fmla="*/ 8539481 w 8542655"/>
              <a:gd name="connsiteY1-990" fmla="*/ 102448 h 4345044"/>
              <a:gd name="connsiteX2-991" fmla="*/ 8455343 w 8542655"/>
              <a:gd name="connsiteY2-992" fmla="*/ 21487 h 4345044"/>
              <a:gd name="connsiteX3-993" fmla="*/ 103507 w 8542655"/>
              <a:gd name="connsiteY3-994" fmla="*/ 21487 h 4345044"/>
              <a:gd name="connsiteX4-995" fmla="*/ 6669 w 8542655"/>
              <a:gd name="connsiteY4-996" fmla="*/ 122291 h 4345044"/>
              <a:gd name="connsiteX5-997" fmla="*/ 6669 w 8542655"/>
              <a:gd name="connsiteY5-998" fmla="*/ 4234712 h 4345044"/>
              <a:gd name="connsiteX6-999" fmla="*/ 99538 w 8542655"/>
              <a:gd name="connsiteY6-1000" fmla="*/ 4336312 h 4345044"/>
              <a:gd name="connsiteX7-1001" fmla="*/ 6596381 w 8542655"/>
              <a:gd name="connsiteY7-1002" fmla="*/ 4336311 h 4345044"/>
              <a:gd name="connsiteX0-1003" fmla="*/ 8542655 w 8542655"/>
              <a:gd name="connsiteY0-1004" fmla="*/ 881912 h 4345044"/>
              <a:gd name="connsiteX1-1005" fmla="*/ 8539481 w 8542655"/>
              <a:gd name="connsiteY1-1006" fmla="*/ 102448 h 4345044"/>
              <a:gd name="connsiteX2-1007" fmla="*/ 8455343 w 8542655"/>
              <a:gd name="connsiteY2-1008" fmla="*/ 21487 h 4345044"/>
              <a:gd name="connsiteX3-1009" fmla="*/ 103507 w 8542655"/>
              <a:gd name="connsiteY3-1010" fmla="*/ 21487 h 4345044"/>
              <a:gd name="connsiteX4-1011" fmla="*/ 6669 w 8542655"/>
              <a:gd name="connsiteY4-1012" fmla="*/ 122291 h 4345044"/>
              <a:gd name="connsiteX5-1013" fmla="*/ 6669 w 8542655"/>
              <a:gd name="connsiteY5-1014" fmla="*/ 4234712 h 4345044"/>
              <a:gd name="connsiteX6-1015" fmla="*/ 99538 w 8542655"/>
              <a:gd name="connsiteY6-1016" fmla="*/ 4336312 h 4345044"/>
              <a:gd name="connsiteX0-1017" fmla="*/ 8542655 w 8542655"/>
              <a:gd name="connsiteY0-1018" fmla="*/ 881912 h 4234712"/>
              <a:gd name="connsiteX1-1019" fmla="*/ 8539481 w 8542655"/>
              <a:gd name="connsiteY1-1020" fmla="*/ 102448 h 4234712"/>
              <a:gd name="connsiteX2-1021" fmla="*/ 8455343 w 8542655"/>
              <a:gd name="connsiteY2-1022" fmla="*/ 21487 h 4234712"/>
              <a:gd name="connsiteX3-1023" fmla="*/ 103507 w 8542655"/>
              <a:gd name="connsiteY3-1024" fmla="*/ 21487 h 4234712"/>
              <a:gd name="connsiteX4-1025" fmla="*/ 6669 w 8542655"/>
              <a:gd name="connsiteY4-1026" fmla="*/ 122291 h 4234712"/>
              <a:gd name="connsiteX5-1027" fmla="*/ 6669 w 8542655"/>
              <a:gd name="connsiteY5-1028" fmla="*/ 4234712 h 4234712"/>
              <a:gd name="connsiteX0-1029" fmla="*/ 8542655 w 8542655"/>
              <a:gd name="connsiteY0-1030" fmla="*/ 881912 h 881912"/>
              <a:gd name="connsiteX1-1031" fmla="*/ 8539481 w 8542655"/>
              <a:gd name="connsiteY1-1032" fmla="*/ 102448 h 881912"/>
              <a:gd name="connsiteX2-1033" fmla="*/ 8455343 w 8542655"/>
              <a:gd name="connsiteY2-1034" fmla="*/ 21487 h 881912"/>
              <a:gd name="connsiteX3-1035" fmla="*/ 103507 w 8542655"/>
              <a:gd name="connsiteY3-1036" fmla="*/ 21487 h 881912"/>
              <a:gd name="connsiteX4-1037" fmla="*/ 6669 w 8542655"/>
              <a:gd name="connsiteY4-1038" fmla="*/ 122291 h 881912"/>
              <a:gd name="connsiteX0-1039" fmla="*/ 8439148 w 8439148"/>
              <a:gd name="connsiteY0-1040" fmla="*/ 870852 h 870852"/>
              <a:gd name="connsiteX1-1041" fmla="*/ 8435974 w 8439148"/>
              <a:gd name="connsiteY1-1042" fmla="*/ 91388 h 870852"/>
              <a:gd name="connsiteX2-1043" fmla="*/ 8351836 w 8439148"/>
              <a:gd name="connsiteY2-1044" fmla="*/ 10427 h 870852"/>
              <a:gd name="connsiteX3-1045" fmla="*/ 0 w 8439148"/>
              <a:gd name="connsiteY3-1046" fmla="*/ 10427 h 870852"/>
              <a:gd name="connsiteX0-1047" fmla="*/ 5356223 w 5356223"/>
              <a:gd name="connsiteY0-1048" fmla="*/ 870852 h 870852"/>
              <a:gd name="connsiteX1-1049" fmla="*/ 5353049 w 5356223"/>
              <a:gd name="connsiteY1-1050" fmla="*/ 91388 h 870852"/>
              <a:gd name="connsiteX2-1051" fmla="*/ 5268911 w 5356223"/>
              <a:gd name="connsiteY2-1052" fmla="*/ 10427 h 870852"/>
              <a:gd name="connsiteX3-1053" fmla="*/ 0 w 5356223"/>
              <a:gd name="connsiteY3-1054" fmla="*/ 17515 h 870852"/>
              <a:gd name="connsiteX0-1055" fmla="*/ 6042023 w 6042023"/>
              <a:gd name="connsiteY0-1056" fmla="*/ 870852 h 870852"/>
              <a:gd name="connsiteX1-1057" fmla="*/ 6038849 w 6042023"/>
              <a:gd name="connsiteY1-1058" fmla="*/ 91388 h 870852"/>
              <a:gd name="connsiteX2-1059" fmla="*/ 5954711 w 6042023"/>
              <a:gd name="connsiteY2-1060" fmla="*/ 10427 h 870852"/>
              <a:gd name="connsiteX3-1061" fmla="*/ 0 w 6042023"/>
              <a:gd name="connsiteY3-1062" fmla="*/ 17515 h 870852"/>
              <a:gd name="connsiteX0-1063" fmla="*/ 6042023 w 6042023"/>
              <a:gd name="connsiteY0-1064" fmla="*/ 870852 h 870852"/>
              <a:gd name="connsiteX1-1065" fmla="*/ 6038849 w 6042023"/>
              <a:gd name="connsiteY1-1066" fmla="*/ 91388 h 870852"/>
              <a:gd name="connsiteX2-1067" fmla="*/ 5954711 w 6042023"/>
              <a:gd name="connsiteY2-1068" fmla="*/ 17515 h 870852"/>
              <a:gd name="connsiteX3-1069" fmla="*/ 0 w 6042023"/>
              <a:gd name="connsiteY3-1070" fmla="*/ 17515 h 870852"/>
              <a:gd name="connsiteX0-1071" fmla="*/ 6032178 w 6039907"/>
              <a:gd name="connsiteY0-1072" fmla="*/ 1664602 h 1664602"/>
              <a:gd name="connsiteX1-1073" fmla="*/ 6038849 w 6039907"/>
              <a:gd name="connsiteY1-1074" fmla="*/ 91388 h 1664602"/>
              <a:gd name="connsiteX2-1075" fmla="*/ 5954711 w 6039907"/>
              <a:gd name="connsiteY2-1076" fmla="*/ 17515 h 1664602"/>
              <a:gd name="connsiteX3-1077" fmla="*/ 0 w 6039907"/>
              <a:gd name="connsiteY3-1078" fmla="*/ 17515 h 1664602"/>
              <a:gd name="connsiteX0-1079" fmla="*/ 6038528 w 6039907"/>
              <a:gd name="connsiteY0-1080" fmla="*/ 1664602 h 1664602"/>
              <a:gd name="connsiteX1-1081" fmla="*/ 6038849 w 6039907"/>
              <a:gd name="connsiteY1-1082" fmla="*/ 91388 h 1664602"/>
              <a:gd name="connsiteX2-1083" fmla="*/ 5954711 w 6039907"/>
              <a:gd name="connsiteY2-1084" fmla="*/ 17515 h 1664602"/>
              <a:gd name="connsiteX3-1085" fmla="*/ 0 w 6039907"/>
              <a:gd name="connsiteY3-1086" fmla="*/ 17515 h 1664602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</a:cxnLst>
            <a:rect l="l" t="t" r="r" b="b"/>
            <a:pathLst>
              <a:path w="6039907" h="1664602">
                <a:moveTo>
                  <a:pt x="6038528" y="1664602"/>
                </a:moveTo>
                <a:cubicBezTo>
                  <a:pt x="6037470" y="1512731"/>
                  <a:pt x="6039907" y="243259"/>
                  <a:pt x="6038849" y="91388"/>
                </a:cubicBezTo>
                <a:cubicBezTo>
                  <a:pt x="6034775" y="0"/>
                  <a:pt x="5986091" y="23970"/>
                  <a:pt x="5954711" y="17515"/>
                </a:cubicBezTo>
                <a:lnTo>
                  <a:pt x="0" y="17515"/>
                </a:lnTo>
              </a:path>
            </a:pathLst>
          </a:custGeom>
          <a:noFill/>
          <a:ln w="19050" cap="rnd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srgbClr val="000000"/>
              </a:solidFill>
              <a:latin typeface="Arial" panose="020B0604020202090204" pitchFamily="34" charset="0"/>
              <a:ea typeface="MS PGothic" pitchFamily="34" charset="-128"/>
            </a:endParaRPr>
          </a:p>
        </p:txBody>
      </p:sp>
      <p:grpSp>
        <p:nvGrpSpPr>
          <p:cNvPr id="24" name="Group 106"/>
          <p:cNvGrpSpPr/>
          <p:nvPr userDrawn="1"/>
        </p:nvGrpSpPr>
        <p:grpSpPr bwMode="auto">
          <a:xfrm>
            <a:off x="10315859" y="5344645"/>
            <a:ext cx="820148" cy="388510"/>
            <a:chOff x="7715563" y="5785391"/>
            <a:chExt cx="651247" cy="411523"/>
          </a:xfrm>
        </p:grpSpPr>
        <p:sp>
          <p:nvSpPr>
            <p:cNvPr id="48" name="Freeform 29"/>
            <p:cNvSpPr/>
            <p:nvPr userDrawn="1"/>
          </p:nvSpPr>
          <p:spPr bwMode="auto">
            <a:xfrm>
              <a:off x="7715563" y="5785391"/>
              <a:ext cx="651247" cy="411523"/>
            </a:xfrm>
            <a:custGeom>
              <a:avLst/>
              <a:gdLst/>
              <a:ahLst/>
              <a:cxnLst>
                <a:cxn ang="0">
                  <a:pos x="300" y="168"/>
                </a:cxn>
                <a:cxn ang="0">
                  <a:pos x="280" y="188"/>
                </a:cxn>
                <a:cxn ang="0">
                  <a:pos x="20" y="188"/>
                </a:cxn>
                <a:cxn ang="0">
                  <a:pos x="0" y="168"/>
                </a:cxn>
                <a:cxn ang="0">
                  <a:pos x="273" y="168"/>
                </a:cxn>
                <a:cxn ang="0">
                  <a:pos x="273" y="0"/>
                </a:cxn>
                <a:cxn ang="0">
                  <a:pos x="27" y="0"/>
                </a:cxn>
                <a:cxn ang="0">
                  <a:pos x="27" y="145"/>
                </a:cxn>
              </a:cxnLst>
              <a:rect l="0" t="0" r="r" b="b"/>
              <a:pathLst>
                <a:path w="300" h="188">
                  <a:moveTo>
                    <a:pt x="300" y="168"/>
                  </a:moveTo>
                  <a:cubicBezTo>
                    <a:pt x="300" y="179"/>
                    <a:pt x="291" y="188"/>
                    <a:pt x="280" y="188"/>
                  </a:cubicBezTo>
                  <a:cubicBezTo>
                    <a:pt x="20" y="188"/>
                    <a:pt x="20" y="188"/>
                    <a:pt x="20" y="188"/>
                  </a:cubicBezTo>
                  <a:cubicBezTo>
                    <a:pt x="9" y="188"/>
                    <a:pt x="0" y="179"/>
                    <a:pt x="0" y="168"/>
                  </a:cubicBezTo>
                  <a:cubicBezTo>
                    <a:pt x="273" y="168"/>
                    <a:pt x="273" y="168"/>
                    <a:pt x="273" y="168"/>
                  </a:cubicBezTo>
                  <a:cubicBezTo>
                    <a:pt x="273" y="0"/>
                    <a:pt x="273" y="0"/>
                    <a:pt x="273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7" y="145"/>
                    <a:pt x="27" y="145"/>
                    <a:pt x="27" y="145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0">
                <a:solidFill>
                  <a:srgbClr val="000000"/>
                </a:solidFill>
                <a:latin typeface="Arial" panose="020B0604020202090204" pitchFamily="34" charset="0"/>
                <a:ea typeface="MS PGothic" pitchFamily="34" charset="-128"/>
              </a:endParaRPr>
            </a:p>
          </p:txBody>
        </p:sp>
        <p:grpSp>
          <p:nvGrpSpPr>
            <p:cNvPr id="35" name="Group 116"/>
            <p:cNvGrpSpPr/>
            <p:nvPr userDrawn="1"/>
          </p:nvGrpSpPr>
          <p:grpSpPr bwMode="auto">
            <a:xfrm>
              <a:off x="7904583" y="5833058"/>
              <a:ext cx="273206" cy="273289"/>
              <a:chOff x="7191463" y="5528164"/>
              <a:chExt cx="484324" cy="484471"/>
            </a:xfrm>
          </p:grpSpPr>
          <p:sp>
            <p:nvSpPr>
              <p:cNvPr id="50" name="Donut 63"/>
              <p:cNvSpPr/>
              <p:nvPr userDrawn="1"/>
            </p:nvSpPr>
            <p:spPr>
              <a:xfrm>
                <a:off x="7191463" y="5528164"/>
                <a:ext cx="484324" cy="484473"/>
              </a:xfrm>
              <a:prstGeom prst="donut">
                <a:avLst>
                  <a:gd name="adj" fmla="val 28950"/>
                </a:avLst>
              </a:prstGeom>
              <a:noFill/>
              <a:ln w="19050" cap="rnd">
                <a:solidFill>
                  <a:schemeClr val="bg1"/>
                </a:solidFill>
                <a:prstDash val="solid"/>
                <a:round/>
              </a:ln>
            </p:spPr>
            <p:txBody>
              <a:bodyPr/>
              <a:lstStyle/>
              <a:p>
                <a:pPr defTabSz="4318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700">
                  <a:solidFill>
                    <a:srgbClr val="000000"/>
                  </a:solidFill>
                  <a:latin typeface="Arial" panose="020B0604020202090204" pitchFamily="34" charset="0"/>
                  <a:ea typeface="MS PGothic" pitchFamily="34" charset="-128"/>
                </a:endParaRPr>
              </a:p>
            </p:txBody>
          </p:sp>
          <p:cxnSp>
            <p:nvCxnSpPr>
              <p:cNvPr id="51" name="Straight Connector 59"/>
              <p:cNvCxnSpPr>
                <a:cxnSpLocks noChangeShapeType="1"/>
              </p:cNvCxnSpPr>
              <p:nvPr userDrawn="1"/>
            </p:nvCxnSpPr>
            <p:spPr bwMode="auto">
              <a:xfrm>
                <a:off x="7433628" y="5536407"/>
                <a:ext cx="0" cy="130969"/>
              </a:xfrm>
              <a:prstGeom prst="line">
                <a:avLst/>
              </a:prstGeom>
              <a:noFill/>
              <a:ln w="19050" cap="rnd">
                <a:solidFill>
                  <a:schemeClr val="bg1"/>
                </a:solidFill>
                <a:round/>
              </a:ln>
            </p:spPr>
          </p:cxnSp>
          <p:cxnSp>
            <p:nvCxnSpPr>
              <p:cNvPr id="52" name="Straight Connector 60"/>
              <p:cNvCxnSpPr>
                <a:cxnSpLocks noChangeShapeType="1"/>
              </p:cNvCxnSpPr>
              <p:nvPr userDrawn="1"/>
            </p:nvCxnSpPr>
            <p:spPr bwMode="auto">
              <a:xfrm>
                <a:off x="7495541" y="5854700"/>
                <a:ext cx="72072" cy="103188"/>
              </a:xfrm>
              <a:prstGeom prst="line">
                <a:avLst/>
              </a:prstGeom>
              <a:noFill/>
              <a:ln w="19050" cap="rnd">
                <a:solidFill>
                  <a:schemeClr val="bg1"/>
                </a:solidFill>
                <a:round/>
              </a:ln>
            </p:spPr>
          </p:cxnSp>
          <p:cxnSp>
            <p:nvCxnSpPr>
              <p:cNvPr id="53" name="Straight Connector 61"/>
              <p:cNvCxnSpPr>
                <a:cxnSpLocks noChangeShapeType="1"/>
              </p:cNvCxnSpPr>
              <p:nvPr userDrawn="1"/>
            </p:nvCxnSpPr>
            <p:spPr bwMode="auto">
              <a:xfrm flipH="1">
                <a:off x="7297897" y="5854700"/>
                <a:ext cx="72072" cy="103188"/>
              </a:xfrm>
              <a:prstGeom prst="line">
                <a:avLst/>
              </a:prstGeom>
              <a:noFill/>
              <a:ln w="19050" cap="rnd">
                <a:solidFill>
                  <a:schemeClr val="bg1"/>
                </a:solidFill>
                <a:round/>
              </a:ln>
            </p:spPr>
          </p:cxnSp>
          <p:cxnSp>
            <p:nvCxnSpPr>
              <p:cNvPr id="54" name="Straight Connector 62"/>
              <p:cNvCxnSpPr>
                <a:cxnSpLocks noChangeShapeType="1"/>
              </p:cNvCxnSpPr>
              <p:nvPr userDrawn="1"/>
            </p:nvCxnSpPr>
            <p:spPr bwMode="auto">
              <a:xfrm flipH="1" flipV="1">
                <a:off x="7205030" y="5691982"/>
                <a:ext cx="124458" cy="44449"/>
              </a:xfrm>
              <a:prstGeom prst="line">
                <a:avLst/>
              </a:prstGeom>
              <a:noFill/>
              <a:ln w="19050" cap="rnd">
                <a:solidFill>
                  <a:schemeClr val="bg1"/>
                </a:solidFill>
                <a:round/>
              </a:ln>
            </p:spPr>
          </p:cxnSp>
          <p:cxnSp>
            <p:nvCxnSpPr>
              <p:cNvPr id="55" name="Straight Connector 63"/>
              <p:cNvCxnSpPr>
                <a:cxnSpLocks noChangeShapeType="1"/>
              </p:cNvCxnSpPr>
              <p:nvPr userDrawn="1"/>
            </p:nvCxnSpPr>
            <p:spPr bwMode="auto">
              <a:xfrm flipV="1">
                <a:off x="7536022" y="5691982"/>
                <a:ext cx="124458" cy="44449"/>
              </a:xfrm>
              <a:prstGeom prst="line">
                <a:avLst/>
              </a:prstGeom>
              <a:noFill/>
              <a:ln w="19050" cap="rnd">
                <a:solidFill>
                  <a:schemeClr val="bg1"/>
                </a:solidFill>
                <a:round/>
              </a:ln>
            </p:spPr>
          </p:cxnSp>
        </p:grpSp>
      </p:grpSp>
      <p:pic>
        <p:nvPicPr>
          <p:cNvPr id="56" name="Picture 13" descr="Capgemini_logo_closing.jpg"/>
          <p:cNvPicPr>
            <a:picLocks noChangeAspect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384070" y="646518"/>
            <a:ext cx="3174572" cy="5970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7" name="Title 1"/>
          <p:cNvSpPr>
            <a:spLocks noGrp="1"/>
          </p:cNvSpPr>
          <p:nvPr>
            <p:ph type="ctrTitle"/>
          </p:nvPr>
        </p:nvSpPr>
        <p:spPr>
          <a:xfrm>
            <a:off x="681723" y="4181890"/>
            <a:ext cx="9793764" cy="1002027"/>
          </a:xfrm>
          <a:prstGeom prst="rect">
            <a:avLst/>
          </a:prstGeom>
        </p:spPr>
        <p:txBody>
          <a:bodyPr anchor="t"/>
          <a:lstStyle>
            <a:lvl1pPr>
              <a:defRPr>
                <a:solidFill>
                  <a:schemeClr val="bg1"/>
                </a:solidFill>
                <a:latin typeface="University Handwriting" pitchFamily="2" charset="-128"/>
                <a:ea typeface="University Handwriting" pitchFamily="2" charset="-128"/>
                <a:cs typeface="University Handwriting" pitchFamily="2" charset="-128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8" name="Subtitle 2"/>
          <p:cNvSpPr>
            <a:spLocks noGrp="1"/>
          </p:cNvSpPr>
          <p:nvPr>
            <p:ph type="subTitle" idx="1"/>
          </p:nvPr>
        </p:nvSpPr>
        <p:spPr>
          <a:xfrm>
            <a:off x="681723" y="5191646"/>
            <a:ext cx="8929608" cy="51841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270">
                <a:solidFill>
                  <a:schemeClr val="bg1"/>
                </a:solidFill>
                <a:latin typeface="Arial" panose="020B0604020202090204" pitchFamily="34" charset="0"/>
                <a:ea typeface="University Handwriting" pitchFamily="2" charset="-128"/>
                <a:cs typeface="Arial" panose="020B0604020202090204" pitchFamily="34" charset="0"/>
              </a:defRPr>
            </a:lvl1pPr>
            <a:lvl2pPr marL="431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642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960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278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60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920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0238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4563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2073" y="1383038"/>
            <a:ext cx="5184934" cy="4449120"/>
          </a:xfrm>
          <a:prstGeom prst="rect">
            <a:avLst/>
          </a:prstGeom>
        </p:spPr>
        <p:txBody>
          <a:bodyPr/>
          <a:lstStyle>
            <a:lvl1pPr>
              <a:defRPr sz="1890"/>
            </a:lvl1pPr>
            <a:lvl2pPr>
              <a:defRPr sz="1700"/>
            </a:lvl2pPr>
            <a:lvl3pPr>
              <a:defRPr sz="1510"/>
            </a:lvl3pPr>
            <a:lvl4pPr>
              <a:defRPr sz="1325"/>
            </a:lvl4pPr>
            <a:lvl5pPr>
              <a:defRPr sz="1135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37069" y="1383038"/>
            <a:ext cx="5184934" cy="4449120"/>
          </a:xfrm>
          <a:prstGeom prst="rect">
            <a:avLst/>
          </a:prstGeom>
        </p:spPr>
        <p:txBody>
          <a:bodyPr/>
          <a:lstStyle>
            <a:lvl1pPr>
              <a:defRPr sz="1890"/>
            </a:lvl1pPr>
            <a:lvl2pPr>
              <a:defRPr sz="1700"/>
            </a:lvl2pPr>
            <a:lvl3pPr>
              <a:defRPr sz="1510"/>
            </a:lvl3pPr>
            <a:lvl4pPr>
              <a:defRPr sz="1325"/>
            </a:lvl4pPr>
            <a:lvl5pPr>
              <a:defRPr sz="1135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2073" y="1383037"/>
            <a:ext cx="5184934" cy="604516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90" b="1"/>
            </a:lvl1pPr>
            <a:lvl2pPr marL="431800" indent="0">
              <a:buNone/>
              <a:defRPr sz="1890" b="1"/>
            </a:lvl2pPr>
            <a:lvl3pPr marL="864235" indent="0">
              <a:buNone/>
              <a:defRPr sz="1700" b="1"/>
            </a:lvl3pPr>
            <a:lvl4pPr marL="1296035" indent="0">
              <a:buNone/>
              <a:defRPr sz="1510" b="1"/>
            </a:lvl4pPr>
            <a:lvl5pPr marL="1727835" indent="0">
              <a:buNone/>
              <a:defRPr sz="1510" b="1"/>
            </a:lvl5pPr>
            <a:lvl6pPr marL="2160270" indent="0">
              <a:buNone/>
              <a:defRPr sz="1510" b="1"/>
            </a:lvl6pPr>
            <a:lvl7pPr marL="2592070" indent="0">
              <a:buNone/>
              <a:defRPr sz="1510" b="1"/>
            </a:lvl7pPr>
            <a:lvl8pPr marL="3023870" indent="0">
              <a:buNone/>
              <a:defRPr sz="1510" b="1"/>
            </a:lvl8pPr>
            <a:lvl9pPr marL="3456305" indent="0">
              <a:buNone/>
              <a:defRPr sz="1510" b="1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2073" y="1987553"/>
            <a:ext cx="5184934" cy="3844604"/>
          </a:xfrm>
          <a:prstGeom prst="rect">
            <a:avLst/>
          </a:prstGeom>
        </p:spPr>
        <p:txBody>
          <a:bodyPr/>
          <a:lstStyle>
            <a:lvl1pPr>
              <a:defRPr sz="1890"/>
            </a:lvl1pPr>
            <a:lvl2pPr>
              <a:defRPr sz="1700"/>
            </a:lvl2pPr>
            <a:lvl3pPr>
              <a:defRPr sz="1510"/>
            </a:lvl3pPr>
            <a:lvl4pPr>
              <a:defRPr sz="1325"/>
            </a:lvl4pPr>
            <a:lvl5pPr>
              <a:defRPr sz="1135"/>
            </a:lvl5pPr>
            <a:lvl6pPr>
              <a:defRPr sz="1510"/>
            </a:lvl6pPr>
            <a:lvl7pPr>
              <a:defRPr sz="1510"/>
            </a:lvl7pPr>
            <a:lvl8pPr>
              <a:defRPr sz="1510"/>
            </a:lvl8pPr>
            <a:lvl9pPr>
              <a:defRPr sz="151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937069" y="1383037"/>
            <a:ext cx="5184934" cy="604516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90" b="1"/>
            </a:lvl1pPr>
            <a:lvl2pPr marL="431800" indent="0">
              <a:buNone/>
              <a:defRPr sz="1890" b="1"/>
            </a:lvl2pPr>
            <a:lvl3pPr marL="864235" indent="0">
              <a:buNone/>
              <a:defRPr sz="1700" b="1"/>
            </a:lvl3pPr>
            <a:lvl4pPr marL="1296035" indent="0">
              <a:buNone/>
              <a:defRPr sz="1510" b="1"/>
            </a:lvl4pPr>
            <a:lvl5pPr marL="1727835" indent="0">
              <a:buNone/>
              <a:defRPr sz="1510" b="1"/>
            </a:lvl5pPr>
            <a:lvl6pPr marL="2160270" indent="0">
              <a:buNone/>
              <a:defRPr sz="1510" b="1"/>
            </a:lvl6pPr>
            <a:lvl7pPr marL="2592070" indent="0">
              <a:buNone/>
              <a:defRPr sz="1510" b="1"/>
            </a:lvl7pPr>
            <a:lvl8pPr marL="3023870" indent="0">
              <a:buNone/>
              <a:defRPr sz="1510" b="1"/>
            </a:lvl8pPr>
            <a:lvl9pPr marL="3456305" indent="0">
              <a:buNone/>
              <a:defRPr sz="1510" b="1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937069" y="1987553"/>
            <a:ext cx="5184934" cy="3844604"/>
          </a:xfrm>
          <a:prstGeom prst="rect">
            <a:avLst/>
          </a:prstGeom>
        </p:spPr>
        <p:txBody>
          <a:bodyPr/>
          <a:lstStyle>
            <a:lvl1pPr>
              <a:defRPr sz="1890"/>
            </a:lvl1pPr>
            <a:lvl2pPr>
              <a:defRPr sz="1700"/>
            </a:lvl2pPr>
            <a:lvl3pPr>
              <a:defRPr sz="1510"/>
            </a:lvl3pPr>
            <a:lvl4pPr>
              <a:defRPr sz="1325"/>
            </a:lvl4pPr>
            <a:lvl5pPr>
              <a:defRPr sz="1135"/>
            </a:lvl5pPr>
            <a:lvl6pPr>
              <a:defRPr sz="1510"/>
            </a:lvl6pPr>
            <a:lvl7pPr>
              <a:defRPr sz="1510"/>
            </a:lvl7pPr>
            <a:lvl8pPr>
              <a:defRPr sz="1510"/>
            </a:lvl8pPr>
            <a:lvl9pPr>
              <a:defRPr sz="151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/>
          <p:nvPr userDrawn="1">
            <p:custDataLst>
              <p:tags r:id="rId1"/>
            </p:custDataLst>
          </p:nvPr>
        </p:nvSpPr>
        <p:spPr bwMode="auto">
          <a:xfrm>
            <a:off x="0" y="544516"/>
            <a:ext cx="11532077" cy="711019"/>
          </a:xfrm>
          <a:custGeom>
            <a:avLst/>
            <a:gdLst>
              <a:gd name="connsiteX0" fmla="*/ 9509 w 10000"/>
              <a:gd name="connsiteY0" fmla="*/ 4537 h 10000"/>
              <a:gd name="connsiteX1" fmla="*/ 972 w 10000"/>
              <a:gd name="connsiteY1" fmla="*/ 4537 h 10000"/>
              <a:gd name="connsiteX2" fmla="*/ 484 w 10000"/>
              <a:gd name="connsiteY2" fmla="*/ 9122 h 10000"/>
              <a:gd name="connsiteX3" fmla="*/ 0 w 10000"/>
              <a:gd name="connsiteY3" fmla="*/ 4537 h 10000"/>
              <a:gd name="connsiteX4" fmla="*/ 0 w 10000"/>
              <a:gd name="connsiteY4" fmla="*/ 5463 h 10000"/>
              <a:gd name="connsiteX5" fmla="*/ 484 w 10000"/>
              <a:gd name="connsiteY5" fmla="*/ 10000 h 10000"/>
              <a:gd name="connsiteX6" fmla="*/ 972 w 10000"/>
              <a:gd name="connsiteY6" fmla="*/ 5463 h 10000"/>
              <a:gd name="connsiteX7" fmla="*/ 8912 w 10000"/>
              <a:gd name="connsiteY7" fmla="*/ 5514 h 10000"/>
              <a:gd name="connsiteX8" fmla="*/ 10000 w 10000"/>
              <a:gd name="connsiteY8" fmla="*/ 927 h 10000"/>
              <a:gd name="connsiteX9" fmla="*/ 10000 w 10000"/>
              <a:gd name="connsiteY9" fmla="*/ 0 h 10000"/>
              <a:gd name="connsiteX10" fmla="*/ 9509 w 10000"/>
              <a:gd name="connsiteY10" fmla="*/ 4537 h 10000"/>
              <a:gd name="connsiteX0-1" fmla="*/ 8912 w 10000"/>
              <a:gd name="connsiteY0-2" fmla="*/ 4577 h 10000"/>
              <a:gd name="connsiteX1-3" fmla="*/ 972 w 10000"/>
              <a:gd name="connsiteY1-4" fmla="*/ 4537 h 10000"/>
              <a:gd name="connsiteX2-5" fmla="*/ 484 w 10000"/>
              <a:gd name="connsiteY2-6" fmla="*/ 9122 h 10000"/>
              <a:gd name="connsiteX3-7" fmla="*/ 0 w 10000"/>
              <a:gd name="connsiteY3-8" fmla="*/ 4537 h 10000"/>
              <a:gd name="connsiteX4-9" fmla="*/ 0 w 10000"/>
              <a:gd name="connsiteY4-10" fmla="*/ 5463 h 10000"/>
              <a:gd name="connsiteX5-11" fmla="*/ 484 w 10000"/>
              <a:gd name="connsiteY5-12" fmla="*/ 10000 h 10000"/>
              <a:gd name="connsiteX6-13" fmla="*/ 972 w 10000"/>
              <a:gd name="connsiteY6-14" fmla="*/ 5463 h 10000"/>
              <a:gd name="connsiteX7-15" fmla="*/ 8912 w 10000"/>
              <a:gd name="connsiteY7-16" fmla="*/ 5514 h 10000"/>
              <a:gd name="connsiteX8-17" fmla="*/ 10000 w 10000"/>
              <a:gd name="connsiteY8-18" fmla="*/ 927 h 10000"/>
              <a:gd name="connsiteX9-19" fmla="*/ 10000 w 10000"/>
              <a:gd name="connsiteY9-20" fmla="*/ 0 h 10000"/>
              <a:gd name="connsiteX10-21" fmla="*/ 8912 w 10000"/>
              <a:gd name="connsiteY10-22" fmla="*/ 4577 h 10000"/>
              <a:gd name="connsiteX0-23" fmla="*/ 8912 w 10000"/>
              <a:gd name="connsiteY0-24" fmla="*/ 4383 h 9806"/>
              <a:gd name="connsiteX1-25" fmla="*/ 972 w 10000"/>
              <a:gd name="connsiteY1-26" fmla="*/ 4343 h 9806"/>
              <a:gd name="connsiteX2-27" fmla="*/ 484 w 10000"/>
              <a:gd name="connsiteY2-28" fmla="*/ 8928 h 9806"/>
              <a:gd name="connsiteX3-29" fmla="*/ 0 w 10000"/>
              <a:gd name="connsiteY3-30" fmla="*/ 4343 h 9806"/>
              <a:gd name="connsiteX4-31" fmla="*/ 0 w 10000"/>
              <a:gd name="connsiteY4-32" fmla="*/ 5269 h 9806"/>
              <a:gd name="connsiteX5-33" fmla="*/ 484 w 10000"/>
              <a:gd name="connsiteY5-34" fmla="*/ 9806 h 9806"/>
              <a:gd name="connsiteX6-35" fmla="*/ 972 w 10000"/>
              <a:gd name="connsiteY6-36" fmla="*/ 5269 h 9806"/>
              <a:gd name="connsiteX7-37" fmla="*/ 8912 w 10000"/>
              <a:gd name="connsiteY7-38" fmla="*/ 5320 h 9806"/>
              <a:gd name="connsiteX8-39" fmla="*/ 10000 w 10000"/>
              <a:gd name="connsiteY8-40" fmla="*/ 733 h 9806"/>
              <a:gd name="connsiteX9-41" fmla="*/ 9231 w 10000"/>
              <a:gd name="connsiteY9-42" fmla="*/ 0 h 9806"/>
              <a:gd name="connsiteX10-43" fmla="*/ 8912 w 10000"/>
              <a:gd name="connsiteY10-44" fmla="*/ 4383 h 9806"/>
              <a:gd name="connsiteX0-45" fmla="*/ 8912 w 9297"/>
              <a:gd name="connsiteY0-46" fmla="*/ 4470 h 10000"/>
              <a:gd name="connsiteX1-47" fmla="*/ 972 w 9297"/>
              <a:gd name="connsiteY1-48" fmla="*/ 4429 h 10000"/>
              <a:gd name="connsiteX2-49" fmla="*/ 484 w 9297"/>
              <a:gd name="connsiteY2-50" fmla="*/ 9105 h 10000"/>
              <a:gd name="connsiteX3-51" fmla="*/ 0 w 9297"/>
              <a:gd name="connsiteY3-52" fmla="*/ 4429 h 10000"/>
              <a:gd name="connsiteX4-53" fmla="*/ 0 w 9297"/>
              <a:gd name="connsiteY4-54" fmla="*/ 5373 h 10000"/>
              <a:gd name="connsiteX5-55" fmla="*/ 484 w 9297"/>
              <a:gd name="connsiteY5-56" fmla="*/ 10000 h 10000"/>
              <a:gd name="connsiteX6-57" fmla="*/ 972 w 9297"/>
              <a:gd name="connsiteY6-58" fmla="*/ 5373 h 10000"/>
              <a:gd name="connsiteX7-59" fmla="*/ 8912 w 9297"/>
              <a:gd name="connsiteY7-60" fmla="*/ 5425 h 10000"/>
              <a:gd name="connsiteX8-61" fmla="*/ 9231 w 9297"/>
              <a:gd name="connsiteY8-62" fmla="*/ 1642 h 10000"/>
              <a:gd name="connsiteX9-63" fmla="*/ 9231 w 9297"/>
              <a:gd name="connsiteY9-64" fmla="*/ 0 h 10000"/>
              <a:gd name="connsiteX10-65" fmla="*/ 8912 w 9297"/>
              <a:gd name="connsiteY10-66" fmla="*/ 4470 h 10000"/>
              <a:gd name="connsiteX0-67" fmla="*/ 9586 w 10000"/>
              <a:gd name="connsiteY0-68" fmla="*/ 4470 h 10000"/>
              <a:gd name="connsiteX1-69" fmla="*/ 1045 w 10000"/>
              <a:gd name="connsiteY1-70" fmla="*/ 4429 h 10000"/>
              <a:gd name="connsiteX2-71" fmla="*/ 521 w 10000"/>
              <a:gd name="connsiteY2-72" fmla="*/ 9105 h 10000"/>
              <a:gd name="connsiteX3-73" fmla="*/ 0 w 10000"/>
              <a:gd name="connsiteY3-74" fmla="*/ 4429 h 10000"/>
              <a:gd name="connsiteX4-75" fmla="*/ 0 w 10000"/>
              <a:gd name="connsiteY4-76" fmla="*/ 5373 h 10000"/>
              <a:gd name="connsiteX5-77" fmla="*/ 521 w 10000"/>
              <a:gd name="connsiteY5-78" fmla="*/ 10000 h 10000"/>
              <a:gd name="connsiteX6-79" fmla="*/ 1045 w 10000"/>
              <a:gd name="connsiteY6-80" fmla="*/ 5373 h 10000"/>
              <a:gd name="connsiteX7-81" fmla="*/ 9281 w 10000"/>
              <a:gd name="connsiteY7-82" fmla="*/ 5426 h 10000"/>
              <a:gd name="connsiteX8-83" fmla="*/ 9929 w 10000"/>
              <a:gd name="connsiteY8-84" fmla="*/ 1642 h 10000"/>
              <a:gd name="connsiteX9-85" fmla="*/ 9929 w 10000"/>
              <a:gd name="connsiteY9-86" fmla="*/ 0 h 10000"/>
              <a:gd name="connsiteX10-87" fmla="*/ 9586 w 10000"/>
              <a:gd name="connsiteY10-88" fmla="*/ 4470 h 10000"/>
              <a:gd name="connsiteX0-89" fmla="*/ 9586 w 10000"/>
              <a:gd name="connsiteY0-90" fmla="*/ 4470 h 10000"/>
              <a:gd name="connsiteX1-91" fmla="*/ 1045 w 10000"/>
              <a:gd name="connsiteY1-92" fmla="*/ 4429 h 10000"/>
              <a:gd name="connsiteX2-93" fmla="*/ 521 w 10000"/>
              <a:gd name="connsiteY2-94" fmla="*/ 9105 h 10000"/>
              <a:gd name="connsiteX3-95" fmla="*/ 0 w 10000"/>
              <a:gd name="connsiteY3-96" fmla="*/ 4429 h 10000"/>
              <a:gd name="connsiteX4-97" fmla="*/ 0 w 10000"/>
              <a:gd name="connsiteY4-98" fmla="*/ 5373 h 10000"/>
              <a:gd name="connsiteX5-99" fmla="*/ 521 w 10000"/>
              <a:gd name="connsiteY5-100" fmla="*/ 10000 h 10000"/>
              <a:gd name="connsiteX6-101" fmla="*/ 1045 w 10000"/>
              <a:gd name="connsiteY6-102" fmla="*/ 5373 h 10000"/>
              <a:gd name="connsiteX7-103" fmla="*/ 9281 w 10000"/>
              <a:gd name="connsiteY7-104" fmla="*/ 5426 h 10000"/>
              <a:gd name="connsiteX8-105" fmla="*/ 9929 w 10000"/>
              <a:gd name="connsiteY8-106" fmla="*/ 1642 h 10000"/>
              <a:gd name="connsiteX9-107" fmla="*/ 9929 w 10000"/>
              <a:gd name="connsiteY9-108" fmla="*/ 0 h 10000"/>
              <a:gd name="connsiteX10-109" fmla="*/ 9586 w 10000"/>
              <a:gd name="connsiteY10-110" fmla="*/ 4470 h 10000"/>
              <a:gd name="connsiteX0-111" fmla="*/ 9586 w 10000"/>
              <a:gd name="connsiteY0-112" fmla="*/ 4470 h 10000"/>
              <a:gd name="connsiteX1-113" fmla="*/ 1045 w 10000"/>
              <a:gd name="connsiteY1-114" fmla="*/ 4429 h 10000"/>
              <a:gd name="connsiteX2-115" fmla="*/ 521 w 10000"/>
              <a:gd name="connsiteY2-116" fmla="*/ 9105 h 10000"/>
              <a:gd name="connsiteX3-117" fmla="*/ 0 w 10000"/>
              <a:gd name="connsiteY3-118" fmla="*/ 4429 h 10000"/>
              <a:gd name="connsiteX4-119" fmla="*/ 0 w 10000"/>
              <a:gd name="connsiteY4-120" fmla="*/ 5373 h 10000"/>
              <a:gd name="connsiteX5-121" fmla="*/ 521 w 10000"/>
              <a:gd name="connsiteY5-122" fmla="*/ 10000 h 10000"/>
              <a:gd name="connsiteX6-123" fmla="*/ 1045 w 10000"/>
              <a:gd name="connsiteY6-124" fmla="*/ 5373 h 10000"/>
              <a:gd name="connsiteX7-125" fmla="*/ 9281 w 10000"/>
              <a:gd name="connsiteY7-126" fmla="*/ 5426 h 10000"/>
              <a:gd name="connsiteX8-127" fmla="*/ 9929 w 10000"/>
              <a:gd name="connsiteY8-128" fmla="*/ 1642 h 10000"/>
              <a:gd name="connsiteX9-129" fmla="*/ 9929 w 10000"/>
              <a:gd name="connsiteY9-130" fmla="*/ 0 h 10000"/>
              <a:gd name="connsiteX10-131" fmla="*/ 9586 w 10000"/>
              <a:gd name="connsiteY10-132" fmla="*/ 4470 h 10000"/>
              <a:gd name="connsiteX0-133" fmla="*/ 9281 w 9929"/>
              <a:gd name="connsiteY0-134" fmla="*/ 4558 h 10000"/>
              <a:gd name="connsiteX1-135" fmla="*/ 1045 w 9929"/>
              <a:gd name="connsiteY1-136" fmla="*/ 4429 h 10000"/>
              <a:gd name="connsiteX2-137" fmla="*/ 521 w 9929"/>
              <a:gd name="connsiteY2-138" fmla="*/ 9105 h 10000"/>
              <a:gd name="connsiteX3-139" fmla="*/ 0 w 9929"/>
              <a:gd name="connsiteY3-140" fmla="*/ 4429 h 10000"/>
              <a:gd name="connsiteX4-141" fmla="*/ 0 w 9929"/>
              <a:gd name="connsiteY4-142" fmla="*/ 5373 h 10000"/>
              <a:gd name="connsiteX5-143" fmla="*/ 521 w 9929"/>
              <a:gd name="connsiteY5-144" fmla="*/ 10000 h 10000"/>
              <a:gd name="connsiteX6-145" fmla="*/ 1045 w 9929"/>
              <a:gd name="connsiteY6-146" fmla="*/ 5373 h 10000"/>
              <a:gd name="connsiteX7-147" fmla="*/ 9281 w 9929"/>
              <a:gd name="connsiteY7-148" fmla="*/ 5426 h 10000"/>
              <a:gd name="connsiteX8-149" fmla="*/ 9929 w 9929"/>
              <a:gd name="connsiteY8-150" fmla="*/ 1642 h 10000"/>
              <a:gd name="connsiteX9-151" fmla="*/ 9929 w 9929"/>
              <a:gd name="connsiteY9-152" fmla="*/ 0 h 10000"/>
              <a:gd name="connsiteX10-153" fmla="*/ 9281 w 9929"/>
              <a:gd name="connsiteY10-154" fmla="*/ 4558 h 10000"/>
              <a:gd name="connsiteX0-155" fmla="*/ 9347 w 10000"/>
              <a:gd name="connsiteY0-156" fmla="*/ 4558 h 10000"/>
              <a:gd name="connsiteX1-157" fmla="*/ 1052 w 10000"/>
              <a:gd name="connsiteY1-158" fmla="*/ 4429 h 10000"/>
              <a:gd name="connsiteX2-159" fmla="*/ 525 w 10000"/>
              <a:gd name="connsiteY2-160" fmla="*/ 9105 h 10000"/>
              <a:gd name="connsiteX3-161" fmla="*/ 0 w 10000"/>
              <a:gd name="connsiteY3-162" fmla="*/ 4429 h 10000"/>
              <a:gd name="connsiteX4-163" fmla="*/ 0 w 10000"/>
              <a:gd name="connsiteY4-164" fmla="*/ 5373 h 10000"/>
              <a:gd name="connsiteX5-165" fmla="*/ 525 w 10000"/>
              <a:gd name="connsiteY5-166" fmla="*/ 10000 h 10000"/>
              <a:gd name="connsiteX6-167" fmla="*/ 1052 w 10000"/>
              <a:gd name="connsiteY6-168" fmla="*/ 5373 h 10000"/>
              <a:gd name="connsiteX7-169" fmla="*/ 9347 w 10000"/>
              <a:gd name="connsiteY7-170" fmla="*/ 5426 h 10000"/>
              <a:gd name="connsiteX8-171" fmla="*/ 10000 w 10000"/>
              <a:gd name="connsiteY8-172" fmla="*/ 0 h 10000"/>
              <a:gd name="connsiteX9-173" fmla="*/ 10000 w 10000"/>
              <a:gd name="connsiteY9-174" fmla="*/ 0 h 10000"/>
              <a:gd name="connsiteX10-175" fmla="*/ 9347 w 10000"/>
              <a:gd name="connsiteY10-176" fmla="*/ 4558 h 10000"/>
              <a:gd name="connsiteX0-177" fmla="*/ 9475 w 10000"/>
              <a:gd name="connsiteY0-178" fmla="*/ 4447 h 10000"/>
              <a:gd name="connsiteX1-179" fmla="*/ 1052 w 10000"/>
              <a:gd name="connsiteY1-180" fmla="*/ 4429 h 10000"/>
              <a:gd name="connsiteX2-181" fmla="*/ 525 w 10000"/>
              <a:gd name="connsiteY2-182" fmla="*/ 9105 h 10000"/>
              <a:gd name="connsiteX3-183" fmla="*/ 0 w 10000"/>
              <a:gd name="connsiteY3-184" fmla="*/ 4429 h 10000"/>
              <a:gd name="connsiteX4-185" fmla="*/ 0 w 10000"/>
              <a:gd name="connsiteY4-186" fmla="*/ 5373 h 10000"/>
              <a:gd name="connsiteX5-187" fmla="*/ 525 w 10000"/>
              <a:gd name="connsiteY5-188" fmla="*/ 10000 h 10000"/>
              <a:gd name="connsiteX6-189" fmla="*/ 1052 w 10000"/>
              <a:gd name="connsiteY6-190" fmla="*/ 5373 h 10000"/>
              <a:gd name="connsiteX7-191" fmla="*/ 9347 w 10000"/>
              <a:gd name="connsiteY7-192" fmla="*/ 5426 h 10000"/>
              <a:gd name="connsiteX8-193" fmla="*/ 10000 w 10000"/>
              <a:gd name="connsiteY8-194" fmla="*/ 0 h 10000"/>
              <a:gd name="connsiteX9-195" fmla="*/ 10000 w 10000"/>
              <a:gd name="connsiteY9-196" fmla="*/ 0 h 10000"/>
              <a:gd name="connsiteX10-197" fmla="*/ 9475 w 10000"/>
              <a:gd name="connsiteY10-198" fmla="*/ 4447 h 10000"/>
              <a:gd name="connsiteX0-199" fmla="*/ 9475 w 10000"/>
              <a:gd name="connsiteY0-200" fmla="*/ 4447 h 10000"/>
              <a:gd name="connsiteX1-201" fmla="*/ 1052 w 10000"/>
              <a:gd name="connsiteY1-202" fmla="*/ 4429 h 10000"/>
              <a:gd name="connsiteX2-203" fmla="*/ 525 w 10000"/>
              <a:gd name="connsiteY2-204" fmla="*/ 9105 h 10000"/>
              <a:gd name="connsiteX3-205" fmla="*/ 0 w 10000"/>
              <a:gd name="connsiteY3-206" fmla="*/ 4429 h 10000"/>
              <a:gd name="connsiteX4-207" fmla="*/ 0 w 10000"/>
              <a:gd name="connsiteY4-208" fmla="*/ 5373 h 10000"/>
              <a:gd name="connsiteX5-209" fmla="*/ 525 w 10000"/>
              <a:gd name="connsiteY5-210" fmla="*/ 10000 h 10000"/>
              <a:gd name="connsiteX6-211" fmla="*/ 1052 w 10000"/>
              <a:gd name="connsiteY6-212" fmla="*/ 5373 h 10000"/>
              <a:gd name="connsiteX7-213" fmla="*/ 9449 w 10000"/>
              <a:gd name="connsiteY7-214" fmla="*/ 5470 h 10000"/>
              <a:gd name="connsiteX8-215" fmla="*/ 10000 w 10000"/>
              <a:gd name="connsiteY8-216" fmla="*/ 0 h 10000"/>
              <a:gd name="connsiteX9-217" fmla="*/ 10000 w 10000"/>
              <a:gd name="connsiteY9-218" fmla="*/ 0 h 10000"/>
              <a:gd name="connsiteX10-219" fmla="*/ 9475 w 10000"/>
              <a:gd name="connsiteY10-220" fmla="*/ 4447 h 10000"/>
              <a:gd name="connsiteX0-221" fmla="*/ 9475 w 10956"/>
              <a:gd name="connsiteY0-222" fmla="*/ 4447 h 10000"/>
              <a:gd name="connsiteX1-223" fmla="*/ 1052 w 10956"/>
              <a:gd name="connsiteY1-224" fmla="*/ 4429 h 10000"/>
              <a:gd name="connsiteX2-225" fmla="*/ 525 w 10956"/>
              <a:gd name="connsiteY2-226" fmla="*/ 9105 h 10000"/>
              <a:gd name="connsiteX3-227" fmla="*/ 0 w 10956"/>
              <a:gd name="connsiteY3-228" fmla="*/ 4429 h 10000"/>
              <a:gd name="connsiteX4-229" fmla="*/ 0 w 10956"/>
              <a:gd name="connsiteY4-230" fmla="*/ 5373 h 10000"/>
              <a:gd name="connsiteX5-231" fmla="*/ 525 w 10956"/>
              <a:gd name="connsiteY5-232" fmla="*/ 10000 h 10000"/>
              <a:gd name="connsiteX6-233" fmla="*/ 1052 w 10956"/>
              <a:gd name="connsiteY6-234" fmla="*/ 5373 h 10000"/>
              <a:gd name="connsiteX7-235" fmla="*/ 9449 w 10956"/>
              <a:gd name="connsiteY7-236" fmla="*/ 5470 h 10000"/>
              <a:gd name="connsiteX8-237" fmla="*/ 10000 w 10956"/>
              <a:gd name="connsiteY8-238" fmla="*/ 0 h 10000"/>
              <a:gd name="connsiteX9-239" fmla="*/ 10000 w 10956"/>
              <a:gd name="connsiteY9-240" fmla="*/ 0 h 10000"/>
              <a:gd name="connsiteX10-241" fmla="*/ 9940 w 10956"/>
              <a:gd name="connsiteY10-242" fmla="*/ 1168 h 10000"/>
              <a:gd name="connsiteX11" fmla="*/ 9475 w 10956"/>
              <a:gd name="connsiteY11" fmla="*/ 4447 h 10000"/>
              <a:gd name="connsiteX0-243" fmla="*/ 9475 w 10956"/>
              <a:gd name="connsiteY0-244" fmla="*/ 4447 h 10000"/>
              <a:gd name="connsiteX1-245" fmla="*/ 1052 w 10956"/>
              <a:gd name="connsiteY1-246" fmla="*/ 4429 h 10000"/>
              <a:gd name="connsiteX2-247" fmla="*/ 525 w 10956"/>
              <a:gd name="connsiteY2-248" fmla="*/ 9105 h 10000"/>
              <a:gd name="connsiteX3-249" fmla="*/ 0 w 10956"/>
              <a:gd name="connsiteY3-250" fmla="*/ 4429 h 10000"/>
              <a:gd name="connsiteX4-251" fmla="*/ 0 w 10956"/>
              <a:gd name="connsiteY4-252" fmla="*/ 5373 h 10000"/>
              <a:gd name="connsiteX5-253" fmla="*/ 525 w 10956"/>
              <a:gd name="connsiteY5-254" fmla="*/ 10000 h 10000"/>
              <a:gd name="connsiteX6-255" fmla="*/ 1052 w 10956"/>
              <a:gd name="connsiteY6-256" fmla="*/ 5373 h 10000"/>
              <a:gd name="connsiteX7-257" fmla="*/ 9449 w 10956"/>
              <a:gd name="connsiteY7-258" fmla="*/ 5470 h 10000"/>
              <a:gd name="connsiteX8-259" fmla="*/ 10000 w 10956"/>
              <a:gd name="connsiteY8-260" fmla="*/ 0 h 10000"/>
              <a:gd name="connsiteX9-261" fmla="*/ 10000 w 10956"/>
              <a:gd name="connsiteY9-262" fmla="*/ 0 h 10000"/>
              <a:gd name="connsiteX10-263" fmla="*/ 10104 w 10956"/>
              <a:gd name="connsiteY10-264" fmla="*/ 1401 h 10000"/>
              <a:gd name="connsiteX11-265" fmla="*/ 9475 w 10956"/>
              <a:gd name="connsiteY11-266" fmla="*/ 4447 h 10000"/>
              <a:gd name="connsiteX0-267" fmla="*/ 9475 w 10966"/>
              <a:gd name="connsiteY0-268" fmla="*/ 4447 h 10000"/>
              <a:gd name="connsiteX1-269" fmla="*/ 1052 w 10966"/>
              <a:gd name="connsiteY1-270" fmla="*/ 4429 h 10000"/>
              <a:gd name="connsiteX2-271" fmla="*/ 525 w 10966"/>
              <a:gd name="connsiteY2-272" fmla="*/ 9105 h 10000"/>
              <a:gd name="connsiteX3-273" fmla="*/ 0 w 10966"/>
              <a:gd name="connsiteY3-274" fmla="*/ 4429 h 10000"/>
              <a:gd name="connsiteX4-275" fmla="*/ 0 w 10966"/>
              <a:gd name="connsiteY4-276" fmla="*/ 5373 h 10000"/>
              <a:gd name="connsiteX5-277" fmla="*/ 525 w 10966"/>
              <a:gd name="connsiteY5-278" fmla="*/ 10000 h 10000"/>
              <a:gd name="connsiteX6-279" fmla="*/ 1052 w 10966"/>
              <a:gd name="connsiteY6-280" fmla="*/ 5373 h 10000"/>
              <a:gd name="connsiteX7-281" fmla="*/ 9449 w 10966"/>
              <a:gd name="connsiteY7-282" fmla="*/ 5470 h 10000"/>
              <a:gd name="connsiteX8-283" fmla="*/ 10000 w 10966"/>
              <a:gd name="connsiteY8-284" fmla="*/ 0 h 10000"/>
              <a:gd name="connsiteX9-285" fmla="*/ 10000 w 10966"/>
              <a:gd name="connsiteY9-286" fmla="*/ 0 h 10000"/>
              <a:gd name="connsiteX10-287" fmla="*/ 9475 w 10966"/>
              <a:gd name="connsiteY10-288" fmla="*/ 4447 h 10000"/>
              <a:gd name="connsiteX0-289" fmla="*/ 9475 w 10966"/>
              <a:gd name="connsiteY0-290" fmla="*/ 4447 h 10000"/>
              <a:gd name="connsiteX1-291" fmla="*/ 1052 w 10966"/>
              <a:gd name="connsiteY1-292" fmla="*/ 4429 h 10000"/>
              <a:gd name="connsiteX2-293" fmla="*/ 525 w 10966"/>
              <a:gd name="connsiteY2-294" fmla="*/ 9105 h 10000"/>
              <a:gd name="connsiteX3-295" fmla="*/ 0 w 10966"/>
              <a:gd name="connsiteY3-296" fmla="*/ 4429 h 10000"/>
              <a:gd name="connsiteX4-297" fmla="*/ 0 w 10966"/>
              <a:gd name="connsiteY4-298" fmla="*/ 5373 h 10000"/>
              <a:gd name="connsiteX5-299" fmla="*/ 525 w 10966"/>
              <a:gd name="connsiteY5-300" fmla="*/ 10000 h 10000"/>
              <a:gd name="connsiteX6-301" fmla="*/ 1052 w 10966"/>
              <a:gd name="connsiteY6-302" fmla="*/ 5373 h 10000"/>
              <a:gd name="connsiteX7-303" fmla="*/ 9449 w 10966"/>
              <a:gd name="connsiteY7-304" fmla="*/ 5470 h 10000"/>
              <a:gd name="connsiteX8-305" fmla="*/ 10000 w 10966"/>
              <a:gd name="connsiteY8-306" fmla="*/ 0 h 10000"/>
              <a:gd name="connsiteX9-307" fmla="*/ 10060 w 10966"/>
              <a:gd name="connsiteY9-308" fmla="*/ 1567 h 10000"/>
              <a:gd name="connsiteX10-309" fmla="*/ 9475 w 10966"/>
              <a:gd name="connsiteY10-310" fmla="*/ 4447 h 10000"/>
              <a:gd name="connsiteX0-311" fmla="*/ 9475 w 10966"/>
              <a:gd name="connsiteY0-312" fmla="*/ 3647 h 9200"/>
              <a:gd name="connsiteX1-313" fmla="*/ 1052 w 10966"/>
              <a:gd name="connsiteY1-314" fmla="*/ 3629 h 9200"/>
              <a:gd name="connsiteX2-315" fmla="*/ 525 w 10966"/>
              <a:gd name="connsiteY2-316" fmla="*/ 8305 h 9200"/>
              <a:gd name="connsiteX3-317" fmla="*/ 0 w 10966"/>
              <a:gd name="connsiteY3-318" fmla="*/ 3629 h 9200"/>
              <a:gd name="connsiteX4-319" fmla="*/ 0 w 10966"/>
              <a:gd name="connsiteY4-320" fmla="*/ 4573 h 9200"/>
              <a:gd name="connsiteX5-321" fmla="*/ 525 w 10966"/>
              <a:gd name="connsiteY5-322" fmla="*/ 9200 h 9200"/>
              <a:gd name="connsiteX6-323" fmla="*/ 1052 w 10966"/>
              <a:gd name="connsiteY6-324" fmla="*/ 4573 h 9200"/>
              <a:gd name="connsiteX7-325" fmla="*/ 9449 w 10966"/>
              <a:gd name="connsiteY7-326" fmla="*/ 4670 h 9200"/>
              <a:gd name="connsiteX8-327" fmla="*/ 10099 w 10966"/>
              <a:gd name="connsiteY8-328" fmla="*/ 0 h 9200"/>
              <a:gd name="connsiteX9-329" fmla="*/ 10060 w 10966"/>
              <a:gd name="connsiteY9-330" fmla="*/ 767 h 9200"/>
              <a:gd name="connsiteX10-331" fmla="*/ 9475 w 10966"/>
              <a:gd name="connsiteY10-332" fmla="*/ 3647 h 9200"/>
              <a:gd name="connsiteX0-333" fmla="*/ 8640 w 10000"/>
              <a:gd name="connsiteY0-334" fmla="*/ 5401 h 11437"/>
              <a:gd name="connsiteX1-335" fmla="*/ 959 w 10000"/>
              <a:gd name="connsiteY1-336" fmla="*/ 5382 h 11437"/>
              <a:gd name="connsiteX2-337" fmla="*/ 479 w 10000"/>
              <a:gd name="connsiteY2-338" fmla="*/ 10464 h 11437"/>
              <a:gd name="connsiteX3-339" fmla="*/ 0 w 10000"/>
              <a:gd name="connsiteY3-340" fmla="*/ 5382 h 11437"/>
              <a:gd name="connsiteX4-341" fmla="*/ 0 w 10000"/>
              <a:gd name="connsiteY4-342" fmla="*/ 6408 h 11437"/>
              <a:gd name="connsiteX5-343" fmla="*/ 479 w 10000"/>
              <a:gd name="connsiteY5-344" fmla="*/ 11437 h 11437"/>
              <a:gd name="connsiteX6-345" fmla="*/ 959 w 10000"/>
              <a:gd name="connsiteY6-346" fmla="*/ 6408 h 11437"/>
              <a:gd name="connsiteX7-347" fmla="*/ 8617 w 10000"/>
              <a:gd name="connsiteY7-348" fmla="*/ 6513 h 11437"/>
              <a:gd name="connsiteX8-349" fmla="*/ 9209 w 10000"/>
              <a:gd name="connsiteY8-350" fmla="*/ 1437 h 11437"/>
              <a:gd name="connsiteX9-351" fmla="*/ 9119 w 10000"/>
              <a:gd name="connsiteY9-352" fmla="*/ 568 h 11437"/>
              <a:gd name="connsiteX10-353" fmla="*/ 8640 w 10000"/>
              <a:gd name="connsiteY10-354" fmla="*/ 5401 h 11437"/>
              <a:gd name="connsiteX0-355" fmla="*/ 8640 w 9228"/>
              <a:gd name="connsiteY0-356" fmla="*/ 5401 h 11437"/>
              <a:gd name="connsiteX1-357" fmla="*/ 959 w 9228"/>
              <a:gd name="connsiteY1-358" fmla="*/ 5382 h 11437"/>
              <a:gd name="connsiteX2-359" fmla="*/ 479 w 9228"/>
              <a:gd name="connsiteY2-360" fmla="*/ 10464 h 11437"/>
              <a:gd name="connsiteX3-361" fmla="*/ 0 w 9228"/>
              <a:gd name="connsiteY3-362" fmla="*/ 5382 h 11437"/>
              <a:gd name="connsiteX4-363" fmla="*/ 0 w 9228"/>
              <a:gd name="connsiteY4-364" fmla="*/ 6408 h 11437"/>
              <a:gd name="connsiteX5-365" fmla="*/ 479 w 9228"/>
              <a:gd name="connsiteY5-366" fmla="*/ 11437 h 11437"/>
              <a:gd name="connsiteX6-367" fmla="*/ 959 w 9228"/>
              <a:gd name="connsiteY6-368" fmla="*/ 6408 h 11437"/>
              <a:gd name="connsiteX7-369" fmla="*/ 8617 w 9228"/>
              <a:gd name="connsiteY7-370" fmla="*/ 6513 h 11437"/>
              <a:gd name="connsiteX8-371" fmla="*/ 9209 w 9228"/>
              <a:gd name="connsiteY8-372" fmla="*/ 1437 h 11437"/>
              <a:gd name="connsiteX9-373" fmla="*/ 9119 w 9228"/>
              <a:gd name="connsiteY9-374" fmla="*/ 568 h 11437"/>
              <a:gd name="connsiteX10-375" fmla="*/ 8640 w 9228"/>
              <a:gd name="connsiteY10-376" fmla="*/ 5401 h 11437"/>
              <a:gd name="connsiteX0-377" fmla="*/ 9363 w 10000"/>
              <a:gd name="connsiteY0-378" fmla="*/ 4722 h 10000"/>
              <a:gd name="connsiteX1-379" fmla="*/ 1039 w 10000"/>
              <a:gd name="connsiteY1-380" fmla="*/ 4706 h 10000"/>
              <a:gd name="connsiteX2-381" fmla="*/ 519 w 10000"/>
              <a:gd name="connsiteY2-382" fmla="*/ 9149 h 10000"/>
              <a:gd name="connsiteX3-383" fmla="*/ 0 w 10000"/>
              <a:gd name="connsiteY3-384" fmla="*/ 4706 h 10000"/>
              <a:gd name="connsiteX4-385" fmla="*/ 0 w 10000"/>
              <a:gd name="connsiteY4-386" fmla="*/ 5603 h 10000"/>
              <a:gd name="connsiteX5-387" fmla="*/ 519 w 10000"/>
              <a:gd name="connsiteY5-388" fmla="*/ 10000 h 10000"/>
              <a:gd name="connsiteX6-389" fmla="*/ 1039 w 10000"/>
              <a:gd name="connsiteY6-390" fmla="*/ 5603 h 10000"/>
              <a:gd name="connsiteX7-391" fmla="*/ 9338 w 10000"/>
              <a:gd name="connsiteY7-392" fmla="*/ 5695 h 10000"/>
              <a:gd name="connsiteX8-393" fmla="*/ 9979 w 10000"/>
              <a:gd name="connsiteY8-394" fmla="*/ 1256 h 10000"/>
              <a:gd name="connsiteX9-395" fmla="*/ 9882 w 10000"/>
              <a:gd name="connsiteY9-396" fmla="*/ 497 h 10000"/>
              <a:gd name="connsiteX10-397" fmla="*/ 9363 w 10000"/>
              <a:gd name="connsiteY10-398" fmla="*/ 4722 h 10000"/>
              <a:gd name="connsiteX0-399" fmla="*/ 9363 w 10000"/>
              <a:gd name="connsiteY0-400" fmla="*/ 4722 h 10000"/>
              <a:gd name="connsiteX1-401" fmla="*/ 1039 w 10000"/>
              <a:gd name="connsiteY1-402" fmla="*/ 4706 h 10000"/>
              <a:gd name="connsiteX2-403" fmla="*/ 519 w 10000"/>
              <a:gd name="connsiteY2-404" fmla="*/ 9149 h 10000"/>
              <a:gd name="connsiteX3-405" fmla="*/ 0 w 10000"/>
              <a:gd name="connsiteY3-406" fmla="*/ 4706 h 10000"/>
              <a:gd name="connsiteX4-407" fmla="*/ 0 w 10000"/>
              <a:gd name="connsiteY4-408" fmla="*/ 5603 h 10000"/>
              <a:gd name="connsiteX5-409" fmla="*/ 519 w 10000"/>
              <a:gd name="connsiteY5-410" fmla="*/ 10000 h 10000"/>
              <a:gd name="connsiteX6-411" fmla="*/ 1039 w 10000"/>
              <a:gd name="connsiteY6-412" fmla="*/ 5603 h 10000"/>
              <a:gd name="connsiteX7-413" fmla="*/ 9338 w 10000"/>
              <a:gd name="connsiteY7-414" fmla="*/ 5695 h 10000"/>
              <a:gd name="connsiteX8-415" fmla="*/ 9979 w 10000"/>
              <a:gd name="connsiteY8-416" fmla="*/ 1256 h 10000"/>
              <a:gd name="connsiteX9-417" fmla="*/ 9882 w 10000"/>
              <a:gd name="connsiteY9-418" fmla="*/ 497 h 10000"/>
              <a:gd name="connsiteX10-419" fmla="*/ 9363 w 10000"/>
              <a:gd name="connsiteY10-420" fmla="*/ 4722 h 10000"/>
              <a:gd name="connsiteX0-421" fmla="*/ 9363 w 10000"/>
              <a:gd name="connsiteY0-422" fmla="*/ 4722 h 10000"/>
              <a:gd name="connsiteX1-423" fmla="*/ 1039 w 10000"/>
              <a:gd name="connsiteY1-424" fmla="*/ 4706 h 10000"/>
              <a:gd name="connsiteX2-425" fmla="*/ 519 w 10000"/>
              <a:gd name="connsiteY2-426" fmla="*/ 9149 h 10000"/>
              <a:gd name="connsiteX3-427" fmla="*/ 0 w 10000"/>
              <a:gd name="connsiteY3-428" fmla="*/ 4706 h 10000"/>
              <a:gd name="connsiteX4-429" fmla="*/ 0 w 10000"/>
              <a:gd name="connsiteY4-430" fmla="*/ 5603 h 10000"/>
              <a:gd name="connsiteX5-431" fmla="*/ 519 w 10000"/>
              <a:gd name="connsiteY5-432" fmla="*/ 10000 h 10000"/>
              <a:gd name="connsiteX6-433" fmla="*/ 1039 w 10000"/>
              <a:gd name="connsiteY6-434" fmla="*/ 5603 h 10000"/>
              <a:gd name="connsiteX7-435" fmla="*/ 9338 w 10000"/>
              <a:gd name="connsiteY7-436" fmla="*/ 5695 h 10000"/>
              <a:gd name="connsiteX8-437" fmla="*/ 9979 w 10000"/>
              <a:gd name="connsiteY8-438" fmla="*/ 1256 h 10000"/>
              <a:gd name="connsiteX9-439" fmla="*/ 9882 w 10000"/>
              <a:gd name="connsiteY9-440" fmla="*/ 497 h 10000"/>
              <a:gd name="connsiteX10-441" fmla="*/ 9363 w 10000"/>
              <a:gd name="connsiteY10-442" fmla="*/ 4722 h 10000"/>
              <a:gd name="connsiteX0-443" fmla="*/ 9363 w 10000"/>
              <a:gd name="connsiteY0-444" fmla="*/ 4722 h 10000"/>
              <a:gd name="connsiteX1-445" fmla="*/ 1039 w 10000"/>
              <a:gd name="connsiteY1-446" fmla="*/ 4706 h 10000"/>
              <a:gd name="connsiteX2-447" fmla="*/ 519 w 10000"/>
              <a:gd name="connsiteY2-448" fmla="*/ 9149 h 10000"/>
              <a:gd name="connsiteX3-449" fmla="*/ 0 w 10000"/>
              <a:gd name="connsiteY3-450" fmla="*/ 4706 h 10000"/>
              <a:gd name="connsiteX4-451" fmla="*/ 0 w 10000"/>
              <a:gd name="connsiteY4-452" fmla="*/ 5603 h 10000"/>
              <a:gd name="connsiteX5-453" fmla="*/ 519 w 10000"/>
              <a:gd name="connsiteY5-454" fmla="*/ 10000 h 10000"/>
              <a:gd name="connsiteX6-455" fmla="*/ 1039 w 10000"/>
              <a:gd name="connsiteY6-456" fmla="*/ 5603 h 10000"/>
              <a:gd name="connsiteX7-457" fmla="*/ 9338 w 10000"/>
              <a:gd name="connsiteY7-458" fmla="*/ 5695 h 10000"/>
              <a:gd name="connsiteX8-459" fmla="*/ 9979 w 10000"/>
              <a:gd name="connsiteY8-460" fmla="*/ 1256 h 10000"/>
              <a:gd name="connsiteX9-461" fmla="*/ 9882 w 10000"/>
              <a:gd name="connsiteY9-462" fmla="*/ 497 h 10000"/>
              <a:gd name="connsiteX10-463" fmla="*/ 9363 w 10000"/>
              <a:gd name="connsiteY10-464" fmla="*/ 4722 h 10000"/>
              <a:gd name="connsiteX0-465" fmla="*/ 9363 w 10000"/>
              <a:gd name="connsiteY0-466" fmla="*/ 4722 h 10000"/>
              <a:gd name="connsiteX1-467" fmla="*/ 1039 w 10000"/>
              <a:gd name="connsiteY1-468" fmla="*/ 4706 h 10000"/>
              <a:gd name="connsiteX2-469" fmla="*/ 519 w 10000"/>
              <a:gd name="connsiteY2-470" fmla="*/ 9149 h 10000"/>
              <a:gd name="connsiteX3-471" fmla="*/ 0 w 10000"/>
              <a:gd name="connsiteY3-472" fmla="*/ 4706 h 10000"/>
              <a:gd name="connsiteX4-473" fmla="*/ 0 w 10000"/>
              <a:gd name="connsiteY4-474" fmla="*/ 5603 h 10000"/>
              <a:gd name="connsiteX5-475" fmla="*/ 519 w 10000"/>
              <a:gd name="connsiteY5-476" fmla="*/ 10000 h 10000"/>
              <a:gd name="connsiteX6-477" fmla="*/ 1039 w 10000"/>
              <a:gd name="connsiteY6-478" fmla="*/ 5603 h 10000"/>
              <a:gd name="connsiteX7-479" fmla="*/ 9338 w 10000"/>
              <a:gd name="connsiteY7-480" fmla="*/ 5695 h 10000"/>
              <a:gd name="connsiteX8-481" fmla="*/ 9979 w 10000"/>
              <a:gd name="connsiteY8-482" fmla="*/ 1256 h 10000"/>
              <a:gd name="connsiteX9-483" fmla="*/ 9882 w 10000"/>
              <a:gd name="connsiteY9-484" fmla="*/ 497 h 10000"/>
              <a:gd name="connsiteX10-485" fmla="*/ 9363 w 10000"/>
              <a:gd name="connsiteY10-486" fmla="*/ 4722 h 10000"/>
              <a:gd name="connsiteX0-487" fmla="*/ 9363 w 10000"/>
              <a:gd name="connsiteY0-488" fmla="*/ 4722 h 10000"/>
              <a:gd name="connsiteX1-489" fmla="*/ 1039 w 10000"/>
              <a:gd name="connsiteY1-490" fmla="*/ 4706 h 10000"/>
              <a:gd name="connsiteX2-491" fmla="*/ 519 w 10000"/>
              <a:gd name="connsiteY2-492" fmla="*/ 9149 h 10000"/>
              <a:gd name="connsiteX3-493" fmla="*/ 0 w 10000"/>
              <a:gd name="connsiteY3-494" fmla="*/ 4706 h 10000"/>
              <a:gd name="connsiteX4-495" fmla="*/ 0 w 10000"/>
              <a:gd name="connsiteY4-496" fmla="*/ 5603 h 10000"/>
              <a:gd name="connsiteX5-497" fmla="*/ 519 w 10000"/>
              <a:gd name="connsiteY5-498" fmla="*/ 10000 h 10000"/>
              <a:gd name="connsiteX6-499" fmla="*/ 1039 w 10000"/>
              <a:gd name="connsiteY6-500" fmla="*/ 5603 h 10000"/>
              <a:gd name="connsiteX7-501" fmla="*/ 9338 w 10000"/>
              <a:gd name="connsiteY7-502" fmla="*/ 5695 h 10000"/>
              <a:gd name="connsiteX8-503" fmla="*/ 9979 w 10000"/>
              <a:gd name="connsiteY8-504" fmla="*/ 1256 h 10000"/>
              <a:gd name="connsiteX9-505" fmla="*/ 9882 w 10000"/>
              <a:gd name="connsiteY9-506" fmla="*/ 497 h 10000"/>
              <a:gd name="connsiteX10-507" fmla="*/ 9363 w 10000"/>
              <a:gd name="connsiteY10-508" fmla="*/ 4722 h 10000"/>
              <a:gd name="connsiteX0-509" fmla="*/ 9363 w 9903"/>
              <a:gd name="connsiteY0-510" fmla="*/ 4722 h 10000"/>
              <a:gd name="connsiteX1-511" fmla="*/ 1039 w 9903"/>
              <a:gd name="connsiteY1-512" fmla="*/ 4706 h 10000"/>
              <a:gd name="connsiteX2-513" fmla="*/ 519 w 9903"/>
              <a:gd name="connsiteY2-514" fmla="*/ 9149 h 10000"/>
              <a:gd name="connsiteX3-515" fmla="*/ 0 w 9903"/>
              <a:gd name="connsiteY3-516" fmla="*/ 4706 h 10000"/>
              <a:gd name="connsiteX4-517" fmla="*/ 0 w 9903"/>
              <a:gd name="connsiteY4-518" fmla="*/ 5603 h 10000"/>
              <a:gd name="connsiteX5-519" fmla="*/ 519 w 9903"/>
              <a:gd name="connsiteY5-520" fmla="*/ 10000 h 10000"/>
              <a:gd name="connsiteX6-521" fmla="*/ 1039 w 9903"/>
              <a:gd name="connsiteY6-522" fmla="*/ 5603 h 10000"/>
              <a:gd name="connsiteX7-523" fmla="*/ 9338 w 9903"/>
              <a:gd name="connsiteY7-524" fmla="*/ 5695 h 10000"/>
              <a:gd name="connsiteX8-525" fmla="*/ 9882 w 9903"/>
              <a:gd name="connsiteY8-526" fmla="*/ 1351 h 10000"/>
              <a:gd name="connsiteX9-527" fmla="*/ 9882 w 9903"/>
              <a:gd name="connsiteY9-528" fmla="*/ 497 h 10000"/>
              <a:gd name="connsiteX10-529" fmla="*/ 9363 w 9903"/>
              <a:gd name="connsiteY10-530" fmla="*/ 4722 h 10000"/>
              <a:gd name="connsiteX0-531" fmla="*/ 9455 w 10003"/>
              <a:gd name="connsiteY0-532" fmla="*/ 4722 h 10000"/>
              <a:gd name="connsiteX1-533" fmla="*/ 1049 w 10003"/>
              <a:gd name="connsiteY1-534" fmla="*/ 4706 h 10000"/>
              <a:gd name="connsiteX2-535" fmla="*/ 524 w 10003"/>
              <a:gd name="connsiteY2-536" fmla="*/ 9149 h 10000"/>
              <a:gd name="connsiteX3-537" fmla="*/ 0 w 10003"/>
              <a:gd name="connsiteY3-538" fmla="*/ 4706 h 10000"/>
              <a:gd name="connsiteX4-539" fmla="*/ 0 w 10003"/>
              <a:gd name="connsiteY4-540" fmla="*/ 5603 h 10000"/>
              <a:gd name="connsiteX5-541" fmla="*/ 524 w 10003"/>
              <a:gd name="connsiteY5-542" fmla="*/ 10000 h 10000"/>
              <a:gd name="connsiteX6-543" fmla="*/ 1049 w 10003"/>
              <a:gd name="connsiteY6-544" fmla="*/ 5603 h 10000"/>
              <a:gd name="connsiteX7-545" fmla="*/ 9429 w 10003"/>
              <a:gd name="connsiteY7-546" fmla="*/ 5695 h 10000"/>
              <a:gd name="connsiteX8-547" fmla="*/ 9979 w 10003"/>
              <a:gd name="connsiteY8-548" fmla="*/ 1351 h 10000"/>
              <a:gd name="connsiteX9-549" fmla="*/ 9979 w 10003"/>
              <a:gd name="connsiteY9-550" fmla="*/ 497 h 10000"/>
              <a:gd name="connsiteX10-551" fmla="*/ 9455 w 10003"/>
              <a:gd name="connsiteY10-552" fmla="*/ 4722 h 10000"/>
              <a:gd name="connsiteX0-553" fmla="*/ 9455 w 10003"/>
              <a:gd name="connsiteY0-554" fmla="*/ 4722 h 10000"/>
              <a:gd name="connsiteX1-555" fmla="*/ 1049 w 10003"/>
              <a:gd name="connsiteY1-556" fmla="*/ 4706 h 10000"/>
              <a:gd name="connsiteX2-557" fmla="*/ 524 w 10003"/>
              <a:gd name="connsiteY2-558" fmla="*/ 9149 h 10000"/>
              <a:gd name="connsiteX3-559" fmla="*/ 0 w 10003"/>
              <a:gd name="connsiteY3-560" fmla="*/ 4706 h 10000"/>
              <a:gd name="connsiteX4-561" fmla="*/ 0 w 10003"/>
              <a:gd name="connsiteY4-562" fmla="*/ 5603 h 10000"/>
              <a:gd name="connsiteX5-563" fmla="*/ 524 w 10003"/>
              <a:gd name="connsiteY5-564" fmla="*/ 10000 h 10000"/>
              <a:gd name="connsiteX6-565" fmla="*/ 1049 w 10003"/>
              <a:gd name="connsiteY6-566" fmla="*/ 5603 h 10000"/>
              <a:gd name="connsiteX7-567" fmla="*/ 9429 w 10003"/>
              <a:gd name="connsiteY7-568" fmla="*/ 5695 h 10000"/>
              <a:gd name="connsiteX8-569" fmla="*/ 9979 w 10003"/>
              <a:gd name="connsiteY8-570" fmla="*/ 1351 h 10000"/>
              <a:gd name="connsiteX9-571" fmla="*/ 9979 w 10003"/>
              <a:gd name="connsiteY9-572" fmla="*/ 497 h 10000"/>
              <a:gd name="connsiteX10-573" fmla="*/ 9455 w 10003"/>
              <a:gd name="connsiteY10-574" fmla="*/ 4722 h 10000"/>
              <a:gd name="connsiteX0-575" fmla="*/ 9455 w 10003"/>
              <a:gd name="connsiteY0-576" fmla="*/ 4722 h 10000"/>
              <a:gd name="connsiteX1-577" fmla="*/ 1049 w 10003"/>
              <a:gd name="connsiteY1-578" fmla="*/ 4706 h 10000"/>
              <a:gd name="connsiteX2-579" fmla="*/ 524 w 10003"/>
              <a:gd name="connsiteY2-580" fmla="*/ 9149 h 10000"/>
              <a:gd name="connsiteX3-581" fmla="*/ 0 w 10003"/>
              <a:gd name="connsiteY3-582" fmla="*/ 4706 h 10000"/>
              <a:gd name="connsiteX4-583" fmla="*/ 0 w 10003"/>
              <a:gd name="connsiteY4-584" fmla="*/ 5603 h 10000"/>
              <a:gd name="connsiteX5-585" fmla="*/ 524 w 10003"/>
              <a:gd name="connsiteY5-586" fmla="*/ 10000 h 10000"/>
              <a:gd name="connsiteX6-587" fmla="*/ 1049 w 10003"/>
              <a:gd name="connsiteY6-588" fmla="*/ 5603 h 10000"/>
              <a:gd name="connsiteX7-589" fmla="*/ 9429 w 10003"/>
              <a:gd name="connsiteY7-590" fmla="*/ 5695 h 10000"/>
              <a:gd name="connsiteX8-591" fmla="*/ 9979 w 10003"/>
              <a:gd name="connsiteY8-592" fmla="*/ 1351 h 10000"/>
              <a:gd name="connsiteX9-593" fmla="*/ 9979 w 10003"/>
              <a:gd name="connsiteY9-594" fmla="*/ 497 h 10000"/>
              <a:gd name="connsiteX10-595" fmla="*/ 9455 w 10003"/>
              <a:gd name="connsiteY10-596" fmla="*/ 4722 h 10000"/>
              <a:gd name="connsiteX0-597" fmla="*/ 9455 w 10003"/>
              <a:gd name="connsiteY0-598" fmla="*/ 4722 h 10000"/>
              <a:gd name="connsiteX1-599" fmla="*/ 1049 w 10003"/>
              <a:gd name="connsiteY1-600" fmla="*/ 4706 h 10000"/>
              <a:gd name="connsiteX2-601" fmla="*/ 524 w 10003"/>
              <a:gd name="connsiteY2-602" fmla="*/ 9149 h 10000"/>
              <a:gd name="connsiteX3-603" fmla="*/ 0 w 10003"/>
              <a:gd name="connsiteY3-604" fmla="*/ 4706 h 10000"/>
              <a:gd name="connsiteX4-605" fmla="*/ 0 w 10003"/>
              <a:gd name="connsiteY4-606" fmla="*/ 5603 h 10000"/>
              <a:gd name="connsiteX5-607" fmla="*/ 524 w 10003"/>
              <a:gd name="connsiteY5-608" fmla="*/ 10000 h 10000"/>
              <a:gd name="connsiteX6-609" fmla="*/ 1049 w 10003"/>
              <a:gd name="connsiteY6-610" fmla="*/ 5603 h 10000"/>
              <a:gd name="connsiteX7-611" fmla="*/ 9429 w 10003"/>
              <a:gd name="connsiteY7-612" fmla="*/ 5695 h 10000"/>
              <a:gd name="connsiteX8-613" fmla="*/ 9979 w 10003"/>
              <a:gd name="connsiteY8-614" fmla="*/ 1351 h 10000"/>
              <a:gd name="connsiteX9-615" fmla="*/ 9979 w 10003"/>
              <a:gd name="connsiteY9-616" fmla="*/ 497 h 10000"/>
              <a:gd name="connsiteX10-617" fmla="*/ 9455 w 10003"/>
              <a:gd name="connsiteY10-618" fmla="*/ 4722 h 10000"/>
              <a:gd name="connsiteX0-619" fmla="*/ 9455 w 10003"/>
              <a:gd name="connsiteY0-620" fmla="*/ 4722 h 10000"/>
              <a:gd name="connsiteX1-621" fmla="*/ 1049 w 10003"/>
              <a:gd name="connsiteY1-622" fmla="*/ 4706 h 10000"/>
              <a:gd name="connsiteX2-623" fmla="*/ 524 w 10003"/>
              <a:gd name="connsiteY2-624" fmla="*/ 9149 h 10000"/>
              <a:gd name="connsiteX3-625" fmla="*/ 0 w 10003"/>
              <a:gd name="connsiteY3-626" fmla="*/ 4706 h 10000"/>
              <a:gd name="connsiteX4-627" fmla="*/ 0 w 10003"/>
              <a:gd name="connsiteY4-628" fmla="*/ 5603 h 10000"/>
              <a:gd name="connsiteX5-629" fmla="*/ 524 w 10003"/>
              <a:gd name="connsiteY5-630" fmla="*/ 10000 h 10000"/>
              <a:gd name="connsiteX6-631" fmla="*/ 1049 w 10003"/>
              <a:gd name="connsiteY6-632" fmla="*/ 5603 h 10000"/>
              <a:gd name="connsiteX7-633" fmla="*/ 9429 w 10003"/>
              <a:gd name="connsiteY7-634" fmla="*/ 5695 h 10000"/>
              <a:gd name="connsiteX8-635" fmla="*/ 9979 w 10003"/>
              <a:gd name="connsiteY8-636" fmla="*/ 1351 h 10000"/>
              <a:gd name="connsiteX9-637" fmla="*/ 9979 w 10003"/>
              <a:gd name="connsiteY9-638" fmla="*/ 497 h 10000"/>
              <a:gd name="connsiteX10-639" fmla="*/ 9455 w 10003"/>
              <a:gd name="connsiteY10-640" fmla="*/ 4722 h 10000"/>
              <a:gd name="connsiteX0-641" fmla="*/ 9455 w 9982"/>
              <a:gd name="connsiteY0-642" fmla="*/ 4722 h 10000"/>
              <a:gd name="connsiteX1-643" fmla="*/ 1049 w 9982"/>
              <a:gd name="connsiteY1-644" fmla="*/ 4706 h 10000"/>
              <a:gd name="connsiteX2-645" fmla="*/ 524 w 9982"/>
              <a:gd name="connsiteY2-646" fmla="*/ 9149 h 10000"/>
              <a:gd name="connsiteX3-647" fmla="*/ 0 w 9982"/>
              <a:gd name="connsiteY3-648" fmla="*/ 4706 h 10000"/>
              <a:gd name="connsiteX4-649" fmla="*/ 0 w 9982"/>
              <a:gd name="connsiteY4-650" fmla="*/ 5603 h 10000"/>
              <a:gd name="connsiteX5-651" fmla="*/ 524 w 9982"/>
              <a:gd name="connsiteY5-652" fmla="*/ 10000 h 10000"/>
              <a:gd name="connsiteX6-653" fmla="*/ 1049 w 9982"/>
              <a:gd name="connsiteY6-654" fmla="*/ 5603 h 10000"/>
              <a:gd name="connsiteX7-655" fmla="*/ 9429 w 9982"/>
              <a:gd name="connsiteY7-656" fmla="*/ 5695 h 10000"/>
              <a:gd name="connsiteX8-657" fmla="*/ 9979 w 9982"/>
              <a:gd name="connsiteY8-658" fmla="*/ 1351 h 10000"/>
              <a:gd name="connsiteX9-659" fmla="*/ 9979 w 9982"/>
              <a:gd name="connsiteY9-660" fmla="*/ 497 h 10000"/>
              <a:gd name="connsiteX10-661" fmla="*/ 9455 w 9982"/>
              <a:gd name="connsiteY10-662" fmla="*/ 4722 h 10000"/>
              <a:gd name="connsiteX0-663" fmla="*/ 9472 w 10005"/>
              <a:gd name="connsiteY0-664" fmla="*/ 4722 h 10000"/>
              <a:gd name="connsiteX1-665" fmla="*/ 1051 w 10005"/>
              <a:gd name="connsiteY1-666" fmla="*/ 4706 h 10000"/>
              <a:gd name="connsiteX2-667" fmla="*/ 525 w 10005"/>
              <a:gd name="connsiteY2-668" fmla="*/ 9149 h 10000"/>
              <a:gd name="connsiteX3-669" fmla="*/ 0 w 10005"/>
              <a:gd name="connsiteY3-670" fmla="*/ 4706 h 10000"/>
              <a:gd name="connsiteX4-671" fmla="*/ 0 w 10005"/>
              <a:gd name="connsiteY4-672" fmla="*/ 5603 h 10000"/>
              <a:gd name="connsiteX5-673" fmla="*/ 525 w 10005"/>
              <a:gd name="connsiteY5-674" fmla="*/ 10000 h 10000"/>
              <a:gd name="connsiteX6-675" fmla="*/ 1051 w 10005"/>
              <a:gd name="connsiteY6-676" fmla="*/ 5603 h 10000"/>
              <a:gd name="connsiteX7-677" fmla="*/ 9446 w 10005"/>
              <a:gd name="connsiteY7-678" fmla="*/ 5695 h 10000"/>
              <a:gd name="connsiteX8-679" fmla="*/ 9997 w 10005"/>
              <a:gd name="connsiteY8-680" fmla="*/ 1351 h 10000"/>
              <a:gd name="connsiteX9-681" fmla="*/ 9997 w 10005"/>
              <a:gd name="connsiteY9-682" fmla="*/ 497 h 10000"/>
              <a:gd name="connsiteX10-683" fmla="*/ 9472 w 10005"/>
              <a:gd name="connsiteY10-684" fmla="*/ 4722 h 10000"/>
              <a:gd name="connsiteX0-685" fmla="*/ 9472 w 9997"/>
              <a:gd name="connsiteY0-686" fmla="*/ 4722 h 10000"/>
              <a:gd name="connsiteX1-687" fmla="*/ 1051 w 9997"/>
              <a:gd name="connsiteY1-688" fmla="*/ 4706 h 10000"/>
              <a:gd name="connsiteX2-689" fmla="*/ 525 w 9997"/>
              <a:gd name="connsiteY2-690" fmla="*/ 9149 h 10000"/>
              <a:gd name="connsiteX3-691" fmla="*/ 0 w 9997"/>
              <a:gd name="connsiteY3-692" fmla="*/ 4706 h 10000"/>
              <a:gd name="connsiteX4-693" fmla="*/ 0 w 9997"/>
              <a:gd name="connsiteY4-694" fmla="*/ 5603 h 10000"/>
              <a:gd name="connsiteX5-695" fmla="*/ 525 w 9997"/>
              <a:gd name="connsiteY5-696" fmla="*/ 10000 h 10000"/>
              <a:gd name="connsiteX6-697" fmla="*/ 1051 w 9997"/>
              <a:gd name="connsiteY6-698" fmla="*/ 5603 h 10000"/>
              <a:gd name="connsiteX7-699" fmla="*/ 9446 w 9997"/>
              <a:gd name="connsiteY7-700" fmla="*/ 5695 h 10000"/>
              <a:gd name="connsiteX8-701" fmla="*/ 9942 w 9997"/>
              <a:gd name="connsiteY8-702" fmla="*/ 1985 h 10000"/>
              <a:gd name="connsiteX9-703" fmla="*/ 9997 w 9997"/>
              <a:gd name="connsiteY9-704" fmla="*/ 497 h 10000"/>
              <a:gd name="connsiteX10-705" fmla="*/ 9472 w 9997"/>
              <a:gd name="connsiteY10-706" fmla="*/ 4722 h 10000"/>
              <a:gd name="connsiteX0-707" fmla="*/ 9475 w 10008"/>
              <a:gd name="connsiteY0-708" fmla="*/ 4722 h 10000"/>
              <a:gd name="connsiteX1-709" fmla="*/ 1051 w 10008"/>
              <a:gd name="connsiteY1-710" fmla="*/ 4706 h 10000"/>
              <a:gd name="connsiteX2-711" fmla="*/ 525 w 10008"/>
              <a:gd name="connsiteY2-712" fmla="*/ 9149 h 10000"/>
              <a:gd name="connsiteX3-713" fmla="*/ 0 w 10008"/>
              <a:gd name="connsiteY3-714" fmla="*/ 4706 h 10000"/>
              <a:gd name="connsiteX4-715" fmla="*/ 0 w 10008"/>
              <a:gd name="connsiteY4-716" fmla="*/ 5603 h 10000"/>
              <a:gd name="connsiteX5-717" fmla="*/ 525 w 10008"/>
              <a:gd name="connsiteY5-718" fmla="*/ 10000 h 10000"/>
              <a:gd name="connsiteX6-719" fmla="*/ 1051 w 10008"/>
              <a:gd name="connsiteY6-720" fmla="*/ 5603 h 10000"/>
              <a:gd name="connsiteX7-721" fmla="*/ 9449 w 10008"/>
              <a:gd name="connsiteY7-722" fmla="*/ 5695 h 10000"/>
              <a:gd name="connsiteX8-723" fmla="*/ 10000 w 10008"/>
              <a:gd name="connsiteY8-724" fmla="*/ 1319 h 10000"/>
              <a:gd name="connsiteX9-725" fmla="*/ 10000 w 10008"/>
              <a:gd name="connsiteY9-726" fmla="*/ 497 h 10000"/>
              <a:gd name="connsiteX10-727" fmla="*/ 9475 w 10008"/>
              <a:gd name="connsiteY10-728" fmla="*/ 4722 h 10000"/>
              <a:gd name="connsiteX0-729" fmla="*/ 9475 w 10008"/>
              <a:gd name="connsiteY0-730" fmla="*/ 4722 h 10000"/>
              <a:gd name="connsiteX1-731" fmla="*/ 1051 w 10008"/>
              <a:gd name="connsiteY1-732" fmla="*/ 4706 h 10000"/>
              <a:gd name="connsiteX2-733" fmla="*/ 525 w 10008"/>
              <a:gd name="connsiteY2-734" fmla="*/ 9149 h 10000"/>
              <a:gd name="connsiteX3-735" fmla="*/ 0 w 10008"/>
              <a:gd name="connsiteY3-736" fmla="*/ 4706 h 10000"/>
              <a:gd name="connsiteX4-737" fmla="*/ 0 w 10008"/>
              <a:gd name="connsiteY4-738" fmla="*/ 5603 h 10000"/>
              <a:gd name="connsiteX5-739" fmla="*/ 525 w 10008"/>
              <a:gd name="connsiteY5-740" fmla="*/ 10000 h 10000"/>
              <a:gd name="connsiteX6-741" fmla="*/ 1051 w 10008"/>
              <a:gd name="connsiteY6-742" fmla="*/ 5603 h 10000"/>
              <a:gd name="connsiteX7-743" fmla="*/ 9449 w 10008"/>
              <a:gd name="connsiteY7-744" fmla="*/ 5695 h 10000"/>
              <a:gd name="connsiteX8-745" fmla="*/ 10000 w 10008"/>
              <a:gd name="connsiteY8-746" fmla="*/ 1224 h 10000"/>
              <a:gd name="connsiteX9-747" fmla="*/ 10000 w 10008"/>
              <a:gd name="connsiteY9-748" fmla="*/ 497 h 10000"/>
              <a:gd name="connsiteX10-749" fmla="*/ 9475 w 10008"/>
              <a:gd name="connsiteY10-750" fmla="*/ 4722 h 10000"/>
              <a:gd name="connsiteX0-751" fmla="*/ 9475 w 10008"/>
              <a:gd name="connsiteY0-752" fmla="*/ 4722 h 10000"/>
              <a:gd name="connsiteX1-753" fmla="*/ 1051 w 10008"/>
              <a:gd name="connsiteY1-754" fmla="*/ 4706 h 10000"/>
              <a:gd name="connsiteX2-755" fmla="*/ 525 w 10008"/>
              <a:gd name="connsiteY2-756" fmla="*/ 9149 h 10000"/>
              <a:gd name="connsiteX3-757" fmla="*/ 0 w 10008"/>
              <a:gd name="connsiteY3-758" fmla="*/ 4706 h 10000"/>
              <a:gd name="connsiteX4-759" fmla="*/ 0 w 10008"/>
              <a:gd name="connsiteY4-760" fmla="*/ 5603 h 10000"/>
              <a:gd name="connsiteX5-761" fmla="*/ 525 w 10008"/>
              <a:gd name="connsiteY5-762" fmla="*/ 10000 h 10000"/>
              <a:gd name="connsiteX6-763" fmla="*/ 1051 w 10008"/>
              <a:gd name="connsiteY6-764" fmla="*/ 5603 h 10000"/>
              <a:gd name="connsiteX7-765" fmla="*/ 9449 w 10008"/>
              <a:gd name="connsiteY7-766" fmla="*/ 5695 h 10000"/>
              <a:gd name="connsiteX8-767" fmla="*/ 10000 w 10008"/>
              <a:gd name="connsiteY8-768" fmla="*/ 1224 h 10000"/>
              <a:gd name="connsiteX9-769" fmla="*/ 10000 w 10008"/>
              <a:gd name="connsiteY9-770" fmla="*/ 497 h 10000"/>
              <a:gd name="connsiteX10-771" fmla="*/ 9475 w 10008"/>
              <a:gd name="connsiteY10-772" fmla="*/ 4722 h 10000"/>
              <a:gd name="connsiteX0-773" fmla="*/ 9475 w 10008"/>
              <a:gd name="connsiteY0-774" fmla="*/ 4722 h 10000"/>
              <a:gd name="connsiteX1-775" fmla="*/ 1051 w 10008"/>
              <a:gd name="connsiteY1-776" fmla="*/ 4706 h 10000"/>
              <a:gd name="connsiteX2-777" fmla="*/ 525 w 10008"/>
              <a:gd name="connsiteY2-778" fmla="*/ 9149 h 10000"/>
              <a:gd name="connsiteX3-779" fmla="*/ 0 w 10008"/>
              <a:gd name="connsiteY3-780" fmla="*/ 4706 h 10000"/>
              <a:gd name="connsiteX4-781" fmla="*/ 0 w 10008"/>
              <a:gd name="connsiteY4-782" fmla="*/ 5603 h 10000"/>
              <a:gd name="connsiteX5-783" fmla="*/ 525 w 10008"/>
              <a:gd name="connsiteY5-784" fmla="*/ 10000 h 10000"/>
              <a:gd name="connsiteX6-785" fmla="*/ 1051 w 10008"/>
              <a:gd name="connsiteY6-786" fmla="*/ 5603 h 10000"/>
              <a:gd name="connsiteX7-787" fmla="*/ 9449 w 10008"/>
              <a:gd name="connsiteY7-788" fmla="*/ 5695 h 10000"/>
              <a:gd name="connsiteX8-789" fmla="*/ 10000 w 10008"/>
              <a:gd name="connsiteY8-790" fmla="*/ 1224 h 10000"/>
              <a:gd name="connsiteX9-791" fmla="*/ 10000 w 10008"/>
              <a:gd name="connsiteY9-792" fmla="*/ 497 h 10000"/>
              <a:gd name="connsiteX10-793" fmla="*/ 9475 w 10008"/>
              <a:gd name="connsiteY10-794" fmla="*/ 4722 h 10000"/>
              <a:gd name="connsiteX0-795" fmla="*/ 9475 w 10008"/>
              <a:gd name="connsiteY0-796" fmla="*/ 4722 h 10000"/>
              <a:gd name="connsiteX1-797" fmla="*/ 1051 w 10008"/>
              <a:gd name="connsiteY1-798" fmla="*/ 4706 h 10000"/>
              <a:gd name="connsiteX2-799" fmla="*/ 525 w 10008"/>
              <a:gd name="connsiteY2-800" fmla="*/ 9149 h 10000"/>
              <a:gd name="connsiteX3-801" fmla="*/ 0 w 10008"/>
              <a:gd name="connsiteY3-802" fmla="*/ 4706 h 10000"/>
              <a:gd name="connsiteX4-803" fmla="*/ 0 w 10008"/>
              <a:gd name="connsiteY4-804" fmla="*/ 5603 h 10000"/>
              <a:gd name="connsiteX5-805" fmla="*/ 525 w 10008"/>
              <a:gd name="connsiteY5-806" fmla="*/ 10000 h 10000"/>
              <a:gd name="connsiteX6-807" fmla="*/ 1051 w 10008"/>
              <a:gd name="connsiteY6-808" fmla="*/ 5603 h 10000"/>
              <a:gd name="connsiteX7-809" fmla="*/ 9449 w 10008"/>
              <a:gd name="connsiteY7-810" fmla="*/ 5695 h 10000"/>
              <a:gd name="connsiteX8-811" fmla="*/ 10000 w 10008"/>
              <a:gd name="connsiteY8-812" fmla="*/ 1224 h 10000"/>
              <a:gd name="connsiteX9-813" fmla="*/ 10000 w 10008"/>
              <a:gd name="connsiteY9-814" fmla="*/ 497 h 10000"/>
              <a:gd name="connsiteX10-815" fmla="*/ 9475 w 10008"/>
              <a:gd name="connsiteY10-816" fmla="*/ 4722 h 10000"/>
              <a:gd name="connsiteX0-817" fmla="*/ 9475 w 10008"/>
              <a:gd name="connsiteY0-818" fmla="*/ 4722 h 10000"/>
              <a:gd name="connsiteX1-819" fmla="*/ 1051 w 10008"/>
              <a:gd name="connsiteY1-820" fmla="*/ 4706 h 10000"/>
              <a:gd name="connsiteX2-821" fmla="*/ 525 w 10008"/>
              <a:gd name="connsiteY2-822" fmla="*/ 9149 h 10000"/>
              <a:gd name="connsiteX3-823" fmla="*/ 0 w 10008"/>
              <a:gd name="connsiteY3-824" fmla="*/ 4706 h 10000"/>
              <a:gd name="connsiteX4-825" fmla="*/ 0 w 10008"/>
              <a:gd name="connsiteY4-826" fmla="*/ 5603 h 10000"/>
              <a:gd name="connsiteX5-827" fmla="*/ 525 w 10008"/>
              <a:gd name="connsiteY5-828" fmla="*/ 10000 h 10000"/>
              <a:gd name="connsiteX6-829" fmla="*/ 1051 w 10008"/>
              <a:gd name="connsiteY6-830" fmla="*/ 5603 h 10000"/>
              <a:gd name="connsiteX7-831" fmla="*/ 9449 w 10008"/>
              <a:gd name="connsiteY7-832" fmla="*/ 5695 h 10000"/>
              <a:gd name="connsiteX8-833" fmla="*/ 10000 w 10008"/>
              <a:gd name="connsiteY8-834" fmla="*/ 1224 h 10000"/>
              <a:gd name="connsiteX9-835" fmla="*/ 10000 w 10008"/>
              <a:gd name="connsiteY9-836" fmla="*/ 497 h 10000"/>
              <a:gd name="connsiteX10-837" fmla="*/ 9475 w 10008"/>
              <a:gd name="connsiteY10-838" fmla="*/ 4722 h 10000"/>
              <a:gd name="connsiteX0-839" fmla="*/ 9475 w 10008"/>
              <a:gd name="connsiteY0-840" fmla="*/ 4722 h 10000"/>
              <a:gd name="connsiteX1-841" fmla="*/ 1051 w 10008"/>
              <a:gd name="connsiteY1-842" fmla="*/ 4706 h 10000"/>
              <a:gd name="connsiteX2-843" fmla="*/ 525 w 10008"/>
              <a:gd name="connsiteY2-844" fmla="*/ 9149 h 10000"/>
              <a:gd name="connsiteX3-845" fmla="*/ 0 w 10008"/>
              <a:gd name="connsiteY3-846" fmla="*/ 4706 h 10000"/>
              <a:gd name="connsiteX4-847" fmla="*/ 0 w 10008"/>
              <a:gd name="connsiteY4-848" fmla="*/ 5603 h 10000"/>
              <a:gd name="connsiteX5-849" fmla="*/ 525 w 10008"/>
              <a:gd name="connsiteY5-850" fmla="*/ 10000 h 10000"/>
              <a:gd name="connsiteX6-851" fmla="*/ 1051 w 10008"/>
              <a:gd name="connsiteY6-852" fmla="*/ 5603 h 10000"/>
              <a:gd name="connsiteX7-853" fmla="*/ 9449 w 10008"/>
              <a:gd name="connsiteY7-854" fmla="*/ 5695 h 10000"/>
              <a:gd name="connsiteX8-855" fmla="*/ 10000 w 10008"/>
              <a:gd name="connsiteY8-856" fmla="*/ 1224 h 10000"/>
              <a:gd name="connsiteX9-857" fmla="*/ 10000 w 10008"/>
              <a:gd name="connsiteY9-858" fmla="*/ 497 h 10000"/>
              <a:gd name="connsiteX10-859" fmla="*/ 9475 w 10008"/>
              <a:gd name="connsiteY10-860" fmla="*/ 4722 h 10000"/>
              <a:gd name="connsiteX0-861" fmla="*/ 9475 w 10008"/>
              <a:gd name="connsiteY0-862" fmla="*/ 4722 h 10000"/>
              <a:gd name="connsiteX1-863" fmla="*/ 1051 w 10008"/>
              <a:gd name="connsiteY1-864" fmla="*/ 4706 h 10000"/>
              <a:gd name="connsiteX2-865" fmla="*/ 525 w 10008"/>
              <a:gd name="connsiteY2-866" fmla="*/ 9149 h 10000"/>
              <a:gd name="connsiteX3-867" fmla="*/ 0 w 10008"/>
              <a:gd name="connsiteY3-868" fmla="*/ 4706 h 10000"/>
              <a:gd name="connsiteX4-869" fmla="*/ 0 w 10008"/>
              <a:gd name="connsiteY4-870" fmla="*/ 5603 h 10000"/>
              <a:gd name="connsiteX5-871" fmla="*/ 525 w 10008"/>
              <a:gd name="connsiteY5-872" fmla="*/ 10000 h 10000"/>
              <a:gd name="connsiteX6-873" fmla="*/ 1051 w 10008"/>
              <a:gd name="connsiteY6-874" fmla="*/ 5603 h 10000"/>
              <a:gd name="connsiteX7-875" fmla="*/ 9449 w 10008"/>
              <a:gd name="connsiteY7-876" fmla="*/ 5695 h 10000"/>
              <a:gd name="connsiteX8-877" fmla="*/ 10000 w 10008"/>
              <a:gd name="connsiteY8-878" fmla="*/ 1224 h 10000"/>
              <a:gd name="connsiteX9-879" fmla="*/ 10000 w 10008"/>
              <a:gd name="connsiteY9-880" fmla="*/ 497 h 10000"/>
              <a:gd name="connsiteX10-881" fmla="*/ 9475 w 10008"/>
              <a:gd name="connsiteY10-882" fmla="*/ 4722 h 100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  <a:cxn ang="0">
                <a:pos x="connsiteX9-19" y="connsiteY9-20"/>
              </a:cxn>
              <a:cxn ang="0">
                <a:pos x="connsiteX10-21" y="connsiteY10-22"/>
              </a:cxn>
            </a:cxnLst>
            <a:rect l="l" t="t" r="r" b="b"/>
            <a:pathLst>
              <a:path w="10008" h="10000">
                <a:moveTo>
                  <a:pt x="9475" y="4722"/>
                </a:moveTo>
                <a:lnTo>
                  <a:pt x="1051" y="4706"/>
                </a:lnTo>
                <a:cubicBezTo>
                  <a:pt x="636" y="4706"/>
                  <a:pt x="525" y="9149"/>
                  <a:pt x="525" y="9149"/>
                </a:cubicBezTo>
                <a:cubicBezTo>
                  <a:pt x="525" y="9149"/>
                  <a:pt x="415" y="4706"/>
                  <a:pt x="0" y="4706"/>
                </a:cubicBezTo>
                <a:lnTo>
                  <a:pt x="0" y="5603"/>
                </a:lnTo>
                <a:cubicBezTo>
                  <a:pt x="415" y="5603"/>
                  <a:pt x="525" y="10000"/>
                  <a:pt x="525" y="10000"/>
                </a:cubicBezTo>
                <a:cubicBezTo>
                  <a:pt x="525" y="10000"/>
                  <a:pt x="636" y="5603"/>
                  <a:pt x="1051" y="5603"/>
                </a:cubicBezTo>
                <a:lnTo>
                  <a:pt x="9449" y="5695"/>
                </a:lnTo>
                <a:cubicBezTo>
                  <a:pt x="9827" y="5410"/>
                  <a:pt x="9934" y="2946"/>
                  <a:pt x="10000" y="1224"/>
                </a:cubicBezTo>
                <a:cubicBezTo>
                  <a:pt x="10008" y="1086"/>
                  <a:pt x="10001" y="0"/>
                  <a:pt x="10000" y="497"/>
                </a:cubicBezTo>
                <a:cubicBezTo>
                  <a:pt x="9937" y="1770"/>
                  <a:pt x="9819" y="4623"/>
                  <a:pt x="9475" y="4722"/>
                </a:cubicBezTo>
                <a:close/>
              </a:path>
            </a:pathLst>
          </a:custGeom>
          <a:solidFill>
            <a:srgbClr val="D5D30F"/>
          </a:solidFill>
          <a:ln w="9525">
            <a:noFill/>
            <a:rou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4078" tIns="47039" rIns="94078" bIns="47039"/>
          <a:lstStyle/>
          <a:p>
            <a:pPr defTabSz="863600">
              <a:defRPr/>
            </a:pPr>
            <a:endParaRPr lang="fr-FR" sz="1700" kern="0">
              <a:solidFill>
                <a:sysClr val="windowText" lastClr="000000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pic>
        <p:nvPicPr>
          <p:cNvPr id="4" name="Picture 2" descr="C:\Documents and Settings\sarumuga\Desktop\Subha\CG Univerity\CG Univerity Jobs\University_logo_Col.jp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9467706" y="6112666"/>
            <a:ext cx="1720310" cy="3075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" name="Straight Connector 4"/>
          <p:cNvCxnSpPr/>
          <p:nvPr userDrawn="1"/>
        </p:nvCxnSpPr>
        <p:spPr>
          <a:xfrm>
            <a:off x="0" y="6018163"/>
            <a:ext cx="11522075" cy="0"/>
          </a:xfrm>
          <a:prstGeom prst="line">
            <a:avLst/>
          </a:prstGeom>
          <a:ln w="6350" cap="flat" cmpd="sng" algn="ctr">
            <a:solidFill>
              <a:srgbClr val="D5D30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2" descr="Capgemini_logo_slides.jpg"/>
          <p:cNvPicPr>
            <a:picLocks noChangeAspect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02074" y="6117166"/>
            <a:ext cx="1740313" cy="303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tangle 6"/>
          <p:cNvSpPr/>
          <p:nvPr userDrawn="1"/>
        </p:nvSpPr>
        <p:spPr>
          <a:xfrm>
            <a:off x="2958534" y="6184668"/>
            <a:ext cx="5949071" cy="23550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431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60" dirty="0">
                <a:solidFill>
                  <a:prstClr val="black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The information contained in this document is proprietary and confidential. </a:t>
            </a:r>
            <a:br>
              <a:rPr lang="en-US" sz="660" dirty="0">
                <a:solidFill>
                  <a:prstClr val="black"/>
                </a:solidFill>
                <a:latin typeface="Arial" panose="020B0604020202090204" pitchFamily="34" charset="0"/>
                <a:cs typeface="Arial" panose="020B0604020202090204" pitchFamily="34" charset="0"/>
              </a:rPr>
            </a:br>
            <a:r>
              <a:rPr lang="en-US" sz="660" dirty="0">
                <a:solidFill>
                  <a:prstClr val="black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It is for Capgemini </a:t>
            </a:r>
            <a:r>
              <a:rPr lang="en-US" sz="660">
                <a:solidFill>
                  <a:prstClr val="black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internal use </a:t>
            </a:r>
            <a:r>
              <a:rPr lang="en-US" sz="660" dirty="0">
                <a:solidFill>
                  <a:prstClr val="black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only. Copyright© 2013 Capgemini. All rights reserved.</a:t>
            </a:r>
            <a:endParaRPr lang="en-GB" sz="660" dirty="0">
              <a:solidFill>
                <a:prstClr val="black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8" name="TextBox 7"/>
          <p:cNvSpPr txBox="1"/>
          <p:nvPr userDrawn="1">
            <p:custDataLst>
              <p:tags r:id="rId2"/>
            </p:custDataLst>
          </p:nvPr>
        </p:nvSpPr>
        <p:spPr>
          <a:xfrm>
            <a:off x="4516021" y="6042954"/>
            <a:ext cx="2834109" cy="145424"/>
          </a:xfrm>
          <a:prstGeom prst="rect">
            <a:avLst/>
          </a:prstGeom>
          <a:noFill/>
        </p:spPr>
        <p:txBody>
          <a:bodyPr wrap="none" lIns="0" tIns="0" rIns="0" bIns="0" anchor="ctr">
            <a:spAutoFit/>
          </a:bodyPr>
          <a:lstStyle/>
          <a:p>
            <a:pPr algn="ctr" defTabSz="431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45" dirty="0">
                <a:solidFill>
                  <a:srgbClr val="979797"/>
                </a:solidFill>
                <a:latin typeface="Arial" panose="020B0604020202090204" pitchFamily="34" charset="0"/>
                <a:ea typeface="MS PGothic" pitchFamily="34" charset="-128"/>
              </a:rPr>
              <a:t>Capgemini Agile Framework (CAF) Foundations</a:t>
            </a:r>
            <a:r>
              <a:rPr lang="en-US" sz="945" dirty="0">
                <a:solidFill>
                  <a:srgbClr val="979797"/>
                </a:solidFill>
                <a:latin typeface="Arial" panose="020B0604020202090204" pitchFamily="34" charset="0"/>
                <a:ea typeface="MS PGothic" pitchFamily="34" charset="-128"/>
                <a:cs typeface="Arial" panose="020B0604020202090204" pitchFamily="34" charset="0"/>
              </a:rPr>
              <a:t> - </a:t>
            </a:r>
            <a:fld id="{0B733352-8A1E-453E-B146-B724384CF3CF}" type="slidenum">
              <a:rPr lang="en-US" sz="945" dirty="0" smtClean="0">
                <a:solidFill>
                  <a:srgbClr val="979797"/>
                </a:solidFill>
                <a:latin typeface="Arial" panose="020B0604020202090204" pitchFamily="34" charset="0"/>
                <a:ea typeface="MS PGothic" pitchFamily="34" charset="-128"/>
                <a:cs typeface="Arial" panose="020B0604020202090204" pitchFamily="34" charset="0"/>
              </a:rPr>
              <a:t>‹#›</a:t>
            </a:fld>
            <a:endParaRPr lang="en-US" sz="945" dirty="0">
              <a:solidFill>
                <a:srgbClr val="979797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sp>
        <p:nvSpPr>
          <p:cNvPr id="9" name="Freeform 8"/>
          <p:cNvSpPr/>
          <p:nvPr userDrawn="1"/>
        </p:nvSpPr>
        <p:spPr>
          <a:xfrm>
            <a:off x="390071" y="1362037"/>
            <a:ext cx="10767939" cy="4116111"/>
          </a:xfrm>
          <a:custGeom>
            <a:avLst/>
            <a:gdLst>
              <a:gd name="connsiteX0" fmla="*/ 8521700 w 8521700"/>
              <a:gd name="connsiteY0" fmla="*/ 3124200 h 4356100"/>
              <a:gd name="connsiteX1" fmla="*/ 8521700 w 8521700"/>
              <a:gd name="connsiteY1" fmla="*/ 203200 h 4356100"/>
              <a:gd name="connsiteX2" fmla="*/ 8318500 w 8521700"/>
              <a:gd name="connsiteY2" fmla="*/ 0 h 4356100"/>
              <a:gd name="connsiteX3" fmla="*/ 228600 w 8521700"/>
              <a:gd name="connsiteY3" fmla="*/ 0 h 4356100"/>
              <a:gd name="connsiteX4" fmla="*/ 0 w 8521700"/>
              <a:gd name="connsiteY4" fmla="*/ 215900 h 4356100"/>
              <a:gd name="connsiteX5" fmla="*/ 0 w 8521700"/>
              <a:gd name="connsiteY5" fmla="*/ 4356100 h 4356100"/>
              <a:gd name="connsiteX6" fmla="*/ 6578600 w 8521700"/>
              <a:gd name="connsiteY6" fmla="*/ 4318000 h 4356100"/>
              <a:gd name="connsiteX0-1" fmla="*/ 8532812 w 8532812"/>
              <a:gd name="connsiteY0-2" fmla="*/ 3124200 h 4318000"/>
              <a:gd name="connsiteX1-3" fmla="*/ 8532812 w 8532812"/>
              <a:gd name="connsiteY1-4" fmla="*/ 203200 h 4318000"/>
              <a:gd name="connsiteX2-5" fmla="*/ 8329612 w 8532812"/>
              <a:gd name="connsiteY2-6" fmla="*/ 0 h 4318000"/>
              <a:gd name="connsiteX3-7" fmla="*/ 239712 w 8532812"/>
              <a:gd name="connsiteY3-8" fmla="*/ 0 h 4318000"/>
              <a:gd name="connsiteX4-9" fmla="*/ 11112 w 8532812"/>
              <a:gd name="connsiteY4-10" fmla="*/ 215900 h 4318000"/>
              <a:gd name="connsiteX5-11" fmla="*/ 0 w 8532812"/>
              <a:gd name="connsiteY5-12" fmla="*/ 4318000 h 4318000"/>
              <a:gd name="connsiteX6-13" fmla="*/ 6589712 w 8532812"/>
              <a:gd name="connsiteY6-14" fmla="*/ 4318000 h 4318000"/>
              <a:gd name="connsiteX0-15" fmla="*/ 8532812 w 8532812"/>
              <a:gd name="connsiteY0-16" fmla="*/ 3125893 h 4319693"/>
              <a:gd name="connsiteX1-17" fmla="*/ 8532812 w 8532812"/>
              <a:gd name="connsiteY1-18" fmla="*/ 204893 h 4319693"/>
              <a:gd name="connsiteX2-19" fmla="*/ 8329612 w 8532812"/>
              <a:gd name="connsiteY2-20" fmla="*/ 1693 h 4319693"/>
              <a:gd name="connsiteX3-21" fmla="*/ 239712 w 8532812"/>
              <a:gd name="connsiteY3-22" fmla="*/ 1693 h 4319693"/>
              <a:gd name="connsiteX4-23" fmla="*/ 11112 w 8532812"/>
              <a:gd name="connsiteY4-24" fmla="*/ 217593 h 4319693"/>
              <a:gd name="connsiteX5-25" fmla="*/ 0 w 8532812"/>
              <a:gd name="connsiteY5-26" fmla="*/ 4319693 h 4319693"/>
              <a:gd name="connsiteX6-27" fmla="*/ 6589712 w 8532812"/>
              <a:gd name="connsiteY6-28" fmla="*/ 4319693 h 4319693"/>
              <a:gd name="connsiteX0-29" fmla="*/ 8532812 w 8532812"/>
              <a:gd name="connsiteY0-30" fmla="*/ 3125893 h 4319693"/>
              <a:gd name="connsiteX1-31" fmla="*/ 8532812 w 8532812"/>
              <a:gd name="connsiteY1-32" fmla="*/ 204893 h 4319693"/>
              <a:gd name="connsiteX2-33" fmla="*/ 8329612 w 8532812"/>
              <a:gd name="connsiteY2-34" fmla="*/ 1693 h 4319693"/>
              <a:gd name="connsiteX3-35" fmla="*/ 239712 w 8532812"/>
              <a:gd name="connsiteY3-36" fmla="*/ 1693 h 4319693"/>
              <a:gd name="connsiteX4-37" fmla="*/ 11112 w 8532812"/>
              <a:gd name="connsiteY4-38" fmla="*/ 217593 h 4319693"/>
              <a:gd name="connsiteX5-39" fmla="*/ 0 w 8532812"/>
              <a:gd name="connsiteY5-40" fmla="*/ 4319693 h 4319693"/>
              <a:gd name="connsiteX6-41" fmla="*/ 6589712 w 8532812"/>
              <a:gd name="connsiteY6-42" fmla="*/ 4319693 h 4319693"/>
              <a:gd name="connsiteX0-43" fmla="*/ 8532812 w 8543819"/>
              <a:gd name="connsiteY0-44" fmla="*/ 3141768 h 4335568"/>
              <a:gd name="connsiteX1-45" fmla="*/ 8532812 w 8543819"/>
              <a:gd name="connsiteY1-46" fmla="*/ 220768 h 4335568"/>
              <a:gd name="connsiteX2-47" fmla="*/ 8329612 w 8543819"/>
              <a:gd name="connsiteY2-48" fmla="*/ 17568 h 4335568"/>
              <a:gd name="connsiteX3-49" fmla="*/ 239712 w 8543819"/>
              <a:gd name="connsiteY3-50" fmla="*/ 17568 h 4335568"/>
              <a:gd name="connsiteX4-51" fmla="*/ 11112 w 8543819"/>
              <a:gd name="connsiteY4-52" fmla="*/ 233468 h 4335568"/>
              <a:gd name="connsiteX5-53" fmla="*/ 0 w 8543819"/>
              <a:gd name="connsiteY5-54" fmla="*/ 4335568 h 4335568"/>
              <a:gd name="connsiteX6-55" fmla="*/ 6589712 w 8543819"/>
              <a:gd name="connsiteY6-56" fmla="*/ 4335568 h 4335568"/>
              <a:gd name="connsiteX0-57" fmla="*/ 8582660 w 8593667"/>
              <a:gd name="connsiteY0-58" fmla="*/ 3163147 h 4356947"/>
              <a:gd name="connsiteX1-59" fmla="*/ 8582660 w 8593667"/>
              <a:gd name="connsiteY1-60" fmla="*/ 242147 h 4356947"/>
              <a:gd name="connsiteX2-61" fmla="*/ 8379460 w 8593667"/>
              <a:gd name="connsiteY2-62" fmla="*/ 38947 h 4356947"/>
              <a:gd name="connsiteX3-63" fmla="*/ 289560 w 8593667"/>
              <a:gd name="connsiteY3-64" fmla="*/ 38947 h 4356947"/>
              <a:gd name="connsiteX4-65" fmla="*/ 60960 w 8593667"/>
              <a:gd name="connsiteY4-66" fmla="*/ 254847 h 4356947"/>
              <a:gd name="connsiteX5-67" fmla="*/ 49848 w 8593667"/>
              <a:gd name="connsiteY5-68" fmla="*/ 4356947 h 4356947"/>
              <a:gd name="connsiteX6-69" fmla="*/ 6639560 w 8593667"/>
              <a:gd name="connsiteY6-70" fmla="*/ 4356947 h 4356947"/>
              <a:gd name="connsiteX0-71" fmla="*/ 8582660 w 8593667"/>
              <a:gd name="connsiteY0-72" fmla="*/ 3163147 h 4356947"/>
              <a:gd name="connsiteX1-73" fmla="*/ 8582660 w 8593667"/>
              <a:gd name="connsiteY1-74" fmla="*/ 242147 h 4356947"/>
              <a:gd name="connsiteX2-75" fmla="*/ 8379460 w 8593667"/>
              <a:gd name="connsiteY2-76" fmla="*/ 38947 h 4356947"/>
              <a:gd name="connsiteX3-77" fmla="*/ 289560 w 8593667"/>
              <a:gd name="connsiteY3-78" fmla="*/ 38947 h 4356947"/>
              <a:gd name="connsiteX4-79" fmla="*/ 60960 w 8593667"/>
              <a:gd name="connsiteY4-80" fmla="*/ 254847 h 4356947"/>
              <a:gd name="connsiteX5-81" fmla="*/ 49848 w 8593667"/>
              <a:gd name="connsiteY5-82" fmla="*/ 4356947 h 4356947"/>
              <a:gd name="connsiteX6-83" fmla="*/ 6639560 w 8593667"/>
              <a:gd name="connsiteY6-84" fmla="*/ 4356947 h 4356947"/>
              <a:gd name="connsiteX0-85" fmla="*/ 8566468 w 8577475"/>
              <a:gd name="connsiteY0-86" fmla="*/ 3217122 h 4410922"/>
              <a:gd name="connsiteX1-87" fmla="*/ 8566468 w 8577475"/>
              <a:gd name="connsiteY1-88" fmla="*/ 296122 h 4410922"/>
              <a:gd name="connsiteX2-89" fmla="*/ 8363268 w 8577475"/>
              <a:gd name="connsiteY2-90" fmla="*/ 92922 h 4410922"/>
              <a:gd name="connsiteX3-91" fmla="*/ 273368 w 8577475"/>
              <a:gd name="connsiteY3-92" fmla="*/ 92922 h 4410922"/>
              <a:gd name="connsiteX4-93" fmla="*/ 44768 w 8577475"/>
              <a:gd name="connsiteY4-94" fmla="*/ 308822 h 4410922"/>
              <a:gd name="connsiteX5-95" fmla="*/ 33656 w 8577475"/>
              <a:gd name="connsiteY5-96" fmla="*/ 4410922 h 4410922"/>
              <a:gd name="connsiteX6-97" fmla="*/ 6623368 w 8577475"/>
              <a:gd name="connsiteY6-98" fmla="*/ 4410922 h 4410922"/>
              <a:gd name="connsiteX0-99" fmla="*/ 8566468 w 8577475"/>
              <a:gd name="connsiteY0-100" fmla="*/ 3217122 h 4410922"/>
              <a:gd name="connsiteX1-101" fmla="*/ 8566468 w 8577475"/>
              <a:gd name="connsiteY1-102" fmla="*/ 296122 h 4410922"/>
              <a:gd name="connsiteX2-103" fmla="*/ 8363268 w 8577475"/>
              <a:gd name="connsiteY2-104" fmla="*/ 92922 h 4410922"/>
              <a:gd name="connsiteX3-105" fmla="*/ 273368 w 8577475"/>
              <a:gd name="connsiteY3-106" fmla="*/ 92922 h 4410922"/>
              <a:gd name="connsiteX4-107" fmla="*/ 44768 w 8577475"/>
              <a:gd name="connsiteY4-108" fmla="*/ 308822 h 4410922"/>
              <a:gd name="connsiteX5-109" fmla="*/ 33656 w 8577475"/>
              <a:gd name="connsiteY5-110" fmla="*/ 4410922 h 4410922"/>
              <a:gd name="connsiteX6-111" fmla="*/ 6623368 w 8577475"/>
              <a:gd name="connsiteY6-112" fmla="*/ 4410922 h 4410922"/>
              <a:gd name="connsiteX0-113" fmla="*/ 8577580 w 8588587"/>
              <a:gd name="connsiteY0-114" fmla="*/ 3174259 h 4368059"/>
              <a:gd name="connsiteX1-115" fmla="*/ 8577580 w 8588587"/>
              <a:gd name="connsiteY1-116" fmla="*/ 253259 h 4368059"/>
              <a:gd name="connsiteX2-117" fmla="*/ 8374380 w 8588587"/>
              <a:gd name="connsiteY2-118" fmla="*/ 50059 h 4368059"/>
              <a:gd name="connsiteX3-119" fmla="*/ 284480 w 8588587"/>
              <a:gd name="connsiteY3-120" fmla="*/ 50059 h 4368059"/>
              <a:gd name="connsiteX4-121" fmla="*/ 44768 w 8588587"/>
              <a:gd name="connsiteY4-122" fmla="*/ 308822 h 4368059"/>
              <a:gd name="connsiteX5-123" fmla="*/ 44768 w 8588587"/>
              <a:gd name="connsiteY5-124" fmla="*/ 4368059 h 4368059"/>
              <a:gd name="connsiteX6-125" fmla="*/ 6634480 w 8588587"/>
              <a:gd name="connsiteY6-126" fmla="*/ 4368059 h 4368059"/>
              <a:gd name="connsiteX0-127" fmla="*/ 8553768 w 8564775"/>
              <a:gd name="connsiteY0-128" fmla="*/ 3164734 h 4358534"/>
              <a:gd name="connsiteX1-129" fmla="*/ 8553768 w 8564775"/>
              <a:gd name="connsiteY1-130" fmla="*/ 243734 h 4358534"/>
              <a:gd name="connsiteX2-131" fmla="*/ 8350568 w 8564775"/>
              <a:gd name="connsiteY2-132" fmla="*/ 40534 h 4358534"/>
              <a:gd name="connsiteX3-133" fmla="*/ 260668 w 8564775"/>
              <a:gd name="connsiteY3-134" fmla="*/ 40534 h 4358534"/>
              <a:gd name="connsiteX4-135" fmla="*/ 20956 w 8564775"/>
              <a:gd name="connsiteY4-136" fmla="*/ 299297 h 4358534"/>
              <a:gd name="connsiteX5-137" fmla="*/ 20956 w 8564775"/>
              <a:gd name="connsiteY5-138" fmla="*/ 4358534 h 4358534"/>
              <a:gd name="connsiteX6-139" fmla="*/ 6610668 w 8564775"/>
              <a:gd name="connsiteY6-140" fmla="*/ 4358534 h 4358534"/>
              <a:gd name="connsiteX0-141" fmla="*/ 8553768 w 8564775"/>
              <a:gd name="connsiteY0-142" fmla="*/ 3164734 h 4358534"/>
              <a:gd name="connsiteX1-143" fmla="*/ 8553768 w 8564775"/>
              <a:gd name="connsiteY1-144" fmla="*/ 243734 h 4358534"/>
              <a:gd name="connsiteX2-145" fmla="*/ 8350568 w 8564775"/>
              <a:gd name="connsiteY2-146" fmla="*/ 40534 h 4358534"/>
              <a:gd name="connsiteX3-147" fmla="*/ 260668 w 8564775"/>
              <a:gd name="connsiteY3-148" fmla="*/ 40534 h 4358534"/>
              <a:gd name="connsiteX4-149" fmla="*/ 20956 w 8564775"/>
              <a:gd name="connsiteY4-150" fmla="*/ 299297 h 4358534"/>
              <a:gd name="connsiteX5-151" fmla="*/ 20956 w 8564775"/>
              <a:gd name="connsiteY5-152" fmla="*/ 4302179 h 4358534"/>
              <a:gd name="connsiteX6-153" fmla="*/ 20956 w 8564775"/>
              <a:gd name="connsiteY6-154" fmla="*/ 4358534 h 4358534"/>
              <a:gd name="connsiteX7" fmla="*/ 6610668 w 8564775"/>
              <a:gd name="connsiteY7" fmla="*/ 4358534 h 4358534"/>
              <a:gd name="connsiteX0-155" fmla="*/ 8553768 w 8564775"/>
              <a:gd name="connsiteY0-156" fmla="*/ 3164734 h 4358534"/>
              <a:gd name="connsiteX1-157" fmla="*/ 8553768 w 8564775"/>
              <a:gd name="connsiteY1-158" fmla="*/ 243734 h 4358534"/>
              <a:gd name="connsiteX2-159" fmla="*/ 8350568 w 8564775"/>
              <a:gd name="connsiteY2-160" fmla="*/ 40534 h 4358534"/>
              <a:gd name="connsiteX3-161" fmla="*/ 260668 w 8564775"/>
              <a:gd name="connsiteY3-162" fmla="*/ 40534 h 4358534"/>
              <a:gd name="connsiteX4-163" fmla="*/ 20956 w 8564775"/>
              <a:gd name="connsiteY4-164" fmla="*/ 299297 h 4358534"/>
              <a:gd name="connsiteX5-165" fmla="*/ 20956 w 8564775"/>
              <a:gd name="connsiteY5-166" fmla="*/ 4302179 h 4358534"/>
              <a:gd name="connsiteX6-167" fmla="*/ 20956 w 8564775"/>
              <a:gd name="connsiteY6-168" fmla="*/ 4358534 h 4358534"/>
              <a:gd name="connsiteX7-169" fmla="*/ 78106 w 8564775"/>
              <a:gd name="connsiteY7-170" fmla="*/ 4356948 h 4358534"/>
              <a:gd name="connsiteX8" fmla="*/ 6610668 w 8564775"/>
              <a:gd name="connsiteY8" fmla="*/ 4358534 h 4358534"/>
              <a:gd name="connsiteX0-171" fmla="*/ 8553768 w 8564775"/>
              <a:gd name="connsiteY0-172" fmla="*/ 3164734 h 4358534"/>
              <a:gd name="connsiteX1-173" fmla="*/ 8553768 w 8564775"/>
              <a:gd name="connsiteY1-174" fmla="*/ 243734 h 4358534"/>
              <a:gd name="connsiteX2-175" fmla="*/ 8350568 w 8564775"/>
              <a:gd name="connsiteY2-176" fmla="*/ 40534 h 4358534"/>
              <a:gd name="connsiteX3-177" fmla="*/ 260668 w 8564775"/>
              <a:gd name="connsiteY3-178" fmla="*/ 40534 h 4358534"/>
              <a:gd name="connsiteX4-179" fmla="*/ 20956 w 8564775"/>
              <a:gd name="connsiteY4-180" fmla="*/ 299297 h 4358534"/>
              <a:gd name="connsiteX5-181" fmla="*/ 20956 w 8564775"/>
              <a:gd name="connsiteY5-182" fmla="*/ 4302179 h 4358534"/>
              <a:gd name="connsiteX6-183" fmla="*/ 78106 w 8564775"/>
              <a:gd name="connsiteY6-184" fmla="*/ 4356948 h 4358534"/>
              <a:gd name="connsiteX7-185" fmla="*/ 6610668 w 8564775"/>
              <a:gd name="connsiteY7-186" fmla="*/ 4358534 h 4358534"/>
              <a:gd name="connsiteX0-187" fmla="*/ 8553768 w 8564775"/>
              <a:gd name="connsiteY0-188" fmla="*/ 3164734 h 4389492"/>
              <a:gd name="connsiteX1-189" fmla="*/ 8553768 w 8564775"/>
              <a:gd name="connsiteY1-190" fmla="*/ 243734 h 4389492"/>
              <a:gd name="connsiteX2-191" fmla="*/ 8350568 w 8564775"/>
              <a:gd name="connsiteY2-192" fmla="*/ 40534 h 4389492"/>
              <a:gd name="connsiteX3-193" fmla="*/ 260668 w 8564775"/>
              <a:gd name="connsiteY3-194" fmla="*/ 40534 h 4389492"/>
              <a:gd name="connsiteX4-195" fmla="*/ 20956 w 8564775"/>
              <a:gd name="connsiteY4-196" fmla="*/ 299297 h 4389492"/>
              <a:gd name="connsiteX5-197" fmla="*/ 20956 w 8564775"/>
              <a:gd name="connsiteY5-198" fmla="*/ 4302179 h 4389492"/>
              <a:gd name="connsiteX6-199" fmla="*/ 78106 w 8564775"/>
              <a:gd name="connsiteY6-200" fmla="*/ 4356948 h 4389492"/>
              <a:gd name="connsiteX7-201" fmla="*/ 6610668 w 8564775"/>
              <a:gd name="connsiteY7-202" fmla="*/ 4358534 h 4389492"/>
              <a:gd name="connsiteX0-203" fmla="*/ 8553768 w 8564775"/>
              <a:gd name="connsiteY0-204" fmla="*/ 3164734 h 4358534"/>
              <a:gd name="connsiteX1-205" fmla="*/ 8553768 w 8564775"/>
              <a:gd name="connsiteY1-206" fmla="*/ 243734 h 4358534"/>
              <a:gd name="connsiteX2-207" fmla="*/ 8350568 w 8564775"/>
              <a:gd name="connsiteY2-208" fmla="*/ 40534 h 4358534"/>
              <a:gd name="connsiteX3-209" fmla="*/ 260668 w 8564775"/>
              <a:gd name="connsiteY3-210" fmla="*/ 40534 h 4358534"/>
              <a:gd name="connsiteX4-211" fmla="*/ 20956 w 8564775"/>
              <a:gd name="connsiteY4-212" fmla="*/ 299297 h 4358534"/>
              <a:gd name="connsiteX5-213" fmla="*/ 20956 w 8564775"/>
              <a:gd name="connsiteY5-214" fmla="*/ 4256935 h 4358534"/>
              <a:gd name="connsiteX6-215" fmla="*/ 78106 w 8564775"/>
              <a:gd name="connsiteY6-216" fmla="*/ 4356948 h 4358534"/>
              <a:gd name="connsiteX7-217" fmla="*/ 6610668 w 8564775"/>
              <a:gd name="connsiteY7-218" fmla="*/ 4358534 h 4358534"/>
              <a:gd name="connsiteX0-219" fmla="*/ 8553768 w 8564775"/>
              <a:gd name="connsiteY0-220" fmla="*/ 3164734 h 4358535"/>
              <a:gd name="connsiteX1-221" fmla="*/ 8553768 w 8564775"/>
              <a:gd name="connsiteY1-222" fmla="*/ 243734 h 4358535"/>
              <a:gd name="connsiteX2-223" fmla="*/ 8350568 w 8564775"/>
              <a:gd name="connsiteY2-224" fmla="*/ 40534 h 4358535"/>
              <a:gd name="connsiteX3-225" fmla="*/ 260668 w 8564775"/>
              <a:gd name="connsiteY3-226" fmla="*/ 40534 h 4358535"/>
              <a:gd name="connsiteX4-227" fmla="*/ 20956 w 8564775"/>
              <a:gd name="connsiteY4-228" fmla="*/ 299297 h 4358535"/>
              <a:gd name="connsiteX5-229" fmla="*/ 20956 w 8564775"/>
              <a:gd name="connsiteY5-230" fmla="*/ 4256935 h 4358535"/>
              <a:gd name="connsiteX6-231" fmla="*/ 113825 w 8564775"/>
              <a:gd name="connsiteY6-232" fmla="*/ 4358535 h 4358535"/>
              <a:gd name="connsiteX7-233" fmla="*/ 6610668 w 8564775"/>
              <a:gd name="connsiteY7-234" fmla="*/ 4358534 h 4358535"/>
              <a:gd name="connsiteX0-235" fmla="*/ 8553768 w 8564775"/>
              <a:gd name="connsiteY0-236" fmla="*/ 3164734 h 4367267"/>
              <a:gd name="connsiteX1-237" fmla="*/ 8553768 w 8564775"/>
              <a:gd name="connsiteY1-238" fmla="*/ 243734 h 4367267"/>
              <a:gd name="connsiteX2-239" fmla="*/ 8350568 w 8564775"/>
              <a:gd name="connsiteY2-240" fmla="*/ 40534 h 4367267"/>
              <a:gd name="connsiteX3-241" fmla="*/ 260668 w 8564775"/>
              <a:gd name="connsiteY3-242" fmla="*/ 40534 h 4367267"/>
              <a:gd name="connsiteX4-243" fmla="*/ 20956 w 8564775"/>
              <a:gd name="connsiteY4-244" fmla="*/ 299297 h 4367267"/>
              <a:gd name="connsiteX5-245" fmla="*/ 20956 w 8564775"/>
              <a:gd name="connsiteY5-246" fmla="*/ 4256935 h 4367267"/>
              <a:gd name="connsiteX6-247" fmla="*/ 113825 w 8564775"/>
              <a:gd name="connsiteY6-248" fmla="*/ 4358535 h 4367267"/>
              <a:gd name="connsiteX7-249" fmla="*/ 6610668 w 8564775"/>
              <a:gd name="connsiteY7-250" fmla="*/ 4358534 h 4367267"/>
              <a:gd name="connsiteX0-251" fmla="*/ 8553768 w 8564775"/>
              <a:gd name="connsiteY0-252" fmla="*/ 3164734 h 4367267"/>
              <a:gd name="connsiteX1-253" fmla="*/ 8553768 w 8564775"/>
              <a:gd name="connsiteY1-254" fmla="*/ 243734 h 4367267"/>
              <a:gd name="connsiteX2-255" fmla="*/ 8350568 w 8564775"/>
              <a:gd name="connsiteY2-256" fmla="*/ 40534 h 4367267"/>
              <a:gd name="connsiteX3-257" fmla="*/ 167799 w 8564775"/>
              <a:gd name="connsiteY3-258" fmla="*/ 43710 h 4367267"/>
              <a:gd name="connsiteX4-259" fmla="*/ 20956 w 8564775"/>
              <a:gd name="connsiteY4-260" fmla="*/ 299297 h 4367267"/>
              <a:gd name="connsiteX5-261" fmla="*/ 20956 w 8564775"/>
              <a:gd name="connsiteY5-262" fmla="*/ 4256935 h 4367267"/>
              <a:gd name="connsiteX6-263" fmla="*/ 113825 w 8564775"/>
              <a:gd name="connsiteY6-264" fmla="*/ 4358535 h 4367267"/>
              <a:gd name="connsiteX7-265" fmla="*/ 6610668 w 8564775"/>
              <a:gd name="connsiteY7-266" fmla="*/ 4358534 h 4367267"/>
              <a:gd name="connsiteX0-267" fmla="*/ 8553768 w 8564775"/>
              <a:gd name="connsiteY0-268" fmla="*/ 3309991 h 4512524"/>
              <a:gd name="connsiteX1-269" fmla="*/ 8553768 w 8564775"/>
              <a:gd name="connsiteY1-270" fmla="*/ 388991 h 4512524"/>
              <a:gd name="connsiteX2-271" fmla="*/ 8350568 w 8564775"/>
              <a:gd name="connsiteY2-272" fmla="*/ 185791 h 4512524"/>
              <a:gd name="connsiteX3-273" fmla="*/ 167799 w 8564775"/>
              <a:gd name="connsiteY3-274" fmla="*/ 188967 h 4512524"/>
              <a:gd name="connsiteX4-275" fmla="*/ 20956 w 8564775"/>
              <a:gd name="connsiteY4-276" fmla="*/ 299297 h 4512524"/>
              <a:gd name="connsiteX5-277" fmla="*/ 20956 w 8564775"/>
              <a:gd name="connsiteY5-278" fmla="*/ 4402192 h 4512524"/>
              <a:gd name="connsiteX6-279" fmla="*/ 113825 w 8564775"/>
              <a:gd name="connsiteY6-280" fmla="*/ 4503792 h 4512524"/>
              <a:gd name="connsiteX7-281" fmla="*/ 6610668 w 8564775"/>
              <a:gd name="connsiteY7-282" fmla="*/ 4503791 h 4512524"/>
              <a:gd name="connsiteX0-283" fmla="*/ 8553768 w 8564775"/>
              <a:gd name="connsiteY0-284" fmla="*/ 3343329 h 4545862"/>
              <a:gd name="connsiteX1-285" fmla="*/ 8553768 w 8564775"/>
              <a:gd name="connsiteY1-286" fmla="*/ 422329 h 4545862"/>
              <a:gd name="connsiteX2-287" fmla="*/ 8350568 w 8564775"/>
              <a:gd name="connsiteY2-288" fmla="*/ 219129 h 4545862"/>
              <a:gd name="connsiteX3-289" fmla="*/ 167799 w 8564775"/>
              <a:gd name="connsiteY3-290" fmla="*/ 222305 h 4545862"/>
              <a:gd name="connsiteX4-291" fmla="*/ 20956 w 8564775"/>
              <a:gd name="connsiteY4-292" fmla="*/ 299297 h 4545862"/>
              <a:gd name="connsiteX5-293" fmla="*/ 20956 w 8564775"/>
              <a:gd name="connsiteY5-294" fmla="*/ 4435530 h 4545862"/>
              <a:gd name="connsiteX6-295" fmla="*/ 113825 w 8564775"/>
              <a:gd name="connsiteY6-296" fmla="*/ 4537130 h 4545862"/>
              <a:gd name="connsiteX7-297" fmla="*/ 6610668 w 8564775"/>
              <a:gd name="connsiteY7-298" fmla="*/ 4537129 h 4545862"/>
              <a:gd name="connsiteX0-299" fmla="*/ 8545037 w 8556044"/>
              <a:gd name="connsiteY0-300" fmla="*/ 3152829 h 4355362"/>
              <a:gd name="connsiteX1-301" fmla="*/ 8545037 w 8556044"/>
              <a:gd name="connsiteY1-302" fmla="*/ 231829 h 4355362"/>
              <a:gd name="connsiteX2-303" fmla="*/ 8341837 w 8556044"/>
              <a:gd name="connsiteY2-304" fmla="*/ 28629 h 4355362"/>
              <a:gd name="connsiteX3-305" fmla="*/ 159068 w 8556044"/>
              <a:gd name="connsiteY3-306" fmla="*/ 31805 h 4355362"/>
              <a:gd name="connsiteX4-307" fmla="*/ 12225 w 8556044"/>
              <a:gd name="connsiteY4-308" fmla="*/ 108797 h 4355362"/>
              <a:gd name="connsiteX5-309" fmla="*/ 12225 w 8556044"/>
              <a:gd name="connsiteY5-310" fmla="*/ 4245030 h 4355362"/>
              <a:gd name="connsiteX6-311" fmla="*/ 105094 w 8556044"/>
              <a:gd name="connsiteY6-312" fmla="*/ 4346630 h 4355362"/>
              <a:gd name="connsiteX7-313" fmla="*/ 6601937 w 8556044"/>
              <a:gd name="connsiteY7-314" fmla="*/ 4346629 h 4355362"/>
              <a:gd name="connsiteX0-315" fmla="*/ 8590280 w 8601287"/>
              <a:gd name="connsiteY0-316" fmla="*/ 3152829 h 4355362"/>
              <a:gd name="connsiteX1-317" fmla="*/ 8590280 w 8601287"/>
              <a:gd name="connsiteY1-318" fmla="*/ 231829 h 4355362"/>
              <a:gd name="connsiteX2-319" fmla="*/ 8387080 w 8601287"/>
              <a:gd name="connsiteY2-320" fmla="*/ 28629 h 4355362"/>
              <a:gd name="connsiteX3-321" fmla="*/ 159068 w 8601287"/>
              <a:gd name="connsiteY3-322" fmla="*/ 31805 h 4355362"/>
              <a:gd name="connsiteX4-323" fmla="*/ 57468 w 8601287"/>
              <a:gd name="connsiteY4-324" fmla="*/ 108797 h 4355362"/>
              <a:gd name="connsiteX5-325" fmla="*/ 57468 w 8601287"/>
              <a:gd name="connsiteY5-326" fmla="*/ 4245030 h 4355362"/>
              <a:gd name="connsiteX6-327" fmla="*/ 150337 w 8601287"/>
              <a:gd name="connsiteY6-328" fmla="*/ 4346630 h 4355362"/>
              <a:gd name="connsiteX7-329" fmla="*/ 6647180 w 8601287"/>
              <a:gd name="connsiteY7-330" fmla="*/ 4346629 h 4355362"/>
              <a:gd name="connsiteX0-331" fmla="*/ 8537575 w 8548582"/>
              <a:gd name="connsiteY0-332" fmla="*/ 3152829 h 4355362"/>
              <a:gd name="connsiteX1-333" fmla="*/ 8537575 w 8548582"/>
              <a:gd name="connsiteY1-334" fmla="*/ 231829 h 4355362"/>
              <a:gd name="connsiteX2-335" fmla="*/ 8334375 w 8548582"/>
              <a:gd name="connsiteY2-336" fmla="*/ 28629 h 4355362"/>
              <a:gd name="connsiteX3-337" fmla="*/ 106363 w 8548582"/>
              <a:gd name="connsiteY3-338" fmla="*/ 31805 h 4355362"/>
              <a:gd name="connsiteX4-339" fmla="*/ 4763 w 8548582"/>
              <a:gd name="connsiteY4-340" fmla="*/ 108797 h 4355362"/>
              <a:gd name="connsiteX5-341" fmla="*/ 4763 w 8548582"/>
              <a:gd name="connsiteY5-342" fmla="*/ 4245030 h 4355362"/>
              <a:gd name="connsiteX6-343" fmla="*/ 97632 w 8548582"/>
              <a:gd name="connsiteY6-344" fmla="*/ 4346630 h 4355362"/>
              <a:gd name="connsiteX7-345" fmla="*/ 6594475 w 8548582"/>
              <a:gd name="connsiteY7-346" fmla="*/ 4346629 h 4355362"/>
              <a:gd name="connsiteX0-347" fmla="*/ 8537575 w 8548582"/>
              <a:gd name="connsiteY0-348" fmla="*/ 3152829 h 4355362"/>
              <a:gd name="connsiteX1-349" fmla="*/ 8537575 w 8548582"/>
              <a:gd name="connsiteY1-350" fmla="*/ 231829 h 4355362"/>
              <a:gd name="connsiteX2-351" fmla="*/ 8334375 w 8548582"/>
              <a:gd name="connsiteY2-352" fmla="*/ 28629 h 4355362"/>
              <a:gd name="connsiteX3-353" fmla="*/ 106363 w 8548582"/>
              <a:gd name="connsiteY3-354" fmla="*/ 31805 h 4355362"/>
              <a:gd name="connsiteX4-355" fmla="*/ 4763 w 8548582"/>
              <a:gd name="connsiteY4-356" fmla="*/ 108797 h 4355362"/>
              <a:gd name="connsiteX5-357" fmla="*/ 4763 w 8548582"/>
              <a:gd name="connsiteY5-358" fmla="*/ 4245030 h 4355362"/>
              <a:gd name="connsiteX6-359" fmla="*/ 97632 w 8548582"/>
              <a:gd name="connsiteY6-360" fmla="*/ 4346630 h 4355362"/>
              <a:gd name="connsiteX7-361" fmla="*/ 6594475 w 8548582"/>
              <a:gd name="connsiteY7-362" fmla="*/ 4346629 h 4355362"/>
              <a:gd name="connsiteX0-363" fmla="*/ 8537575 w 8548582"/>
              <a:gd name="connsiteY0-364" fmla="*/ 3152829 h 4355362"/>
              <a:gd name="connsiteX1-365" fmla="*/ 8537575 w 8548582"/>
              <a:gd name="connsiteY1-366" fmla="*/ 231829 h 4355362"/>
              <a:gd name="connsiteX2-367" fmla="*/ 8334375 w 8548582"/>
              <a:gd name="connsiteY2-368" fmla="*/ 28629 h 4355362"/>
              <a:gd name="connsiteX3-369" fmla="*/ 106363 w 8548582"/>
              <a:gd name="connsiteY3-370" fmla="*/ 31805 h 4355362"/>
              <a:gd name="connsiteX4-371" fmla="*/ 4763 w 8548582"/>
              <a:gd name="connsiteY4-372" fmla="*/ 108797 h 4355362"/>
              <a:gd name="connsiteX5-373" fmla="*/ 4763 w 8548582"/>
              <a:gd name="connsiteY5-374" fmla="*/ 4245030 h 4355362"/>
              <a:gd name="connsiteX6-375" fmla="*/ 97632 w 8548582"/>
              <a:gd name="connsiteY6-376" fmla="*/ 4346630 h 4355362"/>
              <a:gd name="connsiteX7-377" fmla="*/ 6594475 w 8548582"/>
              <a:gd name="connsiteY7-378" fmla="*/ 4346629 h 4355362"/>
              <a:gd name="connsiteX0-379" fmla="*/ 8537575 w 8548582"/>
              <a:gd name="connsiteY0-380" fmla="*/ 3152829 h 4355362"/>
              <a:gd name="connsiteX1-381" fmla="*/ 8537575 w 8548582"/>
              <a:gd name="connsiteY1-382" fmla="*/ 231829 h 4355362"/>
              <a:gd name="connsiteX2-383" fmla="*/ 8334375 w 8548582"/>
              <a:gd name="connsiteY2-384" fmla="*/ 28629 h 4355362"/>
              <a:gd name="connsiteX3-385" fmla="*/ 106363 w 8548582"/>
              <a:gd name="connsiteY3-386" fmla="*/ 31805 h 4355362"/>
              <a:gd name="connsiteX4-387" fmla="*/ 4763 w 8548582"/>
              <a:gd name="connsiteY4-388" fmla="*/ 108797 h 4355362"/>
              <a:gd name="connsiteX5-389" fmla="*/ 4763 w 8548582"/>
              <a:gd name="connsiteY5-390" fmla="*/ 4245030 h 4355362"/>
              <a:gd name="connsiteX6-391" fmla="*/ 97632 w 8548582"/>
              <a:gd name="connsiteY6-392" fmla="*/ 4346630 h 4355362"/>
              <a:gd name="connsiteX7-393" fmla="*/ 6594475 w 8548582"/>
              <a:gd name="connsiteY7-394" fmla="*/ 4346629 h 4355362"/>
              <a:gd name="connsiteX0-395" fmla="*/ 8537575 w 8548582"/>
              <a:gd name="connsiteY0-396" fmla="*/ 3152829 h 4355362"/>
              <a:gd name="connsiteX1-397" fmla="*/ 8537575 w 8548582"/>
              <a:gd name="connsiteY1-398" fmla="*/ 231829 h 4355362"/>
              <a:gd name="connsiteX2-399" fmla="*/ 8334375 w 8548582"/>
              <a:gd name="connsiteY2-400" fmla="*/ 28629 h 4355362"/>
              <a:gd name="connsiteX3-401" fmla="*/ 106363 w 8548582"/>
              <a:gd name="connsiteY3-402" fmla="*/ 31805 h 4355362"/>
              <a:gd name="connsiteX4-403" fmla="*/ 4763 w 8548582"/>
              <a:gd name="connsiteY4-404" fmla="*/ 108797 h 4355362"/>
              <a:gd name="connsiteX5-405" fmla="*/ 4763 w 8548582"/>
              <a:gd name="connsiteY5-406" fmla="*/ 4245030 h 4355362"/>
              <a:gd name="connsiteX6-407" fmla="*/ 97632 w 8548582"/>
              <a:gd name="connsiteY6-408" fmla="*/ 4346630 h 4355362"/>
              <a:gd name="connsiteX7-409" fmla="*/ 6594475 w 8548582"/>
              <a:gd name="connsiteY7-410" fmla="*/ 4346629 h 4355362"/>
              <a:gd name="connsiteX0-411" fmla="*/ 8537575 w 8548582"/>
              <a:gd name="connsiteY0-412" fmla="*/ 3152829 h 4355362"/>
              <a:gd name="connsiteX1-413" fmla="*/ 8537575 w 8548582"/>
              <a:gd name="connsiteY1-414" fmla="*/ 231829 h 4355362"/>
              <a:gd name="connsiteX2-415" fmla="*/ 8334375 w 8548582"/>
              <a:gd name="connsiteY2-416" fmla="*/ 28629 h 4355362"/>
              <a:gd name="connsiteX3-417" fmla="*/ 106363 w 8548582"/>
              <a:gd name="connsiteY3-418" fmla="*/ 31805 h 4355362"/>
              <a:gd name="connsiteX4-419" fmla="*/ 4763 w 8548582"/>
              <a:gd name="connsiteY4-420" fmla="*/ 108797 h 4355362"/>
              <a:gd name="connsiteX5-421" fmla="*/ 4763 w 8548582"/>
              <a:gd name="connsiteY5-422" fmla="*/ 4245030 h 4355362"/>
              <a:gd name="connsiteX6-423" fmla="*/ 97632 w 8548582"/>
              <a:gd name="connsiteY6-424" fmla="*/ 4346630 h 4355362"/>
              <a:gd name="connsiteX7-425" fmla="*/ 6594475 w 8548582"/>
              <a:gd name="connsiteY7-426" fmla="*/ 4346629 h 4355362"/>
              <a:gd name="connsiteX0-427" fmla="*/ 8537575 w 8548582"/>
              <a:gd name="connsiteY0-428" fmla="*/ 3141768 h 4344301"/>
              <a:gd name="connsiteX1-429" fmla="*/ 8537575 w 8548582"/>
              <a:gd name="connsiteY1-430" fmla="*/ 220768 h 4344301"/>
              <a:gd name="connsiteX2-431" fmla="*/ 8334375 w 8548582"/>
              <a:gd name="connsiteY2-432" fmla="*/ 17568 h 4344301"/>
              <a:gd name="connsiteX3-433" fmla="*/ 106363 w 8548582"/>
              <a:gd name="connsiteY3-434" fmla="*/ 20744 h 4344301"/>
              <a:gd name="connsiteX4-435" fmla="*/ 4762 w 8548582"/>
              <a:gd name="connsiteY4-436" fmla="*/ 109642 h 4344301"/>
              <a:gd name="connsiteX5-437" fmla="*/ 4763 w 8548582"/>
              <a:gd name="connsiteY5-438" fmla="*/ 4233969 h 4344301"/>
              <a:gd name="connsiteX6-439" fmla="*/ 97632 w 8548582"/>
              <a:gd name="connsiteY6-440" fmla="*/ 4335569 h 4344301"/>
              <a:gd name="connsiteX7-441" fmla="*/ 6594475 w 8548582"/>
              <a:gd name="connsiteY7-442" fmla="*/ 4335568 h 4344301"/>
              <a:gd name="connsiteX0-443" fmla="*/ 8539482 w 8550489"/>
              <a:gd name="connsiteY0-444" fmla="*/ 3154417 h 4356950"/>
              <a:gd name="connsiteX1-445" fmla="*/ 8539482 w 8550489"/>
              <a:gd name="connsiteY1-446" fmla="*/ 233417 h 4356950"/>
              <a:gd name="connsiteX2-447" fmla="*/ 8336282 w 8550489"/>
              <a:gd name="connsiteY2-448" fmla="*/ 30217 h 4356950"/>
              <a:gd name="connsiteX3-449" fmla="*/ 108270 w 8550489"/>
              <a:gd name="connsiteY3-450" fmla="*/ 33393 h 4356950"/>
              <a:gd name="connsiteX4-451" fmla="*/ 6669 w 8550489"/>
              <a:gd name="connsiteY4-452" fmla="*/ 122291 h 4356950"/>
              <a:gd name="connsiteX5-453" fmla="*/ 6670 w 8550489"/>
              <a:gd name="connsiteY5-454" fmla="*/ 4246618 h 4356950"/>
              <a:gd name="connsiteX6-455" fmla="*/ 99539 w 8550489"/>
              <a:gd name="connsiteY6-456" fmla="*/ 4348218 h 4356950"/>
              <a:gd name="connsiteX7-457" fmla="*/ 6596382 w 8550489"/>
              <a:gd name="connsiteY7-458" fmla="*/ 4348217 h 4356950"/>
              <a:gd name="connsiteX0-459" fmla="*/ 8539482 w 8550489"/>
              <a:gd name="connsiteY0-460" fmla="*/ 3154417 h 4356950"/>
              <a:gd name="connsiteX1-461" fmla="*/ 8539482 w 8550489"/>
              <a:gd name="connsiteY1-462" fmla="*/ 233417 h 4356950"/>
              <a:gd name="connsiteX2-463" fmla="*/ 8336282 w 8550489"/>
              <a:gd name="connsiteY2-464" fmla="*/ 30217 h 4356950"/>
              <a:gd name="connsiteX3-465" fmla="*/ 103508 w 8550489"/>
              <a:gd name="connsiteY3-466" fmla="*/ 33393 h 4356950"/>
              <a:gd name="connsiteX4-467" fmla="*/ 6669 w 8550489"/>
              <a:gd name="connsiteY4-468" fmla="*/ 122291 h 4356950"/>
              <a:gd name="connsiteX5-469" fmla="*/ 6670 w 8550489"/>
              <a:gd name="connsiteY5-470" fmla="*/ 4246618 h 4356950"/>
              <a:gd name="connsiteX6-471" fmla="*/ 99539 w 8550489"/>
              <a:gd name="connsiteY6-472" fmla="*/ 4348218 h 4356950"/>
              <a:gd name="connsiteX7-473" fmla="*/ 6596382 w 8550489"/>
              <a:gd name="connsiteY7-474" fmla="*/ 4348217 h 4356950"/>
              <a:gd name="connsiteX0-475" fmla="*/ 8539482 w 8550489"/>
              <a:gd name="connsiteY0-476" fmla="*/ 3154417 h 4356950"/>
              <a:gd name="connsiteX1-477" fmla="*/ 8539482 w 8550489"/>
              <a:gd name="connsiteY1-478" fmla="*/ 233417 h 4356950"/>
              <a:gd name="connsiteX2-479" fmla="*/ 8336282 w 8550489"/>
              <a:gd name="connsiteY2-480" fmla="*/ 30217 h 4356950"/>
              <a:gd name="connsiteX3-481" fmla="*/ 103508 w 8550489"/>
              <a:gd name="connsiteY3-482" fmla="*/ 33393 h 4356950"/>
              <a:gd name="connsiteX4-483" fmla="*/ 6669 w 8550489"/>
              <a:gd name="connsiteY4-484" fmla="*/ 122291 h 4356950"/>
              <a:gd name="connsiteX5-485" fmla="*/ 6670 w 8550489"/>
              <a:gd name="connsiteY5-486" fmla="*/ 4246618 h 4356950"/>
              <a:gd name="connsiteX6-487" fmla="*/ 99539 w 8550489"/>
              <a:gd name="connsiteY6-488" fmla="*/ 4348218 h 4356950"/>
              <a:gd name="connsiteX7-489" fmla="*/ 6596382 w 8550489"/>
              <a:gd name="connsiteY7-490" fmla="*/ 4348217 h 4356950"/>
              <a:gd name="connsiteX0-491" fmla="*/ 8539482 w 8550489"/>
              <a:gd name="connsiteY0-492" fmla="*/ 3154417 h 4356950"/>
              <a:gd name="connsiteX1-493" fmla="*/ 8539482 w 8550489"/>
              <a:gd name="connsiteY1-494" fmla="*/ 233417 h 4356950"/>
              <a:gd name="connsiteX2-495" fmla="*/ 8336282 w 8550489"/>
              <a:gd name="connsiteY2-496" fmla="*/ 30217 h 4356950"/>
              <a:gd name="connsiteX3-497" fmla="*/ 103508 w 8550489"/>
              <a:gd name="connsiteY3-498" fmla="*/ 33393 h 4356950"/>
              <a:gd name="connsiteX4-499" fmla="*/ 6669 w 8550489"/>
              <a:gd name="connsiteY4-500" fmla="*/ 122291 h 4356950"/>
              <a:gd name="connsiteX5-501" fmla="*/ 6670 w 8550489"/>
              <a:gd name="connsiteY5-502" fmla="*/ 4246618 h 4356950"/>
              <a:gd name="connsiteX6-503" fmla="*/ 99539 w 8550489"/>
              <a:gd name="connsiteY6-504" fmla="*/ 4348218 h 4356950"/>
              <a:gd name="connsiteX7-505" fmla="*/ 6596382 w 8550489"/>
              <a:gd name="connsiteY7-506" fmla="*/ 4348217 h 4356950"/>
              <a:gd name="connsiteX0-507" fmla="*/ 8539482 w 8550489"/>
              <a:gd name="connsiteY0-508" fmla="*/ 3154417 h 4356950"/>
              <a:gd name="connsiteX1-509" fmla="*/ 8539482 w 8550489"/>
              <a:gd name="connsiteY1-510" fmla="*/ 233417 h 4356950"/>
              <a:gd name="connsiteX2-511" fmla="*/ 8336282 w 8550489"/>
              <a:gd name="connsiteY2-512" fmla="*/ 30217 h 4356950"/>
              <a:gd name="connsiteX3-513" fmla="*/ 103508 w 8550489"/>
              <a:gd name="connsiteY3-514" fmla="*/ 33393 h 4356950"/>
              <a:gd name="connsiteX4-515" fmla="*/ 6669 w 8550489"/>
              <a:gd name="connsiteY4-516" fmla="*/ 122291 h 4356950"/>
              <a:gd name="connsiteX5-517" fmla="*/ 6670 w 8550489"/>
              <a:gd name="connsiteY5-518" fmla="*/ 4246618 h 4356950"/>
              <a:gd name="connsiteX6-519" fmla="*/ 99539 w 8550489"/>
              <a:gd name="connsiteY6-520" fmla="*/ 4348218 h 4356950"/>
              <a:gd name="connsiteX7-521" fmla="*/ 6596382 w 8550489"/>
              <a:gd name="connsiteY7-522" fmla="*/ 4348217 h 4356950"/>
              <a:gd name="connsiteX0-523" fmla="*/ 8539482 w 8550489"/>
              <a:gd name="connsiteY0-524" fmla="*/ 3154417 h 4356950"/>
              <a:gd name="connsiteX1-525" fmla="*/ 8539482 w 8550489"/>
              <a:gd name="connsiteY1-526" fmla="*/ 233417 h 4356950"/>
              <a:gd name="connsiteX2-527" fmla="*/ 8336282 w 8550489"/>
              <a:gd name="connsiteY2-528" fmla="*/ 30217 h 4356950"/>
              <a:gd name="connsiteX3-529" fmla="*/ 103508 w 8550489"/>
              <a:gd name="connsiteY3-530" fmla="*/ 33393 h 4356950"/>
              <a:gd name="connsiteX4-531" fmla="*/ 6669 w 8550489"/>
              <a:gd name="connsiteY4-532" fmla="*/ 122291 h 4356950"/>
              <a:gd name="connsiteX5-533" fmla="*/ 6670 w 8550489"/>
              <a:gd name="connsiteY5-534" fmla="*/ 4246618 h 4356950"/>
              <a:gd name="connsiteX6-535" fmla="*/ 99539 w 8550489"/>
              <a:gd name="connsiteY6-536" fmla="*/ 4348218 h 4356950"/>
              <a:gd name="connsiteX7-537" fmla="*/ 6596382 w 8550489"/>
              <a:gd name="connsiteY7-538" fmla="*/ 4348217 h 4356950"/>
              <a:gd name="connsiteX0-539" fmla="*/ 8539482 w 8550489"/>
              <a:gd name="connsiteY0-540" fmla="*/ 3159230 h 4361763"/>
              <a:gd name="connsiteX1-541" fmla="*/ 8539482 w 8550489"/>
              <a:gd name="connsiteY1-542" fmla="*/ 238230 h 4361763"/>
              <a:gd name="connsiteX2-543" fmla="*/ 8336282 w 8550489"/>
              <a:gd name="connsiteY2-544" fmla="*/ 35030 h 4361763"/>
              <a:gd name="connsiteX3-545" fmla="*/ 103508 w 8550489"/>
              <a:gd name="connsiteY3-546" fmla="*/ 38206 h 4361763"/>
              <a:gd name="connsiteX4-547" fmla="*/ 6669 w 8550489"/>
              <a:gd name="connsiteY4-548" fmla="*/ 127104 h 4361763"/>
              <a:gd name="connsiteX5-549" fmla="*/ 6670 w 8550489"/>
              <a:gd name="connsiteY5-550" fmla="*/ 4251431 h 4361763"/>
              <a:gd name="connsiteX6-551" fmla="*/ 99539 w 8550489"/>
              <a:gd name="connsiteY6-552" fmla="*/ 4353031 h 4361763"/>
              <a:gd name="connsiteX7-553" fmla="*/ 6596382 w 8550489"/>
              <a:gd name="connsiteY7-554" fmla="*/ 4353030 h 4361763"/>
              <a:gd name="connsiteX0-555" fmla="*/ 8539482 w 8550489"/>
              <a:gd name="connsiteY0-556" fmla="*/ 3154417 h 4356950"/>
              <a:gd name="connsiteX1-557" fmla="*/ 8539482 w 8550489"/>
              <a:gd name="connsiteY1-558" fmla="*/ 233417 h 4356950"/>
              <a:gd name="connsiteX2-559" fmla="*/ 8336282 w 8550489"/>
              <a:gd name="connsiteY2-560" fmla="*/ 30217 h 4356950"/>
              <a:gd name="connsiteX3-561" fmla="*/ 103508 w 8550489"/>
              <a:gd name="connsiteY3-562" fmla="*/ 33393 h 4356950"/>
              <a:gd name="connsiteX4-563" fmla="*/ 6669 w 8550489"/>
              <a:gd name="connsiteY4-564" fmla="*/ 122291 h 4356950"/>
              <a:gd name="connsiteX5-565" fmla="*/ 6670 w 8550489"/>
              <a:gd name="connsiteY5-566" fmla="*/ 4246618 h 4356950"/>
              <a:gd name="connsiteX6-567" fmla="*/ 99539 w 8550489"/>
              <a:gd name="connsiteY6-568" fmla="*/ 4348218 h 4356950"/>
              <a:gd name="connsiteX7-569" fmla="*/ 6596382 w 8550489"/>
              <a:gd name="connsiteY7-570" fmla="*/ 4348217 h 4356950"/>
              <a:gd name="connsiteX0-571" fmla="*/ 8539482 w 8550489"/>
              <a:gd name="connsiteY0-572" fmla="*/ 3154417 h 4356950"/>
              <a:gd name="connsiteX1-573" fmla="*/ 8539482 w 8550489"/>
              <a:gd name="connsiteY1-574" fmla="*/ 233417 h 4356950"/>
              <a:gd name="connsiteX2-575" fmla="*/ 8336282 w 8550489"/>
              <a:gd name="connsiteY2-576" fmla="*/ 30217 h 4356950"/>
              <a:gd name="connsiteX3-577" fmla="*/ 103508 w 8550489"/>
              <a:gd name="connsiteY3-578" fmla="*/ 33393 h 4356950"/>
              <a:gd name="connsiteX4-579" fmla="*/ 6669 w 8550489"/>
              <a:gd name="connsiteY4-580" fmla="*/ 122291 h 4356950"/>
              <a:gd name="connsiteX5-581" fmla="*/ 6670 w 8550489"/>
              <a:gd name="connsiteY5-582" fmla="*/ 4246618 h 4356950"/>
              <a:gd name="connsiteX6-583" fmla="*/ 99539 w 8550489"/>
              <a:gd name="connsiteY6-584" fmla="*/ 4348218 h 4356950"/>
              <a:gd name="connsiteX7-585" fmla="*/ 6596382 w 8550489"/>
              <a:gd name="connsiteY7-586" fmla="*/ 4348217 h 4356950"/>
              <a:gd name="connsiteX0-587" fmla="*/ 8539482 w 8550489"/>
              <a:gd name="connsiteY0-588" fmla="*/ 3154417 h 4356950"/>
              <a:gd name="connsiteX1-589" fmla="*/ 8539482 w 8550489"/>
              <a:gd name="connsiteY1-590" fmla="*/ 233417 h 4356950"/>
              <a:gd name="connsiteX2-591" fmla="*/ 8336282 w 8550489"/>
              <a:gd name="connsiteY2-592" fmla="*/ 30217 h 4356950"/>
              <a:gd name="connsiteX3-593" fmla="*/ 103508 w 8550489"/>
              <a:gd name="connsiteY3-594" fmla="*/ 33393 h 4356950"/>
              <a:gd name="connsiteX4-595" fmla="*/ 6669 w 8550489"/>
              <a:gd name="connsiteY4-596" fmla="*/ 122291 h 4356950"/>
              <a:gd name="connsiteX5-597" fmla="*/ 6670 w 8550489"/>
              <a:gd name="connsiteY5-598" fmla="*/ 4246618 h 4356950"/>
              <a:gd name="connsiteX6-599" fmla="*/ 99539 w 8550489"/>
              <a:gd name="connsiteY6-600" fmla="*/ 4348218 h 4356950"/>
              <a:gd name="connsiteX7-601" fmla="*/ 6596382 w 8550489"/>
              <a:gd name="connsiteY7-602" fmla="*/ 4348217 h 4356950"/>
              <a:gd name="connsiteX0-603" fmla="*/ 8539481 w 8550488"/>
              <a:gd name="connsiteY0-604" fmla="*/ 3142511 h 4345044"/>
              <a:gd name="connsiteX1-605" fmla="*/ 8539481 w 8550488"/>
              <a:gd name="connsiteY1-606" fmla="*/ 221511 h 4345044"/>
              <a:gd name="connsiteX2-607" fmla="*/ 8336281 w 8550488"/>
              <a:gd name="connsiteY2-608" fmla="*/ 18311 h 4345044"/>
              <a:gd name="connsiteX3-609" fmla="*/ 103507 w 8550488"/>
              <a:gd name="connsiteY3-610" fmla="*/ 21487 h 4345044"/>
              <a:gd name="connsiteX4-611" fmla="*/ 6669 w 8550488"/>
              <a:gd name="connsiteY4-612" fmla="*/ 122291 h 4345044"/>
              <a:gd name="connsiteX5-613" fmla="*/ 6669 w 8550488"/>
              <a:gd name="connsiteY5-614" fmla="*/ 4234712 h 4345044"/>
              <a:gd name="connsiteX6-615" fmla="*/ 99538 w 8550488"/>
              <a:gd name="connsiteY6-616" fmla="*/ 4336312 h 4345044"/>
              <a:gd name="connsiteX7-617" fmla="*/ 6596381 w 8550488"/>
              <a:gd name="connsiteY7-618" fmla="*/ 4336311 h 4345044"/>
              <a:gd name="connsiteX0-619" fmla="*/ 8539481 w 8550487"/>
              <a:gd name="connsiteY0-620" fmla="*/ 3246543 h 4449076"/>
              <a:gd name="connsiteX1-621" fmla="*/ 8539480 w 8550487"/>
              <a:gd name="connsiteY1-622" fmla="*/ 220768 h 4449076"/>
              <a:gd name="connsiteX2-623" fmla="*/ 8336281 w 8550487"/>
              <a:gd name="connsiteY2-624" fmla="*/ 122343 h 4449076"/>
              <a:gd name="connsiteX3-625" fmla="*/ 103507 w 8550487"/>
              <a:gd name="connsiteY3-626" fmla="*/ 125519 h 4449076"/>
              <a:gd name="connsiteX4-627" fmla="*/ 6669 w 8550487"/>
              <a:gd name="connsiteY4-628" fmla="*/ 226323 h 4449076"/>
              <a:gd name="connsiteX5-629" fmla="*/ 6669 w 8550487"/>
              <a:gd name="connsiteY5-630" fmla="*/ 4338744 h 4449076"/>
              <a:gd name="connsiteX6-631" fmla="*/ 99538 w 8550487"/>
              <a:gd name="connsiteY6-632" fmla="*/ 4440344 h 4449076"/>
              <a:gd name="connsiteX7-633" fmla="*/ 6596381 w 8550487"/>
              <a:gd name="connsiteY7-634" fmla="*/ 4440343 h 4449076"/>
              <a:gd name="connsiteX0-635" fmla="*/ 8539481 w 8597847"/>
              <a:gd name="connsiteY0-636" fmla="*/ 3246543 h 4449076"/>
              <a:gd name="connsiteX1-637" fmla="*/ 8539480 w 8597847"/>
              <a:gd name="connsiteY1-638" fmla="*/ 220768 h 4449076"/>
              <a:gd name="connsiteX2-639" fmla="*/ 8438674 w 8597847"/>
              <a:gd name="connsiteY2-640" fmla="*/ 125519 h 4449076"/>
              <a:gd name="connsiteX3-641" fmla="*/ 103507 w 8597847"/>
              <a:gd name="connsiteY3-642" fmla="*/ 125519 h 4449076"/>
              <a:gd name="connsiteX4-643" fmla="*/ 6669 w 8597847"/>
              <a:gd name="connsiteY4-644" fmla="*/ 226323 h 4449076"/>
              <a:gd name="connsiteX5-645" fmla="*/ 6669 w 8597847"/>
              <a:gd name="connsiteY5-646" fmla="*/ 4338744 h 4449076"/>
              <a:gd name="connsiteX6-647" fmla="*/ 99538 w 8597847"/>
              <a:gd name="connsiteY6-648" fmla="*/ 4440344 h 4449076"/>
              <a:gd name="connsiteX7-649" fmla="*/ 6596381 w 8597847"/>
              <a:gd name="connsiteY7-650" fmla="*/ 4440343 h 4449076"/>
              <a:gd name="connsiteX0-651" fmla="*/ 8539481 w 8550487"/>
              <a:gd name="connsiteY0-652" fmla="*/ 3246543 h 4449076"/>
              <a:gd name="connsiteX1-653" fmla="*/ 8539480 w 8550487"/>
              <a:gd name="connsiteY1-654" fmla="*/ 220768 h 4449076"/>
              <a:gd name="connsiteX2-655" fmla="*/ 8438674 w 8550487"/>
              <a:gd name="connsiteY2-656" fmla="*/ 125519 h 4449076"/>
              <a:gd name="connsiteX3-657" fmla="*/ 103507 w 8550487"/>
              <a:gd name="connsiteY3-658" fmla="*/ 125519 h 4449076"/>
              <a:gd name="connsiteX4-659" fmla="*/ 6669 w 8550487"/>
              <a:gd name="connsiteY4-660" fmla="*/ 226323 h 4449076"/>
              <a:gd name="connsiteX5-661" fmla="*/ 6669 w 8550487"/>
              <a:gd name="connsiteY5-662" fmla="*/ 4338744 h 4449076"/>
              <a:gd name="connsiteX6-663" fmla="*/ 99538 w 8550487"/>
              <a:gd name="connsiteY6-664" fmla="*/ 4440344 h 4449076"/>
              <a:gd name="connsiteX7-665" fmla="*/ 6596381 w 8550487"/>
              <a:gd name="connsiteY7-666" fmla="*/ 4440343 h 4449076"/>
              <a:gd name="connsiteX0-667" fmla="*/ 8539481 w 8556837"/>
              <a:gd name="connsiteY0-668" fmla="*/ 3151293 h 4353826"/>
              <a:gd name="connsiteX1-669" fmla="*/ 8539480 w 8556837"/>
              <a:gd name="connsiteY1-670" fmla="*/ 125518 h 4353826"/>
              <a:gd name="connsiteX2-671" fmla="*/ 8438674 w 8556837"/>
              <a:gd name="connsiteY2-672" fmla="*/ 30269 h 4353826"/>
              <a:gd name="connsiteX3-673" fmla="*/ 103507 w 8556837"/>
              <a:gd name="connsiteY3-674" fmla="*/ 30269 h 4353826"/>
              <a:gd name="connsiteX4-675" fmla="*/ 6669 w 8556837"/>
              <a:gd name="connsiteY4-676" fmla="*/ 131073 h 4353826"/>
              <a:gd name="connsiteX5-677" fmla="*/ 6669 w 8556837"/>
              <a:gd name="connsiteY5-678" fmla="*/ 4243494 h 4353826"/>
              <a:gd name="connsiteX6-679" fmla="*/ 99538 w 8556837"/>
              <a:gd name="connsiteY6-680" fmla="*/ 4345094 h 4353826"/>
              <a:gd name="connsiteX7-681" fmla="*/ 6596381 w 8556837"/>
              <a:gd name="connsiteY7-682" fmla="*/ 4345093 h 4353826"/>
              <a:gd name="connsiteX0-683" fmla="*/ 8539481 w 8539481"/>
              <a:gd name="connsiteY0-684" fmla="*/ 3142511 h 4345044"/>
              <a:gd name="connsiteX1-685" fmla="*/ 8539480 w 8539481"/>
              <a:gd name="connsiteY1-686" fmla="*/ 116736 h 4345044"/>
              <a:gd name="connsiteX2-687" fmla="*/ 8438674 w 8539481"/>
              <a:gd name="connsiteY2-688" fmla="*/ 21487 h 4345044"/>
              <a:gd name="connsiteX3-689" fmla="*/ 103507 w 8539481"/>
              <a:gd name="connsiteY3-690" fmla="*/ 21487 h 4345044"/>
              <a:gd name="connsiteX4-691" fmla="*/ 6669 w 8539481"/>
              <a:gd name="connsiteY4-692" fmla="*/ 122291 h 4345044"/>
              <a:gd name="connsiteX5-693" fmla="*/ 6669 w 8539481"/>
              <a:gd name="connsiteY5-694" fmla="*/ 4234712 h 4345044"/>
              <a:gd name="connsiteX6-695" fmla="*/ 99538 w 8539481"/>
              <a:gd name="connsiteY6-696" fmla="*/ 4336312 h 4345044"/>
              <a:gd name="connsiteX7-697" fmla="*/ 6596381 w 8539481"/>
              <a:gd name="connsiteY7-698" fmla="*/ 4336311 h 4345044"/>
              <a:gd name="connsiteX0-699" fmla="*/ 8539481 w 8539481"/>
              <a:gd name="connsiteY0-700" fmla="*/ 3148119 h 4350652"/>
              <a:gd name="connsiteX1-701" fmla="*/ 8539480 w 8539481"/>
              <a:gd name="connsiteY1-702" fmla="*/ 122344 h 4350652"/>
              <a:gd name="connsiteX2-703" fmla="*/ 8438674 w 8539481"/>
              <a:gd name="connsiteY2-704" fmla="*/ 27095 h 4350652"/>
              <a:gd name="connsiteX3-705" fmla="*/ 103507 w 8539481"/>
              <a:gd name="connsiteY3-706" fmla="*/ 27095 h 4350652"/>
              <a:gd name="connsiteX4-707" fmla="*/ 6669 w 8539481"/>
              <a:gd name="connsiteY4-708" fmla="*/ 127899 h 4350652"/>
              <a:gd name="connsiteX5-709" fmla="*/ 6669 w 8539481"/>
              <a:gd name="connsiteY5-710" fmla="*/ 4240320 h 4350652"/>
              <a:gd name="connsiteX6-711" fmla="*/ 99538 w 8539481"/>
              <a:gd name="connsiteY6-712" fmla="*/ 4341920 h 4350652"/>
              <a:gd name="connsiteX7-713" fmla="*/ 6596381 w 8539481"/>
              <a:gd name="connsiteY7-714" fmla="*/ 4341919 h 4350652"/>
              <a:gd name="connsiteX0-715" fmla="*/ 8539481 w 8539481"/>
              <a:gd name="connsiteY0-716" fmla="*/ 3148119 h 4350652"/>
              <a:gd name="connsiteX1-717" fmla="*/ 8539480 w 8539481"/>
              <a:gd name="connsiteY1-718" fmla="*/ 122344 h 4350652"/>
              <a:gd name="connsiteX2-719" fmla="*/ 8438674 w 8539481"/>
              <a:gd name="connsiteY2-720" fmla="*/ 27095 h 4350652"/>
              <a:gd name="connsiteX3-721" fmla="*/ 103507 w 8539481"/>
              <a:gd name="connsiteY3-722" fmla="*/ 27095 h 4350652"/>
              <a:gd name="connsiteX4-723" fmla="*/ 6669 w 8539481"/>
              <a:gd name="connsiteY4-724" fmla="*/ 127899 h 4350652"/>
              <a:gd name="connsiteX5-725" fmla="*/ 6669 w 8539481"/>
              <a:gd name="connsiteY5-726" fmla="*/ 4240320 h 4350652"/>
              <a:gd name="connsiteX6-727" fmla="*/ 99538 w 8539481"/>
              <a:gd name="connsiteY6-728" fmla="*/ 4341920 h 4350652"/>
              <a:gd name="connsiteX7-729" fmla="*/ 6596381 w 8539481"/>
              <a:gd name="connsiteY7-730" fmla="*/ 4341919 h 4350652"/>
              <a:gd name="connsiteX0-731" fmla="*/ 8539481 w 8539481"/>
              <a:gd name="connsiteY0-732" fmla="*/ 3148119 h 4350652"/>
              <a:gd name="connsiteX1-733" fmla="*/ 8539480 w 8539481"/>
              <a:gd name="connsiteY1-734" fmla="*/ 122344 h 4350652"/>
              <a:gd name="connsiteX2-735" fmla="*/ 8438674 w 8539481"/>
              <a:gd name="connsiteY2-736" fmla="*/ 27095 h 4350652"/>
              <a:gd name="connsiteX3-737" fmla="*/ 103507 w 8539481"/>
              <a:gd name="connsiteY3-738" fmla="*/ 27095 h 4350652"/>
              <a:gd name="connsiteX4-739" fmla="*/ 6669 w 8539481"/>
              <a:gd name="connsiteY4-740" fmla="*/ 127899 h 4350652"/>
              <a:gd name="connsiteX5-741" fmla="*/ 6669 w 8539481"/>
              <a:gd name="connsiteY5-742" fmla="*/ 4240320 h 4350652"/>
              <a:gd name="connsiteX6-743" fmla="*/ 99538 w 8539481"/>
              <a:gd name="connsiteY6-744" fmla="*/ 4341920 h 4350652"/>
              <a:gd name="connsiteX7-745" fmla="*/ 6596381 w 8539481"/>
              <a:gd name="connsiteY7-746" fmla="*/ 4341919 h 4350652"/>
              <a:gd name="connsiteX0-747" fmla="*/ 8539481 w 8539481"/>
              <a:gd name="connsiteY0-748" fmla="*/ 3142511 h 4345044"/>
              <a:gd name="connsiteX1-749" fmla="*/ 8539481 w 8539481"/>
              <a:gd name="connsiteY1-750" fmla="*/ 131023 h 4345044"/>
              <a:gd name="connsiteX2-751" fmla="*/ 8438674 w 8539481"/>
              <a:gd name="connsiteY2-752" fmla="*/ 21487 h 4345044"/>
              <a:gd name="connsiteX3-753" fmla="*/ 103507 w 8539481"/>
              <a:gd name="connsiteY3-754" fmla="*/ 21487 h 4345044"/>
              <a:gd name="connsiteX4-755" fmla="*/ 6669 w 8539481"/>
              <a:gd name="connsiteY4-756" fmla="*/ 122291 h 4345044"/>
              <a:gd name="connsiteX5-757" fmla="*/ 6669 w 8539481"/>
              <a:gd name="connsiteY5-758" fmla="*/ 4234712 h 4345044"/>
              <a:gd name="connsiteX6-759" fmla="*/ 99538 w 8539481"/>
              <a:gd name="connsiteY6-760" fmla="*/ 4336312 h 4345044"/>
              <a:gd name="connsiteX7-761" fmla="*/ 6596381 w 8539481"/>
              <a:gd name="connsiteY7-762" fmla="*/ 4336311 h 4345044"/>
              <a:gd name="connsiteX0-763" fmla="*/ 8539481 w 8539481"/>
              <a:gd name="connsiteY0-764" fmla="*/ 3142511 h 4345044"/>
              <a:gd name="connsiteX1-765" fmla="*/ 8539481 w 8539481"/>
              <a:gd name="connsiteY1-766" fmla="*/ 131023 h 4345044"/>
              <a:gd name="connsiteX2-767" fmla="*/ 8438674 w 8539481"/>
              <a:gd name="connsiteY2-768" fmla="*/ 21487 h 4345044"/>
              <a:gd name="connsiteX3-769" fmla="*/ 103507 w 8539481"/>
              <a:gd name="connsiteY3-770" fmla="*/ 21487 h 4345044"/>
              <a:gd name="connsiteX4-771" fmla="*/ 6669 w 8539481"/>
              <a:gd name="connsiteY4-772" fmla="*/ 122291 h 4345044"/>
              <a:gd name="connsiteX5-773" fmla="*/ 6669 w 8539481"/>
              <a:gd name="connsiteY5-774" fmla="*/ 4234712 h 4345044"/>
              <a:gd name="connsiteX6-775" fmla="*/ 99538 w 8539481"/>
              <a:gd name="connsiteY6-776" fmla="*/ 4336312 h 4345044"/>
              <a:gd name="connsiteX7-777" fmla="*/ 6596381 w 8539481"/>
              <a:gd name="connsiteY7-778" fmla="*/ 4336311 h 4345044"/>
              <a:gd name="connsiteX0-779" fmla="*/ 8539481 w 8549428"/>
              <a:gd name="connsiteY0-780" fmla="*/ 3142511 h 4345044"/>
              <a:gd name="connsiteX1-781" fmla="*/ 8539481 w 8549428"/>
              <a:gd name="connsiteY1-782" fmla="*/ 131023 h 4345044"/>
              <a:gd name="connsiteX2-783" fmla="*/ 8438674 w 8549428"/>
              <a:gd name="connsiteY2-784" fmla="*/ 21487 h 4345044"/>
              <a:gd name="connsiteX3-785" fmla="*/ 103507 w 8549428"/>
              <a:gd name="connsiteY3-786" fmla="*/ 21487 h 4345044"/>
              <a:gd name="connsiteX4-787" fmla="*/ 6669 w 8549428"/>
              <a:gd name="connsiteY4-788" fmla="*/ 122291 h 4345044"/>
              <a:gd name="connsiteX5-789" fmla="*/ 6669 w 8549428"/>
              <a:gd name="connsiteY5-790" fmla="*/ 4234712 h 4345044"/>
              <a:gd name="connsiteX6-791" fmla="*/ 99538 w 8549428"/>
              <a:gd name="connsiteY6-792" fmla="*/ 4336312 h 4345044"/>
              <a:gd name="connsiteX7-793" fmla="*/ 6596381 w 8549428"/>
              <a:gd name="connsiteY7-794" fmla="*/ 4336311 h 4345044"/>
              <a:gd name="connsiteX0-795" fmla="*/ 8539481 w 8549428"/>
              <a:gd name="connsiteY0-796" fmla="*/ 3142511 h 4345044"/>
              <a:gd name="connsiteX1-797" fmla="*/ 8539480 w 8549428"/>
              <a:gd name="connsiteY1-798" fmla="*/ 131023 h 4345044"/>
              <a:gd name="connsiteX2-799" fmla="*/ 8438674 w 8549428"/>
              <a:gd name="connsiteY2-800" fmla="*/ 21487 h 4345044"/>
              <a:gd name="connsiteX3-801" fmla="*/ 103507 w 8549428"/>
              <a:gd name="connsiteY3-802" fmla="*/ 21487 h 4345044"/>
              <a:gd name="connsiteX4-803" fmla="*/ 6669 w 8549428"/>
              <a:gd name="connsiteY4-804" fmla="*/ 122291 h 4345044"/>
              <a:gd name="connsiteX5-805" fmla="*/ 6669 w 8549428"/>
              <a:gd name="connsiteY5-806" fmla="*/ 4234712 h 4345044"/>
              <a:gd name="connsiteX6-807" fmla="*/ 99538 w 8549428"/>
              <a:gd name="connsiteY6-808" fmla="*/ 4336312 h 4345044"/>
              <a:gd name="connsiteX7-809" fmla="*/ 6596381 w 8549428"/>
              <a:gd name="connsiteY7-810" fmla="*/ 4336311 h 4345044"/>
              <a:gd name="connsiteX0-811" fmla="*/ 8539481 w 8539481"/>
              <a:gd name="connsiteY0-812" fmla="*/ 3142511 h 4345044"/>
              <a:gd name="connsiteX1-813" fmla="*/ 8539480 w 8539481"/>
              <a:gd name="connsiteY1-814" fmla="*/ 131023 h 4345044"/>
              <a:gd name="connsiteX2-815" fmla="*/ 8422005 w 8539481"/>
              <a:gd name="connsiteY2-816" fmla="*/ 21487 h 4345044"/>
              <a:gd name="connsiteX3-817" fmla="*/ 103507 w 8539481"/>
              <a:gd name="connsiteY3-818" fmla="*/ 21487 h 4345044"/>
              <a:gd name="connsiteX4-819" fmla="*/ 6669 w 8539481"/>
              <a:gd name="connsiteY4-820" fmla="*/ 122291 h 4345044"/>
              <a:gd name="connsiteX5-821" fmla="*/ 6669 w 8539481"/>
              <a:gd name="connsiteY5-822" fmla="*/ 4234712 h 4345044"/>
              <a:gd name="connsiteX6-823" fmla="*/ 99538 w 8539481"/>
              <a:gd name="connsiteY6-824" fmla="*/ 4336312 h 4345044"/>
              <a:gd name="connsiteX7-825" fmla="*/ 6596381 w 8539481"/>
              <a:gd name="connsiteY7-826" fmla="*/ 4336311 h 4345044"/>
              <a:gd name="connsiteX0-827" fmla="*/ 8539481 w 8539481"/>
              <a:gd name="connsiteY0-828" fmla="*/ 3142511 h 4345044"/>
              <a:gd name="connsiteX1-829" fmla="*/ 8539480 w 8539481"/>
              <a:gd name="connsiteY1-830" fmla="*/ 131023 h 4345044"/>
              <a:gd name="connsiteX2-831" fmla="*/ 8410099 w 8539481"/>
              <a:gd name="connsiteY2-832" fmla="*/ 21487 h 4345044"/>
              <a:gd name="connsiteX3-833" fmla="*/ 103507 w 8539481"/>
              <a:gd name="connsiteY3-834" fmla="*/ 21487 h 4345044"/>
              <a:gd name="connsiteX4-835" fmla="*/ 6669 w 8539481"/>
              <a:gd name="connsiteY4-836" fmla="*/ 122291 h 4345044"/>
              <a:gd name="connsiteX5-837" fmla="*/ 6669 w 8539481"/>
              <a:gd name="connsiteY5-838" fmla="*/ 4234712 h 4345044"/>
              <a:gd name="connsiteX6-839" fmla="*/ 99538 w 8539481"/>
              <a:gd name="connsiteY6-840" fmla="*/ 4336312 h 4345044"/>
              <a:gd name="connsiteX7-841" fmla="*/ 6596381 w 8539481"/>
              <a:gd name="connsiteY7-842" fmla="*/ 4336311 h 4345044"/>
              <a:gd name="connsiteX0-843" fmla="*/ 8539481 w 8539481"/>
              <a:gd name="connsiteY0-844" fmla="*/ 3162407 h 4364940"/>
              <a:gd name="connsiteX1-845" fmla="*/ 8539481 w 8539481"/>
              <a:gd name="connsiteY1-846" fmla="*/ 122344 h 4364940"/>
              <a:gd name="connsiteX2-847" fmla="*/ 8410099 w 8539481"/>
              <a:gd name="connsiteY2-848" fmla="*/ 41383 h 4364940"/>
              <a:gd name="connsiteX3-849" fmla="*/ 103507 w 8539481"/>
              <a:gd name="connsiteY3-850" fmla="*/ 41383 h 4364940"/>
              <a:gd name="connsiteX4-851" fmla="*/ 6669 w 8539481"/>
              <a:gd name="connsiteY4-852" fmla="*/ 142187 h 4364940"/>
              <a:gd name="connsiteX5-853" fmla="*/ 6669 w 8539481"/>
              <a:gd name="connsiteY5-854" fmla="*/ 4254608 h 4364940"/>
              <a:gd name="connsiteX6-855" fmla="*/ 99538 w 8539481"/>
              <a:gd name="connsiteY6-856" fmla="*/ 4356208 h 4364940"/>
              <a:gd name="connsiteX7-857" fmla="*/ 6596381 w 8539481"/>
              <a:gd name="connsiteY7-858" fmla="*/ 4356207 h 4364940"/>
              <a:gd name="connsiteX0-859" fmla="*/ 8539481 w 8546253"/>
              <a:gd name="connsiteY0-860" fmla="*/ 3162407 h 4364940"/>
              <a:gd name="connsiteX1-861" fmla="*/ 8539481 w 8546253"/>
              <a:gd name="connsiteY1-862" fmla="*/ 122344 h 4364940"/>
              <a:gd name="connsiteX2-863" fmla="*/ 8410099 w 8546253"/>
              <a:gd name="connsiteY2-864" fmla="*/ 41383 h 4364940"/>
              <a:gd name="connsiteX3-865" fmla="*/ 103507 w 8546253"/>
              <a:gd name="connsiteY3-866" fmla="*/ 41383 h 4364940"/>
              <a:gd name="connsiteX4-867" fmla="*/ 6669 w 8546253"/>
              <a:gd name="connsiteY4-868" fmla="*/ 142187 h 4364940"/>
              <a:gd name="connsiteX5-869" fmla="*/ 6669 w 8546253"/>
              <a:gd name="connsiteY5-870" fmla="*/ 4254608 h 4364940"/>
              <a:gd name="connsiteX6-871" fmla="*/ 99538 w 8546253"/>
              <a:gd name="connsiteY6-872" fmla="*/ 4356208 h 4364940"/>
              <a:gd name="connsiteX7-873" fmla="*/ 6596381 w 8546253"/>
              <a:gd name="connsiteY7-874" fmla="*/ 4356207 h 4364940"/>
              <a:gd name="connsiteX0-875" fmla="*/ 8539481 w 8559747"/>
              <a:gd name="connsiteY0-876" fmla="*/ 3162407 h 4364940"/>
              <a:gd name="connsiteX1-877" fmla="*/ 8539481 w 8559747"/>
              <a:gd name="connsiteY1-878" fmla="*/ 122344 h 4364940"/>
              <a:gd name="connsiteX2-879" fmla="*/ 8410099 w 8559747"/>
              <a:gd name="connsiteY2-880" fmla="*/ 41383 h 4364940"/>
              <a:gd name="connsiteX3-881" fmla="*/ 103507 w 8559747"/>
              <a:gd name="connsiteY3-882" fmla="*/ 41383 h 4364940"/>
              <a:gd name="connsiteX4-883" fmla="*/ 6669 w 8559747"/>
              <a:gd name="connsiteY4-884" fmla="*/ 142187 h 4364940"/>
              <a:gd name="connsiteX5-885" fmla="*/ 6669 w 8559747"/>
              <a:gd name="connsiteY5-886" fmla="*/ 4254608 h 4364940"/>
              <a:gd name="connsiteX6-887" fmla="*/ 99538 w 8559747"/>
              <a:gd name="connsiteY6-888" fmla="*/ 4356208 h 4364940"/>
              <a:gd name="connsiteX7-889" fmla="*/ 6596381 w 8559747"/>
              <a:gd name="connsiteY7-890" fmla="*/ 4356207 h 4364940"/>
              <a:gd name="connsiteX0-891" fmla="*/ 8539481 w 8582766"/>
              <a:gd name="connsiteY0-892" fmla="*/ 3162407 h 4364940"/>
              <a:gd name="connsiteX1-893" fmla="*/ 8539481 w 8582766"/>
              <a:gd name="connsiteY1-894" fmla="*/ 122344 h 4364940"/>
              <a:gd name="connsiteX2-895" fmla="*/ 8410099 w 8582766"/>
              <a:gd name="connsiteY2-896" fmla="*/ 41383 h 4364940"/>
              <a:gd name="connsiteX3-897" fmla="*/ 103507 w 8582766"/>
              <a:gd name="connsiteY3-898" fmla="*/ 41383 h 4364940"/>
              <a:gd name="connsiteX4-899" fmla="*/ 6669 w 8582766"/>
              <a:gd name="connsiteY4-900" fmla="*/ 142187 h 4364940"/>
              <a:gd name="connsiteX5-901" fmla="*/ 6669 w 8582766"/>
              <a:gd name="connsiteY5-902" fmla="*/ 4254608 h 4364940"/>
              <a:gd name="connsiteX6-903" fmla="*/ 99538 w 8582766"/>
              <a:gd name="connsiteY6-904" fmla="*/ 4356208 h 4364940"/>
              <a:gd name="connsiteX7-905" fmla="*/ 6596381 w 8582766"/>
              <a:gd name="connsiteY7-906" fmla="*/ 4356207 h 4364940"/>
              <a:gd name="connsiteX0-907" fmla="*/ 8539481 w 8628010"/>
              <a:gd name="connsiteY0-908" fmla="*/ 3162407 h 4364940"/>
              <a:gd name="connsiteX1-909" fmla="*/ 8539481 w 8628010"/>
              <a:gd name="connsiteY1-910" fmla="*/ 122344 h 4364940"/>
              <a:gd name="connsiteX2-911" fmla="*/ 8455343 w 8628010"/>
              <a:gd name="connsiteY2-912" fmla="*/ 41383 h 4364940"/>
              <a:gd name="connsiteX3-913" fmla="*/ 103507 w 8628010"/>
              <a:gd name="connsiteY3-914" fmla="*/ 41383 h 4364940"/>
              <a:gd name="connsiteX4-915" fmla="*/ 6669 w 8628010"/>
              <a:gd name="connsiteY4-916" fmla="*/ 142187 h 4364940"/>
              <a:gd name="connsiteX5-917" fmla="*/ 6669 w 8628010"/>
              <a:gd name="connsiteY5-918" fmla="*/ 4254608 h 4364940"/>
              <a:gd name="connsiteX6-919" fmla="*/ 99538 w 8628010"/>
              <a:gd name="connsiteY6-920" fmla="*/ 4356208 h 4364940"/>
              <a:gd name="connsiteX7-921" fmla="*/ 6596381 w 8628010"/>
              <a:gd name="connsiteY7-922" fmla="*/ 4356207 h 4364940"/>
              <a:gd name="connsiteX0-923" fmla="*/ 8539481 w 8539481"/>
              <a:gd name="connsiteY0-924" fmla="*/ 3162407 h 4364940"/>
              <a:gd name="connsiteX1-925" fmla="*/ 8539481 w 8539481"/>
              <a:gd name="connsiteY1-926" fmla="*/ 122344 h 4364940"/>
              <a:gd name="connsiteX2-927" fmla="*/ 8455343 w 8539481"/>
              <a:gd name="connsiteY2-928" fmla="*/ 41383 h 4364940"/>
              <a:gd name="connsiteX3-929" fmla="*/ 103507 w 8539481"/>
              <a:gd name="connsiteY3-930" fmla="*/ 41383 h 4364940"/>
              <a:gd name="connsiteX4-931" fmla="*/ 6669 w 8539481"/>
              <a:gd name="connsiteY4-932" fmla="*/ 142187 h 4364940"/>
              <a:gd name="connsiteX5-933" fmla="*/ 6669 w 8539481"/>
              <a:gd name="connsiteY5-934" fmla="*/ 4254608 h 4364940"/>
              <a:gd name="connsiteX6-935" fmla="*/ 99538 w 8539481"/>
              <a:gd name="connsiteY6-936" fmla="*/ 4356208 h 4364940"/>
              <a:gd name="connsiteX7-937" fmla="*/ 6596381 w 8539481"/>
              <a:gd name="connsiteY7-938" fmla="*/ 4356207 h 4364940"/>
              <a:gd name="connsiteX0-939" fmla="*/ 8539481 w 8539481"/>
              <a:gd name="connsiteY0-940" fmla="*/ 3162407 h 4364940"/>
              <a:gd name="connsiteX1-941" fmla="*/ 8539481 w 8539481"/>
              <a:gd name="connsiteY1-942" fmla="*/ 122344 h 4364940"/>
              <a:gd name="connsiteX2-943" fmla="*/ 8455343 w 8539481"/>
              <a:gd name="connsiteY2-944" fmla="*/ 41383 h 4364940"/>
              <a:gd name="connsiteX3-945" fmla="*/ 103507 w 8539481"/>
              <a:gd name="connsiteY3-946" fmla="*/ 41383 h 4364940"/>
              <a:gd name="connsiteX4-947" fmla="*/ 6669 w 8539481"/>
              <a:gd name="connsiteY4-948" fmla="*/ 142187 h 4364940"/>
              <a:gd name="connsiteX5-949" fmla="*/ 6669 w 8539481"/>
              <a:gd name="connsiteY5-950" fmla="*/ 4254608 h 4364940"/>
              <a:gd name="connsiteX6-951" fmla="*/ 99538 w 8539481"/>
              <a:gd name="connsiteY6-952" fmla="*/ 4356208 h 4364940"/>
              <a:gd name="connsiteX7-953" fmla="*/ 6596381 w 8539481"/>
              <a:gd name="connsiteY7-954" fmla="*/ 4356207 h 4364940"/>
              <a:gd name="connsiteX0-955" fmla="*/ 8539481 w 8539481"/>
              <a:gd name="connsiteY0-956" fmla="*/ 3142511 h 4345044"/>
              <a:gd name="connsiteX1-957" fmla="*/ 8539481 w 8539481"/>
              <a:gd name="connsiteY1-958" fmla="*/ 102448 h 4345044"/>
              <a:gd name="connsiteX2-959" fmla="*/ 8455343 w 8539481"/>
              <a:gd name="connsiteY2-960" fmla="*/ 21487 h 4345044"/>
              <a:gd name="connsiteX3-961" fmla="*/ 103507 w 8539481"/>
              <a:gd name="connsiteY3-962" fmla="*/ 21487 h 4345044"/>
              <a:gd name="connsiteX4-963" fmla="*/ 6669 w 8539481"/>
              <a:gd name="connsiteY4-964" fmla="*/ 122291 h 4345044"/>
              <a:gd name="connsiteX5-965" fmla="*/ 6669 w 8539481"/>
              <a:gd name="connsiteY5-966" fmla="*/ 4234712 h 4345044"/>
              <a:gd name="connsiteX6-967" fmla="*/ 99538 w 8539481"/>
              <a:gd name="connsiteY6-968" fmla="*/ 4336312 h 4345044"/>
              <a:gd name="connsiteX7-969" fmla="*/ 6596381 w 8539481"/>
              <a:gd name="connsiteY7-970" fmla="*/ 4336311 h 4345044"/>
              <a:gd name="connsiteX0-971" fmla="*/ 8542656 w 8542656"/>
              <a:gd name="connsiteY0-972" fmla="*/ 558061 h 4345044"/>
              <a:gd name="connsiteX1-973" fmla="*/ 8539481 w 8542656"/>
              <a:gd name="connsiteY1-974" fmla="*/ 102448 h 4345044"/>
              <a:gd name="connsiteX2-975" fmla="*/ 8455343 w 8542656"/>
              <a:gd name="connsiteY2-976" fmla="*/ 21487 h 4345044"/>
              <a:gd name="connsiteX3-977" fmla="*/ 103507 w 8542656"/>
              <a:gd name="connsiteY3-978" fmla="*/ 21487 h 4345044"/>
              <a:gd name="connsiteX4-979" fmla="*/ 6669 w 8542656"/>
              <a:gd name="connsiteY4-980" fmla="*/ 122291 h 4345044"/>
              <a:gd name="connsiteX5-981" fmla="*/ 6669 w 8542656"/>
              <a:gd name="connsiteY5-982" fmla="*/ 4234712 h 4345044"/>
              <a:gd name="connsiteX6-983" fmla="*/ 99538 w 8542656"/>
              <a:gd name="connsiteY6-984" fmla="*/ 4336312 h 4345044"/>
              <a:gd name="connsiteX7-985" fmla="*/ 6596381 w 8542656"/>
              <a:gd name="connsiteY7-986" fmla="*/ 4336311 h 4345044"/>
              <a:gd name="connsiteX0-987" fmla="*/ 8542655 w 8542655"/>
              <a:gd name="connsiteY0-988" fmla="*/ 881912 h 4345044"/>
              <a:gd name="connsiteX1-989" fmla="*/ 8539481 w 8542655"/>
              <a:gd name="connsiteY1-990" fmla="*/ 102448 h 4345044"/>
              <a:gd name="connsiteX2-991" fmla="*/ 8455343 w 8542655"/>
              <a:gd name="connsiteY2-992" fmla="*/ 21487 h 4345044"/>
              <a:gd name="connsiteX3-993" fmla="*/ 103507 w 8542655"/>
              <a:gd name="connsiteY3-994" fmla="*/ 21487 h 4345044"/>
              <a:gd name="connsiteX4-995" fmla="*/ 6669 w 8542655"/>
              <a:gd name="connsiteY4-996" fmla="*/ 122291 h 4345044"/>
              <a:gd name="connsiteX5-997" fmla="*/ 6669 w 8542655"/>
              <a:gd name="connsiteY5-998" fmla="*/ 4234712 h 4345044"/>
              <a:gd name="connsiteX6-999" fmla="*/ 99538 w 8542655"/>
              <a:gd name="connsiteY6-1000" fmla="*/ 4336312 h 4345044"/>
              <a:gd name="connsiteX7-1001" fmla="*/ 6596381 w 8542655"/>
              <a:gd name="connsiteY7-1002" fmla="*/ 4336311 h 4345044"/>
              <a:gd name="connsiteX0-1003" fmla="*/ 8542655 w 8542655"/>
              <a:gd name="connsiteY0-1004" fmla="*/ 881912 h 4345837"/>
              <a:gd name="connsiteX1-1005" fmla="*/ 8539481 w 8542655"/>
              <a:gd name="connsiteY1-1006" fmla="*/ 102448 h 4345837"/>
              <a:gd name="connsiteX2-1007" fmla="*/ 8455343 w 8542655"/>
              <a:gd name="connsiteY2-1008" fmla="*/ 21487 h 4345837"/>
              <a:gd name="connsiteX3-1009" fmla="*/ 103507 w 8542655"/>
              <a:gd name="connsiteY3-1010" fmla="*/ 21487 h 4345837"/>
              <a:gd name="connsiteX4-1011" fmla="*/ 6669 w 8542655"/>
              <a:gd name="connsiteY4-1012" fmla="*/ 122291 h 4345837"/>
              <a:gd name="connsiteX5-1013" fmla="*/ 6669 w 8542655"/>
              <a:gd name="connsiteY5-1014" fmla="*/ 4234712 h 4345837"/>
              <a:gd name="connsiteX6-1015" fmla="*/ 99538 w 8542655"/>
              <a:gd name="connsiteY6-1016" fmla="*/ 4336312 h 4345837"/>
              <a:gd name="connsiteX7-1017" fmla="*/ 6882131 w 8542655"/>
              <a:gd name="connsiteY7-1018" fmla="*/ 4345837 h 4345837"/>
              <a:gd name="connsiteX0-1019" fmla="*/ 8545512 w 8545512"/>
              <a:gd name="connsiteY0-1020" fmla="*/ 881912 h 4354569"/>
              <a:gd name="connsiteX1-1021" fmla="*/ 8542338 w 8545512"/>
              <a:gd name="connsiteY1-1022" fmla="*/ 102448 h 4354569"/>
              <a:gd name="connsiteX2-1023" fmla="*/ 8458200 w 8545512"/>
              <a:gd name="connsiteY2-1024" fmla="*/ 21487 h 4354569"/>
              <a:gd name="connsiteX3-1025" fmla="*/ 106364 w 8545512"/>
              <a:gd name="connsiteY3-1026" fmla="*/ 21487 h 4354569"/>
              <a:gd name="connsiteX4-1027" fmla="*/ 9526 w 8545512"/>
              <a:gd name="connsiteY4-1028" fmla="*/ 122291 h 4354569"/>
              <a:gd name="connsiteX5-1029" fmla="*/ 9526 w 8545512"/>
              <a:gd name="connsiteY5-1030" fmla="*/ 4234712 h 4354569"/>
              <a:gd name="connsiteX6-1031" fmla="*/ 97632 w 8545512"/>
              <a:gd name="connsiteY6-1032" fmla="*/ 4345837 h 4354569"/>
              <a:gd name="connsiteX7-1033" fmla="*/ 6884988 w 8545512"/>
              <a:gd name="connsiteY7-1034" fmla="*/ 4345837 h 4354569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69" y="connsiteY7-170"/>
              </a:cxn>
            </a:cxnLst>
            <a:rect l="l" t="t" r="r" b="b"/>
            <a:pathLst>
              <a:path w="8545512" h="4354569">
                <a:moveTo>
                  <a:pt x="8545512" y="881912"/>
                </a:moveTo>
                <a:cubicBezTo>
                  <a:pt x="8544454" y="730041"/>
                  <a:pt x="8543396" y="254319"/>
                  <a:pt x="8542338" y="102448"/>
                </a:cubicBezTo>
                <a:cubicBezTo>
                  <a:pt x="8538264" y="11060"/>
                  <a:pt x="8489580" y="27942"/>
                  <a:pt x="8458200" y="21487"/>
                </a:cubicBezTo>
                <a:lnTo>
                  <a:pt x="106364" y="21487"/>
                </a:lnTo>
                <a:cubicBezTo>
                  <a:pt x="37784" y="27731"/>
                  <a:pt x="2857" y="0"/>
                  <a:pt x="9526" y="122291"/>
                </a:cubicBezTo>
                <a:lnTo>
                  <a:pt x="9526" y="4234712"/>
                </a:lnTo>
                <a:cubicBezTo>
                  <a:pt x="7144" y="4322025"/>
                  <a:pt x="0" y="4354569"/>
                  <a:pt x="97632" y="4345837"/>
                </a:cubicBezTo>
                <a:lnTo>
                  <a:pt x="6884988" y="4345837"/>
                </a:lnTo>
              </a:path>
            </a:pathLst>
          </a:custGeom>
          <a:ln w="19050">
            <a:solidFill>
              <a:srgbClr val="D5D30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prstClr val="black"/>
              </a:solidFill>
            </a:endParaRPr>
          </a:p>
        </p:txBody>
      </p:sp>
      <p:sp>
        <p:nvSpPr>
          <p:cNvPr id="10" name="Freeform 5"/>
          <p:cNvSpPr/>
          <p:nvPr userDrawn="1"/>
        </p:nvSpPr>
        <p:spPr bwMode="auto">
          <a:xfrm>
            <a:off x="10245845" y="3843104"/>
            <a:ext cx="912164" cy="1005027"/>
          </a:xfrm>
          <a:custGeom>
            <a:avLst/>
            <a:gdLst/>
            <a:ahLst/>
            <a:cxnLst>
              <a:cxn ang="0">
                <a:pos x="0" y="938"/>
              </a:cxn>
              <a:cxn ang="0">
                <a:pos x="402" y="651"/>
              </a:cxn>
              <a:cxn ang="0">
                <a:pos x="639" y="0"/>
              </a:cxn>
            </a:cxnLst>
            <a:rect l="0" t="0" r="r" b="b"/>
            <a:pathLst>
              <a:path w="639" h="938">
                <a:moveTo>
                  <a:pt x="0" y="938"/>
                </a:moveTo>
                <a:cubicBezTo>
                  <a:pt x="168" y="882"/>
                  <a:pt x="322" y="747"/>
                  <a:pt x="402" y="651"/>
                </a:cubicBezTo>
                <a:cubicBezTo>
                  <a:pt x="550" y="475"/>
                  <a:pt x="639" y="248"/>
                  <a:pt x="639" y="0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prstClr val="black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sp>
        <p:nvSpPr>
          <p:cNvPr id="11" name="Freeform 6"/>
          <p:cNvSpPr/>
          <p:nvPr userDrawn="1"/>
        </p:nvSpPr>
        <p:spPr bwMode="auto">
          <a:xfrm>
            <a:off x="10813947" y="3144085"/>
            <a:ext cx="344062" cy="699019"/>
          </a:xfrm>
          <a:custGeom>
            <a:avLst/>
            <a:gdLst/>
            <a:ahLst/>
            <a:cxnLst>
              <a:cxn ang="0">
                <a:pos x="240" y="654"/>
              </a:cxn>
              <a:cxn ang="0">
                <a:pos x="0" y="0"/>
              </a:cxn>
            </a:cxnLst>
            <a:rect l="0" t="0" r="r" b="b"/>
            <a:pathLst>
              <a:path w="240" h="654">
                <a:moveTo>
                  <a:pt x="240" y="654"/>
                </a:moveTo>
                <a:cubicBezTo>
                  <a:pt x="240" y="405"/>
                  <a:pt x="150" y="177"/>
                  <a:pt x="0" y="0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prstClr val="black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sp>
        <p:nvSpPr>
          <p:cNvPr id="12" name="Freeform 7"/>
          <p:cNvSpPr/>
          <p:nvPr userDrawn="1"/>
        </p:nvSpPr>
        <p:spPr bwMode="auto">
          <a:xfrm>
            <a:off x="8263490" y="3147085"/>
            <a:ext cx="338060" cy="696019"/>
          </a:xfrm>
          <a:custGeom>
            <a:avLst/>
            <a:gdLst/>
            <a:ahLst/>
            <a:cxnLst>
              <a:cxn ang="0">
                <a:pos x="237" y="0"/>
              </a:cxn>
              <a:cxn ang="0">
                <a:pos x="0" y="651"/>
              </a:cxn>
            </a:cxnLst>
            <a:rect l="0" t="0" r="r" b="b"/>
            <a:pathLst>
              <a:path w="237" h="651">
                <a:moveTo>
                  <a:pt x="237" y="0"/>
                </a:moveTo>
                <a:cubicBezTo>
                  <a:pt x="89" y="176"/>
                  <a:pt x="0" y="403"/>
                  <a:pt x="0" y="651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prstClr val="black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sp>
        <p:nvSpPr>
          <p:cNvPr id="13" name="Freeform 8"/>
          <p:cNvSpPr/>
          <p:nvPr userDrawn="1"/>
        </p:nvSpPr>
        <p:spPr bwMode="auto">
          <a:xfrm>
            <a:off x="8263489" y="3843105"/>
            <a:ext cx="878158" cy="1000527"/>
          </a:xfrm>
          <a:custGeom>
            <a:avLst/>
            <a:gdLst/>
            <a:ahLst/>
            <a:cxnLst>
              <a:cxn ang="0">
                <a:pos x="616" y="933"/>
              </a:cxn>
              <a:cxn ang="0">
                <a:pos x="0" y="0"/>
              </a:cxn>
            </a:cxnLst>
            <a:rect l="0" t="0" r="r" b="b"/>
            <a:pathLst>
              <a:path w="616" h="933">
                <a:moveTo>
                  <a:pt x="616" y="933"/>
                </a:moveTo>
                <a:cubicBezTo>
                  <a:pt x="254" y="778"/>
                  <a:pt x="0" y="419"/>
                  <a:pt x="0" y="0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prstClr val="black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sp>
        <p:nvSpPr>
          <p:cNvPr id="14" name="Freeform 9"/>
          <p:cNvSpPr/>
          <p:nvPr userDrawn="1"/>
        </p:nvSpPr>
        <p:spPr bwMode="auto">
          <a:xfrm>
            <a:off x="9709749" y="2758575"/>
            <a:ext cx="1104199" cy="38551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74" y="360"/>
              </a:cxn>
            </a:cxnLst>
            <a:rect l="0" t="0" r="r" b="b"/>
            <a:pathLst>
              <a:path w="774" h="360">
                <a:moveTo>
                  <a:pt x="0" y="0"/>
                </a:moveTo>
                <a:cubicBezTo>
                  <a:pt x="311" y="0"/>
                  <a:pt x="588" y="140"/>
                  <a:pt x="774" y="360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prstClr val="black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sp>
        <p:nvSpPr>
          <p:cNvPr id="15" name="Freeform 10"/>
          <p:cNvSpPr/>
          <p:nvPr userDrawn="1"/>
        </p:nvSpPr>
        <p:spPr bwMode="auto">
          <a:xfrm>
            <a:off x="8601549" y="2758575"/>
            <a:ext cx="1108200" cy="388510"/>
          </a:xfrm>
          <a:custGeom>
            <a:avLst/>
            <a:gdLst/>
            <a:ahLst/>
            <a:cxnLst>
              <a:cxn ang="0">
                <a:pos x="777" y="0"/>
              </a:cxn>
              <a:cxn ang="0">
                <a:pos x="0" y="363"/>
              </a:cxn>
            </a:cxnLst>
            <a:rect l="0" t="0" r="r" b="b"/>
            <a:pathLst>
              <a:path w="777" h="363">
                <a:moveTo>
                  <a:pt x="777" y="0"/>
                </a:moveTo>
                <a:cubicBezTo>
                  <a:pt x="465" y="0"/>
                  <a:pt x="186" y="141"/>
                  <a:pt x="0" y="363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prstClr val="black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sp>
        <p:nvSpPr>
          <p:cNvPr id="16" name="Freeform 11"/>
          <p:cNvSpPr/>
          <p:nvPr userDrawn="1"/>
        </p:nvSpPr>
        <p:spPr bwMode="auto">
          <a:xfrm>
            <a:off x="8601549" y="3147085"/>
            <a:ext cx="2001" cy="150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prstClr val="black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auto">
          <a:xfrm>
            <a:off x="8601549" y="3147085"/>
            <a:ext cx="442080" cy="127504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10" y="120"/>
              </a:cxn>
            </a:cxnLst>
            <a:rect l="0" t="0" r="r" b="b"/>
            <a:pathLst>
              <a:path w="310" h="120">
                <a:moveTo>
                  <a:pt x="0" y="0"/>
                </a:moveTo>
                <a:cubicBezTo>
                  <a:pt x="86" y="49"/>
                  <a:pt x="191" y="90"/>
                  <a:pt x="310" y="120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prstClr val="black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sp>
        <p:nvSpPr>
          <p:cNvPr id="18" name="Freeform 13"/>
          <p:cNvSpPr/>
          <p:nvPr userDrawn="1"/>
        </p:nvSpPr>
        <p:spPr bwMode="auto">
          <a:xfrm>
            <a:off x="9709748" y="3273088"/>
            <a:ext cx="666121" cy="61502"/>
          </a:xfrm>
          <a:custGeom>
            <a:avLst/>
            <a:gdLst/>
            <a:ahLst/>
            <a:cxnLst>
              <a:cxn ang="0">
                <a:pos x="466" y="0"/>
              </a:cxn>
              <a:cxn ang="0">
                <a:pos x="0" y="57"/>
              </a:cxn>
            </a:cxnLst>
            <a:rect l="0" t="0" r="r" b="b"/>
            <a:pathLst>
              <a:path w="466" h="57">
                <a:moveTo>
                  <a:pt x="466" y="0"/>
                </a:moveTo>
                <a:cubicBezTo>
                  <a:pt x="327" y="36"/>
                  <a:pt x="168" y="56"/>
                  <a:pt x="0" y="57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prstClr val="black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sp>
        <p:nvSpPr>
          <p:cNvPr id="19" name="Freeform 14"/>
          <p:cNvSpPr/>
          <p:nvPr userDrawn="1"/>
        </p:nvSpPr>
        <p:spPr bwMode="auto">
          <a:xfrm>
            <a:off x="10375869" y="3144086"/>
            <a:ext cx="438078" cy="129003"/>
          </a:xfrm>
          <a:custGeom>
            <a:avLst/>
            <a:gdLst/>
            <a:ahLst/>
            <a:cxnLst>
              <a:cxn ang="0">
                <a:pos x="0" y="121"/>
              </a:cxn>
              <a:cxn ang="0">
                <a:pos x="308" y="0"/>
              </a:cxn>
            </a:cxnLst>
            <a:rect l="0" t="0" r="r" b="b"/>
            <a:pathLst>
              <a:path w="308" h="121">
                <a:moveTo>
                  <a:pt x="0" y="121"/>
                </a:moveTo>
                <a:cubicBezTo>
                  <a:pt x="119" y="91"/>
                  <a:pt x="223" y="50"/>
                  <a:pt x="308" y="0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prstClr val="black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sp>
        <p:nvSpPr>
          <p:cNvPr id="20" name="Freeform 15"/>
          <p:cNvSpPr/>
          <p:nvPr userDrawn="1"/>
        </p:nvSpPr>
        <p:spPr bwMode="auto">
          <a:xfrm>
            <a:off x="8601549" y="3147085"/>
            <a:ext cx="2001" cy="150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prstClr val="black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sp>
        <p:nvSpPr>
          <p:cNvPr id="21" name="Freeform 16"/>
          <p:cNvSpPr/>
          <p:nvPr userDrawn="1"/>
        </p:nvSpPr>
        <p:spPr bwMode="auto">
          <a:xfrm>
            <a:off x="9043630" y="3274589"/>
            <a:ext cx="666119" cy="60002"/>
          </a:xfrm>
          <a:custGeom>
            <a:avLst/>
            <a:gdLst/>
            <a:ahLst/>
            <a:cxnLst>
              <a:cxn ang="0">
                <a:pos x="467" y="55"/>
              </a:cxn>
              <a:cxn ang="0">
                <a:pos x="463" y="55"/>
              </a:cxn>
              <a:cxn ang="0">
                <a:pos x="0" y="0"/>
              </a:cxn>
            </a:cxnLst>
            <a:rect l="0" t="0" r="r" b="b"/>
            <a:pathLst>
              <a:path w="467" h="55">
                <a:moveTo>
                  <a:pt x="467" y="55"/>
                </a:moveTo>
                <a:cubicBezTo>
                  <a:pt x="463" y="55"/>
                  <a:pt x="463" y="55"/>
                  <a:pt x="463" y="55"/>
                </a:cubicBezTo>
                <a:cubicBezTo>
                  <a:pt x="296" y="55"/>
                  <a:pt x="139" y="35"/>
                  <a:pt x="0" y="0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prstClr val="black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sp>
        <p:nvSpPr>
          <p:cNvPr id="22" name="Freeform 17"/>
          <p:cNvSpPr/>
          <p:nvPr userDrawn="1"/>
        </p:nvSpPr>
        <p:spPr bwMode="auto">
          <a:xfrm>
            <a:off x="8601549" y="4410120"/>
            <a:ext cx="440079" cy="130504"/>
          </a:xfrm>
          <a:custGeom>
            <a:avLst/>
            <a:gdLst/>
            <a:ahLst/>
            <a:cxnLst>
              <a:cxn ang="0">
                <a:pos x="309" y="0"/>
              </a:cxn>
              <a:cxn ang="0">
                <a:pos x="0" y="122"/>
              </a:cxn>
            </a:cxnLst>
            <a:rect l="0" t="0" r="r" b="b"/>
            <a:pathLst>
              <a:path w="309" h="122">
                <a:moveTo>
                  <a:pt x="309" y="0"/>
                </a:moveTo>
                <a:cubicBezTo>
                  <a:pt x="190" y="30"/>
                  <a:pt x="85" y="72"/>
                  <a:pt x="0" y="122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prstClr val="black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sp>
        <p:nvSpPr>
          <p:cNvPr id="23" name="Freeform 18"/>
          <p:cNvSpPr/>
          <p:nvPr userDrawn="1"/>
        </p:nvSpPr>
        <p:spPr bwMode="auto">
          <a:xfrm>
            <a:off x="9041629" y="4368118"/>
            <a:ext cx="300054" cy="42001"/>
          </a:xfrm>
          <a:custGeom>
            <a:avLst/>
            <a:gdLst/>
            <a:ahLst/>
            <a:cxnLst>
              <a:cxn ang="0">
                <a:pos x="0" y="40"/>
              </a:cxn>
              <a:cxn ang="0">
                <a:pos x="210" y="0"/>
              </a:cxn>
            </a:cxnLst>
            <a:rect l="0" t="0" r="r" b="b"/>
            <a:pathLst>
              <a:path w="210" h="40">
                <a:moveTo>
                  <a:pt x="0" y="40"/>
                </a:moveTo>
                <a:cubicBezTo>
                  <a:pt x="66" y="23"/>
                  <a:pt x="137" y="10"/>
                  <a:pt x="210" y="0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prstClr val="black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sp>
        <p:nvSpPr>
          <p:cNvPr id="24" name="Freeform 19"/>
          <p:cNvSpPr/>
          <p:nvPr userDrawn="1"/>
        </p:nvSpPr>
        <p:spPr bwMode="auto">
          <a:xfrm>
            <a:off x="10037808" y="4363618"/>
            <a:ext cx="340061" cy="4650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38" y="43"/>
              </a:cxn>
            </a:cxnLst>
            <a:rect l="0" t="0" r="r" b="b"/>
            <a:pathLst>
              <a:path w="238" h="43">
                <a:moveTo>
                  <a:pt x="0" y="0"/>
                </a:moveTo>
                <a:cubicBezTo>
                  <a:pt x="84" y="9"/>
                  <a:pt x="164" y="24"/>
                  <a:pt x="238" y="43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prstClr val="black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sp>
        <p:nvSpPr>
          <p:cNvPr id="25" name="Freeform 20"/>
          <p:cNvSpPr/>
          <p:nvPr userDrawn="1"/>
        </p:nvSpPr>
        <p:spPr bwMode="auto">
          <a:xfrm>
            <a:off x="10377869" y="4410119"/>
            <a:ext cx="436079" cy="127504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06" y="119"/>
              </a:cxn>
            </a:cxnLst>
            <a:rect l="0" t="0" r="r" b="b"/>
            <a:pathLst>
              <a:path w="306" h="119">
                <a:moveTo>
                  <a:pt x="0" y="0"/>
                </a:moveTo>
                <a:cubicBezTo>
                  <a:pt x="117" y="30"/>
                  <a:pt x="221" y="70"/>
                  <a:pt x="306" y="119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prstClr val="black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sp>
        <p:nvSpPr>
          <p:cNvPr id="26" name="Freeform 21"/>
          <p:cNvSpPr/>
          <p:nvPr userDrawn="1"/>
        </p:nvSpPr>
        <p:spPr bwMode="auto">
          <a:xfrm>
            <a:off x="9041628" y="4410119"/>
            <a:ext cx="216039" cy="321009"/>
          </a:xfrm>
          <a:custGeom>
            <a:avLst/>
            <a:gdLst/>
            <a:ahLst/>
            <a:cxnLst>
              <a:cxn ang="0">
                <a:pos x="151" y="299"/>
              </a:cxn>
              <a:cxn ang="0">
                <a:pos x="0" y="0"/>
              </a:cxn>
            </a:cxnLst>
            <a:rect l="0" t="0" r="r" b="b"/>
            <a:pathLst>
              <a:path w="151" h="299">
                <a:moveTo>
                  <a:pt x="151" y="299"/>
                </a:moveTo>
                <a:cubicBezTo>
                  <a:pt x="91" y="219"/>
                  <a:pt x="39" y="118"/>
                  <a:pt x="0" y="0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prstClr val="black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sp>
        <p:nvSpPr>
          <p:cNvPr id="27" name="Freeform 22"/>
          <p:cNvSpPr/>
          <p:nvPr userDrawn="1"/>
        </p:nvSpPr>
        <p:spPr bwMode="auto">
          <a:xfrm>
            <a:off x="8927609" y="3274589"/>
            <a:ext cx="116021" cy="568515"/>
          </a:xfrm>
          <a:custGeom>
            <a:avLst/>
            <a:gdLst/>
            <a:ahLst/>
            <a:cxnLst>
              <a:cxn ang="0">
                <a:pos x="82" y="0"/>
              </a:cxn>
              <a:cxn ang="0">
                <a:pos x="0" y="531"/>
              </a:cxn>
            </a:cxnLst>
            <a:rect l="0" t="0" r="r" b="b"/>
            <a:pathLst>
              <a:path w="82" h="531">
                <a:moveTo>
                  <a:pt x="82" y="0"/>
                </a:moveTo>
                <a:cubicBezTo>
                  <a:pt x="30" y="154"/>
                  <a:pt x="0" y="336"/>
                  <a:pt x="0" y="531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prstClr val="black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sp>
        <p:nvSpPr>
          <p:cNvPr id="28" name="Freeform 23"/>
          <p:cNvSpPr/>
          <p:nvPr userDrawn="1"/>
        </p:nvSpPr>
        <p:spPr bwMode="auto">
          <a:xfrm>
            <a:off x="10143828" y="4410119"/>
            <a:ext cx="234042" cy="337510"/>
          </a:xfrm>
          <a:custGeom>
            <a:avLst/>
            <a:gdLst/>
            <a:ahLst/>
            <a:cxnLst>
              <a:cxn ang="0">
                <a:pos x="164" y="0"/>
              </a:cxn>
              <a:cxn ang="0">
                <a:pos x="0" y="315"/>
              </a:cxn>
            </a:cxnLst>
            <a:rect l="0" t="0" r="r" b="b"/>
            <a:pathLst>
              <a:path w="164" h="315">
                <a:moveTo>
                  <a:pt x="164" y="0"/>
                </a:moveTo>
                <a:cubicBezTo>
                  <a:pt x="122" y="125"/>
                  <a:pt x="66" y="233"/>
                  <a:pt x="0" y="315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prstClr val="black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sp>
        <p:nvSpPr>
          <p:cNvPr id="29" name="Freeform 24"/>
          <p:cNvSpPr/>
          <p:nvPr userDrawn="1"/>
        </p:nvSpPr>
        <p:spPr bwMode="auto">
          <a:xfrm>
            <a:off x="9043630" y="2758575"/>
            <a:ext cx="666119" cy="516014"/>
          </a:xfrm>
          <a:custGeom>
            <a:avLst/>
            <a:gdLst/>
            <a:ahLst/>
            <a:cxnLst>
              <a:cxn ang="0">
                <a:pos x="467" y="0"/>
              </a:cxn>
              <a:cxn ang="0">
                <a:pos x="0" y="483"/>
              </a:cxn>
            </a:cxnLst>
            <a:rect l="0" t="0" r="r" b="b"/>
            <a:pathLst>
              <a:path w="467" h="483">
                <a:moveTo>
                  <a:pt x="467" y="0"/>
                </a:moveTo>
                <a:cubicBezTo>
                  <a:pt x="269" y="0"/>
                  <a:pt x="96" y="193"/>
                  <a:pt x="0" y="483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prstClr val="black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sp>
        <p:nvSpPr>
          <p:cNvPr id="30" name="Freeform 25"/>
          <p:cNvSpPr/>
          <p:nvPr userDrawn="1"/>
        </p:nvSpPr>
        <p:spPr bwMode="auto">
          <a:xfrm>
            <a:off x="9709748" y="2758575"/>
            <a:ext cx="666121" cy="51451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466" y="481"/>
              </a:cxn>
            </a:cxnLst>
            <a:rect l="0" t="0" r="r" b="b"/>
            <a:pathLst>
              <a:path w="466" h="481">
                <a:moveTo>
                  <a:pt x="0" y="0"/>
                </a:moveTo>
                <a:cubicBezTo>
                  <a:pt x="197" y="0"/>
                  <a:pt x="370" y="193"/>
                  <a:pt x="466" y="481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prstClr val="black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sp>
        <p:nvSpPr>
          <p:cNvPr id="31" name="Freeform 26"/>
          <p:cNvSpPr/>
          <p:nvPr userDrawn="1"/>
        </p:nvSpPr>
        <p:spPr bwMode="auto">
          <a:xfrm>
            <a:off x="10377869" y="3843104"/>
            <a:ext cx="114021" cy="567015"/>
          </a:xfrm>
          <a:custGeom>
            <a:avLst/>
            <a:gdLst/>
            <a:ahLst/>
            <a:cxnLst>
              <a:cxn ang="0">
                <a:pos x="0" y="529"/>
              </a:cxn>
              <a:cxn ang="0">
                <a:pos x="80" y="0"/>
              </a:cxn>
            </a:cxnLst>
            <a:rect l="0" t="0" r="r" b="b"/>
            <a:pathLst>
              <a:path w="80" h="529">
                <a:moveTo>
                  <a:pt x="0" y="529"/>
                </a:moveTo>
                <a:cubicBezTo>
                  <a:pt x="51" y="375"/>
                  <a:pt x="80" y="194"/>
                  <a:pt x="80" y="0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prstClr val="black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sp>
        <p:nvSpPr>
          <p:cNvPr id="32" name="Freeform 27"/>
          <p:cNvSpPr/>
          <p:nvPr userDrawn="1"/>
        </p:nvSpPr>
        <p:spPr bwMode="auto">
          <a:xfrm>
            <a:off x="10375870" y="3273089"/>
            <a:ext cx="116021" cy="57001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82" y="533"/>
              </a:cxn>
            </a:cxnLst>
            <a:rect l="0" t="0" r="r" b="b"/>
            <a:pathLst>
              <a:path w="82" h="533">
                <a:moveTo>
                  <a:pt x="0" y="0"/>
                </a:moveTo>
                <a:cubicBezTo>
                  <a:pt x="52" y="155"/>
                  <a:pt x="82" y="337"/>
                  <a:pt x="82" y="533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prstClr val="black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sp>
        <p:nvSpPr>
          <p:cNvPr id="33" name="Freeform 28"/>
          <p:cNvSpPr/>
          <p:nvPr userDrawn="1"/>
        </p:nvSpPr>
        <p:spPr bwMode="auto">
          <a:xfrm>
            <a:off x="8927609" y="3843104"/>
            <a:ext cx="114020" cy="567015"/>
          </a:xfrm>
          <a:custGeom>
            <a:avLst/>
            <a:gdLst/>
            <a:ahLst/>
            <a:cxnLst>
              <a:cxn ang="0">
                <a:pos x="80" y="529"/>
              </a:cxn>
              <a:cxn ang="0">
                <a:pos x="0" y="0"/>
              </a:cxn>
            </a:cxnLst>
            <a:rect l="0" t="0" r="r" b="b"/>
            <a:pathLst>
              <a:path w="80" h="529">
                <a:moveTo>
                  <a:pt x="80" y="529"/>
                </a:moveTo>
                <a:cubicBezTo>
                  <a:pt x="29" y="375"/>
                  <a:pt x="0" y="194"/>
                  <a:pt x="0" y="0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prstClr val="black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sp>
        <p:nvSpPr>
          <p:cNvPr id="34" name="Line 29"/>
          <p:cNvSpPr>
            <a:spLocks noChangeShapeType="1"/>
          </p:cNvSpPr>
          <p:nvPr userDrawn="1"/>
        </p:nvSpPr>
        <p:spPr bwMode="auto">
          <a:xfrm>
            <a:off x="8263489" y="3843104"/>
            <a:ext cx="664120" cy="1501"/>
          </a:xfrm>
          <a:prstGeom prst="line">
            <a:avLst/>
          </a:pr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prstClr val="black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sp>
        <p:nvSpPr>
          <p:cNvPr id="35" name="Line 30"/>
          <p:cNvSpPr>
            <a:spLocks noChangeShapeType="1"/>
          </p:cNvSpPr>
          <p:nvPr userDrawn="1"/>
        </p:nvSpPr>
        <p:spPr bwMode="auto">
          <a:xfrm>
            <a:off x="10029807" y="3843104"/>
            <a:ext cx="462084" cy="1501"/>
          </a:xfrm>
          <a:prstGeom prst="line">
            <a:avLst/>
          </a:pr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prstClr val="black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sp>
        <p:nvSpPr>
          <p:cNvPr id="36" name="Line 31"/>
          <p:cNvSpPr>
            <a:spLocks noChangeShapeType="1"/>
          </p:cNvSpPr>
          <p:nvPr userDrawn="1"/>
        </p:nvSpPr>
        <p:spPr bwMode="auto">
          <a:xfrm flipH="1">
            <a:off x="10491891" y="3843104"/>
            <a:ext cx="666119" cy="1501"/>
          </a:xfrm>
          <a:prstGeom prst="line">
            <a:avLst/>
          </a:pr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prstClr val="black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sp>
        <p:nvSpPr>
          <p:cNvPr id="37" name="Line 32"/>
          <p:cNvSpPr>
            <a:spLocks noChangeShapeType="1"/>
          </p:cNvSpPr>
          <p:nvPr userDrawn="1"/>
        </p:nvSpPr>
        <p:spPr bwMode="auto">
          <a:xfrm>
            <a:off x="8927609" y="3843104"/>
            <a:ext cx="492089" cy="1501"/>
          </a:xfrm>
          <a:prstGeom prst="line">
            <a:avLst/>
          </a:pr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prstClr val="black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sp>
        <p:nvSpPr>
          <p:cNvPr id="38" name="Line 33"/>
          <p:cNvSpPr>
            <a:spLocks noChangeShapeType="1"/>
          </p:cNvSpPr>
          <p:nvPr userDrawn="1"/>
        </p:nvSpPr>
        <p:spPr bwMode="auto">
          <a:xfrm>
            <a:off x="9709749" y="3334591"/>
            <a:ext cx="2001" cy="405011"/>
          </a:xfrm>
          <a:prstGeom prst="line">
            <a:avLst/>
          </a:pr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prstClr val="black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sp>
        <p:nvSpPr>
          <p:cNvPr id="39" name="Line 34"/>
          <p:cNvSpPr>
            <a:spLocks noChangeShapeType="1"/>
          </p:cNvSpPr>
          <p:nvPr userDrawn="1"/>
        </p:nvSpPr>
        <p:spPr bwMode="auto">
          <a:xfrm>
            <a:off x="9709749" y="2758575"/>
            <a:ext cx="2001" cy="576016"/>
          </a:xfrm>
          <a:prstGeom prst="line">
            <a:avLst/>
          </a:pr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prstClr val="black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sp>
        <p:nvSpPr>
          <p:cNvPr id="40" name="Freeform 39"/>
          <p:cNvSpPr/>
          <p:nvPr userDrawn="1"/>
        </p:nvSpPr>
        <p:spPr bwMode="auto">
          <a:xfrm>
            <a:off x="10135826" y="4741629"/>
            <a:ext cx="8001" cy="60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6" y="6"/>
              </a:cxn>
            </a:cxnLst>
            <a:rect l="0" t="0" r="r" b="b"/>
            <a:pathLst>
              <a:path w="6" h="6">
                <a:moveTo>
                  <a:pt x="0" y="0"/>
                </a:moveTo>
                <a:cubicBezTo>
                  <a:pt x="2" y="2"/>
                  <a:pt x="4" y="4"/>
                  <a:pt x="6" y="6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prstClr val="black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grpSp>
        <p:nvGrpSpPr>
          <p:cNvPr id="41" name="Group 60"/>
          <p:cNvGrpSpPr/>
          <p:nvPr userDrawn="1"/>
        </p:nvGrpSpPr>
        <p:grpSpPr bwMode="auto">
          <a:xfrm>
            <a:off x="8881599" y="3739602"/>
            <a:ext cx="1632294" cy="1932052"/>
            <a:chOff x="7048500" y="3957638"/>
            <a:chExt cx="1295400" cy="2044699"/>
          </a:xfrm>
        </p:grpSpPr>
        <p:sp>
          <p:nvSpPr>
            <p:cNvPr id="42" name="Freeform 35"/>
            <p:cNvSpPr/>
            <p:nvPr userDrawn="1"/>
          </p:nvSpPr>
          <p:spPr bwMode="auto">
            <a:xfrm>
              <a:off x="7408863" y="4343400"/>
              <a:ext cx="63500" cy="193675"/>
            </a:xfrm>
            <a:custGeom>
              <a:avLst/>
              <a:gdLst/>
              <a:ahLst/>
              <a:cxnLst>
                <a:cxn ang="0">
                  <a:pos x="56" y="0"/>
                </a:cxn>
                <a:cxn ang="0">
                  <a:pos x="0" y="171"/>
                </a:cxn>
              </a:cxnLst>
              <a:rect l="0" t="0" r="r" b="b"/>
              <a:pathLst>
                <a:path w="56" h="171">
                  <a:moveTo>
                    <a:pt x="56" y="0"/>
                  </a:moveTo>
                  <a:cubicBezTo>
                    <a:pt x="25" y="46"/>
                    <a:pt x="5" y="104"/>
                    <a:pt x="0" y="171"/>
                  </a:cubicBezTo>
                </a:path>
              </a:pathLst>
            </a:custGeom>
            <a:noFill/>
            <a:ln w="19050" cap="rnd">
              <a:solidFill>
                <a:srgbClr val="D5D30F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700">
                <a:solidFill>
                  <a:prstClr val="black"/>
                </a:solidFill>
                <a:latin typeface="Arial" panose="020B0604020202090204" pitchFamily="34" charset="0"/>
                <a:ea typeface="MS PGothic" pitchFamily="34" charset="-128"/>
                <a:cs typeface="Arial" panose="020B0604020202090204" pitchFamily="34" charset="0"/>
              </a:endParaRPr>
            </a:p>
          </p:txBody>
        </p:sp>
        <p:sp>
          <p:nvSpPr>
            <p:cNvPr id="43" name="Freeform 36"/>
            <p:cNvSpPr/>
            <p:nvPr userDrawn="1"/>
          </p:nvSpPr>
          <p:spPr bwMode="auto">
            <a:xfrm>
              <a:off x="7254875" y="5006974"/>
              <a:ext cx="92075" cy="119063"/>
            </a:xfrm>
            <a:custGeom>
              <a:avLst/>
              <a:gdLst/>
              <a:ahLst/>
              <a:cxnLst>
                <a:cxn ang="0">
                  <a:pos x="0" y="105"/>
                </a:cxn>
                <a:cxn ang="0">
                  <a:pos x="81" y="0"/>
                </a:cxn>
              </a:cxnLst>
              <a:rect l="0" t="0" r="r" b="b"/>
              <a:pathLst>
                <a:path w="81" h="105">
                  <a:moveTo>
                    <a:pt x="0" y="105"/>
                  </a:moveTo>
                  <a:cubicBezTo>
                    <a:pt x="23" y="66"/>
                    <a:pt x="50" y="30"/>
                    <a:pt x="81" y="0"/>
                  </a:cubicBezTo>
                </a:path>
              </a:pathLst>
            </a:custGeom>
            <a:noFill/>
            <a:ln w="19050" cap="rnd">
              <a:solidFill>
                <a:srgbClr val="D5D30F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700">
                <a:solidFill>
                  <a:prstClr val="black"/>
                </a:solidFill>
                <a:latin typeface="Arial" panose="020B0604020202090204" pitchFamily="34" charset="0"/>
                <a:ea typeface="MS PGothic" pitchFamily="34" charset="-128"/>
                <a:cs typeface="Arial" panose="020B0604020202090204" pitchFamily="34" charset="0"/>
              </a:endParaRPr>
            </a:p>
          </p:txBody>
        </p:sp>
        <p:sp>
          <p:nvSpPr>
            <p:cNvPr id="44" name="Freeform 37"/>
            <p:cNvSpPr/>
            <p:nvPr userDrawn="1"/>
          </p:nvSpPr>
          <p:spPr bwMode="auto">
            <a:xfrm>
              <a:off x="7408863" y="4537075"/>
              <a:ext cx="4762" cy="85725"/>
            </a:xfrm>
            <a:custGeom>
              <a:avLst/>
              <a:gdLst/>
              <a:ahLst/>
              <a:cxnLst>
                <a:cxn ang="0">
                  <a:pos x="5" y="75"/>
                </a:cxn>
                <a:cxn ang="0">
                  <a:pos x="0" y="27"/>
                </a:cxn>
                <a:cxn ang="0">
                  <a:pos x="1" y="0"/>
                </a:cxn>
              </a:cxnLst>
              <a:rect l="0" t="0" r="r" b="b"/>
              <a:pathLst>
                <a:path w="5" h="75">
                  <a:moveTo>
                    <a:pt x="5" y="75"/>
                  </a:moveTo>
                  <a:cubicBezTo>
                    <a:pt x="2" y="59"/>
                    <a:pt x="0" y="43"/>
                    <a:pt x="0" y="27"/>
                  </a:cubicBezTo>
                  <a:cubicBezTo>
                    <a:pt x="0" y="18"/>
                    <a:pt x="1" y="9"/>
                    <a:pt x="1" y="0"/>
                  </a:cubicBezTo>
                </a:path>
              </a:pathLst>
            </a:custGeom>
            <a:noFill/>
            <a:ln w="19050" cap="rnd">
              <a:solidFill>
                <a:srgbClr val="D5D30F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700">
                <a:solidFill>
                  <a:prstClr val="black"/>
                </a:solidFill>
                <a:latin typeface="Arial" panose="020B0604020202090204" pitchFamily="34" charset="0"/>
                <a:ea typeface="MS PGothic" pitchFamily="34" charset="-128"/>
                <a:cs typeface="Arial" panose="020B0604020202090204" pitchFamily="34" charset="0"/>
              </a:endParaRPr>
            </a:p>
          </p:txBody>
        </p:sp>
        <p:sp>
          <p:nvSpPr>
            <p:cNvPr id="45" name="Freeform 38"/>
            <p:cNvSpPr/>
            <p:nvPr userDrawn="1"/>
          </p:nvSpPr>
          <p:spPr bwMode="auto">
            <a:xfrm>
              <a:off x="7213600" y="5126037"/>
              <a:ext cx="41275" cy="82550"/>
            </a:xfrm>
            <a:custGeom>
              <a:avLst/>
              <a:gdLst/>
              <a:ahLst/>
              <a:cxnLst>
                <a:cxn ang="0">
                  <a:pos x="37" y="0"/>
                </a:cxn>
                <a:cxn ang="0">
                  <a:pos x="0" y="73"/>
                </a:cxn>
              </a:cxnLst>
              <a:rect l="0" t="0" r="r" b="b"/>
              <a:pathLst>
                <a:path w="37" h="73">
                  <a:moveTo>
                    <a:pt x="37" y="0"/>
                  </a:moveTo>
                  <a:cubicBezTo>
                    <a:pt x="24" y="23"/>
                    <a:pt x="11" y="48"/>
                    <a:pt x="0" y="73"/>
                  </a:cubicBezTo>
                </a:path>
              </a:pathLst>
            </a:custGeom>
            <a:noFill/>
            <a:ln w="19050" cap="rnd">
              <a:solidFill>
                <a:srgbClr val="D5D30F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700">
                <a:solidFill>
                  <a:prstClr val="black"/>
                </a:solidFill>
                <a:latin typeface="Arial" panose="020B0604020202090204" pitchFamily="34" charset="0"/>
                <a:ea typeface="MS PGothic" pitchFamily="34" charset="-128"/>
                <a:cs typeface="Arial" panose="020B0604020202090204" pitchFamily="34" charset="0"/>
              </a:endParaRPr>
            </a:p>
          </p:txBody>
        </p:sp>
        <p:sp>
          <p:nvSpPr>
            <p:cNvPr id="46" name="Freeform 40"/>
            <p:cNvSpPr/>
            <p:nvPr userDrawn="1"/>
          </p:nvSpPr>
          <p:spPr bwMode="auto">
            <a:xfrm>
              <a:off x="8050213" y="5024437"/>
              <a:ext cx="117475" cy="188912"/>
            </a:xfrm>
            <a:custGeom>
              <a:avLst/>
              <a:gdLst/>
              <a:ahLst/>
              <a:cxnLst>
                <a:cxn ang="0">
                  <a:pos x="104" y="167"/>
                </a:cxn>
                <a:cxn ang="0">
                  <a:pos x="0" y="0"/>
                </a:cxn>
              </a:cxnLst>
              <a:rect l="0" t="0" r="r" b="b"/>
              <a:pathLst>
                <a:path w="104" h="167">
                  <a:moveTo>
                    <a:pt x="104" y="167"/>
                  </a:moveTo>
                  <a:cubicBezTo>
                    <a:pt x="77" y="103"/>
                    <a:pt x="43" y="47"/>
                    <a:pt x="0" y="0"/>
                  </a:cubicBezTo>
                </a:path>
              </a:pathLst>
            </a:custGeom>
            <a:noFill/>
            <a:ln w="19050" cap="rnd">
              <a:solidFill>
                <a:srgbClr val="D5D30F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700">
                <a:solidFill>
                  <a:prstClr val="black"/>
                </a:solidFill>
                <a:latin typeface="Arial" panose="020B0604020202090204" pitchFamily="34" charset="0"/>
                <a:ea typeface="MS PGothic" pitchFamily="34" charset="-128"/>
                <a:cs typeface="Arial" panose="020B0604020202090204" pitchFamily="34" charset="0"/>
              </a:endParaRPr>
            </a:p>
          </p:txBody>
        </p:sp>
        <p:sp>
          <p:nvSpPr>
            <p:cNvPr id="47" name="Freeform 41"/>
            <p:cNvSpPr/>
            <p:nvPr userDrawn="1"/>
          </p:nvSpPr>
          <p:spPr bwMode="auto">
            <a:xfrm>
              <a:off x="7905750" y="4340225"/>
              <a:ext cx="28575" cy="50800"/>
            </a:xfrm>
            <a:custGeom>
              <a:avLst/>
              <a:gdLst/>
              <a:ahLst/>
              <a:cxnLst>
                <a:cxn ang="0">
                  <a:pos x="26" y="45"/>
                </a:cxn>
                <a:cxn ang="0">
                  <a:pos x="0" y="0"/>
                </a:cxn>
              </a:cxnLst>
              <a:rect l="0" t="0" r="r" b="b"/>
              <a:pathLst>
                <a:path w="26" h="45">
                  <a:moveTo>
                    <a:pt x="26" y="45"/>
                  </a:moveTo>
                  <a:cubicBezTo>
                    <a:pt x="18" y="29"/>
                    <a:pt x="10" y="14"/>
                    <a:pt x="0" y="0"/>
                  </a:cubicBezTo>
                </a:path>
              </a:pathLst>
            </a:custGeom>
            <a:noFill/>
            <a:ln w="19050" cap="rnd">
              <a:solidFill>
                <a:srgbClr val="D5D30F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700">
                <a:solidFill>
                  <a:prstClr val="black"/>
                </a:solidFill>
                <a:latin typeface="Arial" panose="020B0604020202090204" pitchFamily="34" charset="0"/>
                <a:ea typeface="MS PGothic" pitchFamily="34" charset="-128"/>
                <a:cs typeface="Arial" panose="020B0604020202090204" pitchFamily="34" charset="0"/>
              </a:endParaRPr>
            </a:p>
          </p:txBody>
        </p:sp>
        <p:sp>
          <p:nvSpPr>
            <p:cNvPr id="48" name="Freeform 42"/>
            <p:cNvSpPr/>
            <p:nvPr userDrawn="1"/>
          </p:nvSpPr>
          <p:spPr bwMode="auto">
            <a:xfrm>
              <a:off x="7934325" y="4391025"/>
              <a:ext cx="38100" cy="227013"/>
            </a:xfrm>
            <a:custGeom>
              <a:avLst/>
              <a:gdLst/>
              <a:ahLst/>
              <a:cxnLst>
                <a:cxn ang="0">
                  <a:pos x="28" y="201"/>
                </a:cxn>
                <a:cxn ang="0">
                  <a:pos x="33" y="156"/>
                </a:cxn>
                <a:cxn ang="0">
                  <a:pos x="0" y="0"/>
                </a:cxn>
              </a:cxnLst>
              <a:rect l="0" t="0" r="r" b="b"/>
              <a:pathLst>
                <a:path w="33" h="201">
                  <a:moveTo>
                    <a:pt x="28" y="201"/>
                  </a:moveTo>
                  <a:cubicBezTo>
                    <a:pt x="31" y="186"/>
                    <a:pt x="33" y="171"/>
                    <a:pt x="33" y="156"/>
                  </a:cubicBezTo>
                  <a:cubicBezTo>
                    <a:pt x="33" y="97"/>
                    <a:pt x="21" y="45"/>
                    <a:pt x="0" y="0"/>
                  </a:cubicBezTo>
                </a:path>
              </a:pathLst>
            </a:custGeom>
            <a:noFill/>
            <a:ln w="19050" cap="rnd">
              <a:solidFill>
                <a:srgbClr val="D5D30F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700">
                <a:solidFill>
                  <a:prstClr val="black"/>
                </a:solidFill>
                <a:latin typeface="Arial" panose="020B0604020202090204" pitchFamily="34" charset="0"/>
                <a:ea typeface="MS PGothic" pitchFamily="34" charset="-128"/>
                <a:cs typeface="Arial" panose="020B0604020202090204" pitchFamily="34" charset="0"/>
              </a:endParaRPr>
            </a:p>
          </p:txBody>
        </p:sp>
        <p:sp>
          <p:nvSpPr>
            <p:cNvPr id="49" name="Freeform 43"/>
            <p:cNvSpPr/>
            <p:nvPr userDrawn="1"/>
          </p:nvSpPr>
          <p:spPr bwMode="auto">
            <a:xfrm>
              <a:off x="7346950" y="4622800"/>
              <a:ext cx="215900" cy="384175"/>
            </a:xfrm>
            <a:custGeom>
              <a:avLst/>
              <a:gdLst/>
              <a:ahLst/>
              <a:cxnLst>
                <a:cxn ang="0">
                  <a:pos x="0" y="339"/>
                </a:cxn>
                <a:cxn ang="0">
                  <a:pos x="190" y="228"/>
                </a:cxn>
                <a:cxn ang="0">
                  <a:pos x="59" y="0"/>
                </a:cxn>
              </a:cxnLst>
              <a:rect l="0" t="0" r="r" b="b"/>
              <a:pathLst>
                <a:path w="190" h="339">
                  <a:moveTo>
                    <a:pt x="0" y="339"/>
                  </a:moveTo>
                  <a:cubicBezTo>
                    <a:pt x="52" y="288"/>
                    <a:pt x="114" y="250"/>
                    <a:pt x="190" y="228"/>
                  </a:cubicBezTo>
                  <a:cubicBezTo>
                    <a:pt x="140" y="178"/>
                    <a:pt x="77" y="90"/>
                    <a:pt x="59" y="0"/>
                  </a:cubicBezTo>
                </a:path>
              </a:pathLst>
            </a:custGeom>
            <a:noFill/>
            <a:ln w="19050" cap="rnd">
              <a:solidFill>
                <a:srgbClr val="D5D30F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700">
                <a:solidFill>
                  <a:prstClr val="black"/>
                </a:solidFill>
                <a:latin typeface="Arial" panose="020B0604020202090204" pitchFamily="34" charset="0"/>
                <a:ea typeface="MS PGothic" pitchFamily="34" charset="-128"/>
                <a:cs typeface="Arial" panose="020B0604020202090204" pitchFamily="34" charset="0"/>
              </a:endParaRPr>
            </a:p>
          </p:txBody>
        </p:sp>
        <p:sp>
          <p:nvSpPr>
            <p:cNvPr id="50" name="Freeform 44"/>
            <p:cNvSpPr/>
            <p:nvPr userDrawn="1"/>
          </p:nvSpPr>
          <p:spPr bwMode="auto">
            <a:xfrm>
              <a:off x="7818438" y="4618038"/>
              <a:ext cx="225425" cy="400050"/>
            </a:xfrm>
            <a:custGeom>
              <a:avLst/>
              <a:gdLst/>
              <a:ahLst/>
              <a:cxnLst>
                <a:cxn ang="0">
                  <a:pos x="131" y="0"/>
                </a:cxn>
                <a:cxn ang="0">
                  <a:pos x="0" y="231"/>
                </a:cxn>
                <a:cxn ang="0">
                  <a:pos x="199" y="352"/>
                </a:cxn>
              </a:cxnLst>
              <a:rect l="0" t="0" r="r" b="b"/>
              <a:pathLst>
                <a:path w="199" h="352">
                  <a:moveTo>
                    <a:pt x="131" y="0"/>
                  </a:moveTo>
                  <a:cubicBezTo>
                    <a:pt x="114" y="91"/>
                    <a:pt x="51" y="180"/>
                    <a:pt x="0" y="231"/>
                  </a:cubicBezTo>
                  <a:cubicBezTo>
                    <a:pt x="81" y="254"/>
                    <a:pt x="146" y="296"/>
                    <a:pt x="199" y="352"/>
                  </a:cubicBezTo>
                </a:path>
              </a:pathLst>
            </a:custGeom>
            <a:noFill/>
            <a:ln w="19050" cap="rnd">
              <a:solidFill>
                <a:srgbClr val="D5D30F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700">
                <a:solidFill>
                  <a:prstClr val="black"/>
                </a:solidFill>
                <a:latin typeface="Arial" panose="020B0604020202090204" pitchFamily="34" charset="0"/>
                <a:ea typeface="MS PGothic" pitchFamily="34" charset="-128"/>
                <a:cs typeface="Arial" panose="020B0604020202090204" pitchFamily="34" charset="0"/>
              </a:endParaRPr>
            </a:p>
          </p:txBody>
        </p:sp>
        <p:sp>
          <p:nvSpPr>
            <p:cNvPr id="51" name="Freeform 45"/>
            <p:cNvSpPr/>
            <p:nvPr userDrawn="1"/>
          </p:nvSpPr>
          <p:spPr bwMode="auto">
            <a:xfrm>
              <a:off x="7324725" y="4278313"/>
              <a:ext cx="96838" cy="176212"/>
            </a:xfrm>
            <a:custGeom>
              <a:avLst/>
              <a:gdLst/>
              <a:ahLst/>
              <a:cxnLst>
                <a:cxn ang="0">
                  <a:pos x="86" y="155"/>
                </a:cxn>
                <a:cxn ang="0">
                  <a:pos x="32" y="107"/>
                </a:cxn>
                <a:cxn ang="0">
                  <a:pos x="0" y="0"/>
                </a:cxn>
              </a:cxnLst>
              <a:rect l="0" t="0" r="r" b="b"/>
              <a:pathLst>
                <a:path w="86" h="155">
                  <a:moveTo>
                    <a:pt x="86" y="155"/>
                  </a:moveTo>
                  <a:cubicBezTo>
                    <a:pt x="72" y="147"/>
                    <a:pt x="47" y="129"/>
                    <a:pt x="32" y="107"/>
                  </a:cubicBezTo>
                  <a:cubicBezTo>
                    <a:pt x="13" y="79"/>
                    <a:pt x="0" y="0"/>
                    <a:pt x="0" y="0"/>
                  </a:cubicBezTo>
                </a:path>
              </a:pathLst>
            </a:custGeom>
            <a:noFill/>
            <a:ln w="19050" cap="rnd">
              <a:solidFill>
                <a:srgbClr val="D5D30F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700">
                <a:solidFill>
                  <a:prstClr val="black"/>
                </a:solidFill>
                <a:latin typeface="Arial" panose="020B0604020202090204" pitchFamily="34" charset="0"/>
                <a:ea typeface="MS PGothic" pitchFamily="34" charset="-128"/>
                <a:cs typeface="Arial" panose="020B0604020202090204" pitchFamily="34" charset="0"/>
              </a:endParaRPr>
            </a:p>
          </p:txBody>
        </p:sp>
        <p:sp>
          <p:nvSpPr>
            <p:cNvPr id="52" name="Freeform 46"/>
            <p:cNvSpPr/>
            <p:nvPr userDrawn="1"/>
          </p:nvSpPr>
          <p:spPr bwMode="auto">
            <a:xfrm>
              <a:off x="7961313" y="4275138"/>
              <a:ext cx="84137" cy="180975"/>
            </a:xfrm>
            <a:custGeom>
              <a:avLst/>
              <a:gdLst/>
              <a:ahLst/>
              <a:cxnLst>
                <a:cxn ang="0">
                  <a:pos x="0" y="160"/>
                </a:cxn>
                <a:cxn ang="0">
                  <a:pos x="49" y="109"/>
                </a:cxn>
                <a:cxn ang="0">
                  <a:pos x="75" y="0"/>
                </a:cxn>
              </a:cxnLst>
              <a:rect l="0" t="0" r="r" b="b"/>
              <a:pathLst>
                <a:path w="75" h="160">
                  <a:moveTo>
                    <a:pt x="0" y="160"/>
                  </a:moveTo>
                  <a:cubicBezTo>
                    <a:pt x="13" y="150"/>
                    <a:pt x="36" y="131"/>
                    <a:pt x="49" y="109"/>
                  </a:cubicBezTo>
                  <a:cubicBezTo>
                    <a:pt x="66" y="80"/>
                    <a:pt x="75" y="0"/>
                    <a:pt x="75" y="0"/>
                  </a:cubicBezTo>
                </a:path>
              </a:pathLst>
            </a:custGeom>
            <a:noFill/>
            <a:ln w="19050" cap="rnd">
              <a:solidFill>
                <a:srgbClr val="D5D30F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700">
                <a:solidFill>
                  <a:prstClr val="black"/>
                </a:solidFill>
                <a:latin typeface="Arial" panose="020B0604020202090204" pitchFamily="34" charset="0"/>
                <a:ea typeface="MS PGothic" pitchFamily="34" charset="-128"/>
                <a:cs typeface="Arial" panose="020B0604020202090204" pitchFamily="34" charset="0"/>
              </a:endParaRPr>
            </a:p>
          </p:txBody>
        </p:sp>
        <p:sp>
          <p:nvSpPr>
            <p:cNvPr id="53" name="Freeform 47"/>
            <p:cNvSpPr/>
            <p:nvPr userDrawn="1"/>
          </p:nvSpPr>
          <p:spPr bwMode="auto">
            <a:xfrm>
              <a:off x="7705725" y="5099049"/>
              <a:ext cx="638175" cy="903288"/>
            </a:xfrm>
            <a:custGeom>
              <a:avLst/>
              <a:gdLst/>
              <a:ahLst/>
              <a:cxnLst>
                <a:cxn ang="0">
                  <a:pos x="305" y="436"/>
                </a:cxn>
                <a:cxn ang="0">
                  <a:pos x="0" y="569"/>
                </a:cxn>
                <a:cxn ang="0">
                  <a:pos x="0" y="265"/>
                </a:cxn>
                <a:cxn ang="0">
                  <a:pos x="402" y="0"/>
                </a:cxn>
                <a:cxn ang="0">
                  <a:pos x="305" y="436"/>
                </a:cxn>
              </a:cxnLst>
              <a:rect l="0" t="0" r="r" b="b"/>
              <a:pathLst>
                <a:path w="402" h="569">
                  <a:moveTo>
                    <a:pt x="305" y="436"/>
                  </a:moveTo>
                  <a:lnTo>
                    <a:pt x="0" y="569"/>
                  </a:lnTo>
                  <a:lnTo>
                    <a:pt x="0" y="265"/>
                  </a:lnTo>
                  <a:lnTo>
                    <a:pt x="402" y="0"/>
                  </a:lnTo>
                  <a:lnTo>
                    <a:pt x="305" y="436"/>
                  </a:lnTo>
                  <a:close/>
                </a:path>
              </a:pathLst>
            </a:custGeom>
            <a:noFill/>
            <a:ln w="19050" cap="rnd">
              <a:solidFill>
                <a:srgbClr val="D5D30F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700">
                <a:solidFill>
                  <a:prstClr val="black"/>
                </a:solidFill>
                <a:latin typeface="Arial" panose="020B0604020202090204" pitchFamily="34" charset="0"/>
                <a:ea typeface="MS PGothic" pitchFamily="34" charset="-128"/>
                <a:cs typeface="Arial" panose="020B0604020202090204" pitchFamily="34" charset="0"/>
              </a:endParaRPr>
            </a:p>
          </p:txBody>
        </p:sp>
        <p:sp>
          <p:nvSpPr>
            <p:cNvPr id="54" name="Freeform 48"/>
            <p:cNvSpPr/>
            <p:nvPr userDrawn="1"/>
          </p:nvSpPr>
          <p:spPr bwMode="auto">
            <a:xfrm>
              <a:off x="7048500" y="5099049"/>
              <a:ext cx="636588" cy="903288"/>
            </a:xfrm>
            <a:custGeom>
              <a:avLst/>
              <a:gdLst/>
              <a:ahLst/>
              <a:cxnLst>
                <a:cxn ang="0">
                  <a:pos x="133" y="452"/>
                </a:cxn>
                <a:cxn ang="0">
                  <a:pos x="401" y="569"/>
                </a:cxn>
                <a:cxn ang="0">
                  <a:pos x="401" y="265"/>
                </a:cxn>
                <a:cxn ang="0">
                  <a:pos x="104" y="69"/>
                </a:cxn>
                <a:cxn ang="0">
                  <a:pos x="0" y="0"/>
                </a:cxn>
                <a:cxn ang="0">
                  <a:pos x="97" y="436"/>
                </a:cxn>
              </a:cxnLst>
              <a:rect l="0" t="0" r="r" b="b"/>
              <a:pathLst>
                <a:path w="401" h="569">
                  <a:moveTo>
                    <a:pt x="133" y="452"/>
                  </a:moveTo>
                  <a:lnTo>
                    <a:pt x="401" y="569"/>
                  </a:lnTo>
                  <a:lnTo>
                    <a:pt x="401" y="265"/>
                  </a:lnTo>
                  <a:lnTo>
                    <a:pt x="104" y="69"/>
                  </a:lnTo>
                  <a:lnTo>
                    <a:pt x="0" y="0"/>
                  </a:lnTo>
                  <a:lnTo>
                    <a:pt x="97" y="436"/>
                  </a:lnTo>
                </a:path>
              </a:pathLst>
            </a:custGeom>
            <a:noFill/>
            <a:ln w="19050" cap="rnd">
              <a:solidFill>
                <a:srgbClr val="D5D30F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700">
                <a:solidFill>
                  <a:prstClr val="black"/>
                </a:solidFill>
                <a:latin typeface="Arial" panose="020B0604020202090204" pitchFamily="34" charset="0"/>
                <a:ea typeface="MS PGothic" pitchFamily="34" charset="-128"/>
                <a:cs typeface="Arial" panose="020B0604020202090204" pitchFamily="34" charset="0"/>
              </a:endParaRPr>
            </a:p>
          </p:txBody>
        </p:sp>
        <p:sp>
          <p:nvSpPr>
            <p:cNvPr id="55" name="Freeform 49"/>
            <p:cNvSpPr/>
            <p:nvPr userDrawn="1"/>
          </p:nvSpPr>
          <p:spPr bwMode="auto">
            <a:xfrm>
              <a:off x="7180263" y="3957638"/>
              <a:ext cx="1042987" cy="482600"/>
            </a:xfrm>
            <a:custGeom>
              <a:avLst/>
              <a:gdLst/>
              <a:ahLst/>
              <a:cxnLst>
                <a:cxn ang="0">
                  <a:pos x="657" y="144"/>
                </a:cxn>
                <a:cxn ang="0">
                  <a:pos x="330" y="0"/>
                </a:cxn>
                <a:cxn ang="0">
                  <a:pos x="0" y="160"/>
                </a:cxn>
                <a:cxn ang="0">
                  <a:pos x="326" y="304"/>
                </a:cxn>
                <a:cxn ang="0">
                  <a:pos x="620" y="162"/>
                </a:cxn>
              </a:cxnLst>
              <a:rect l="0" t="0" r="r" b="b"/>
              <a:pathLst>
                <a:path w="657" h="304">
                  <a:moveTo>
                    <a:pt x="657" y="144"/>
                  </a:moveTo>
                  <a:lnTo>
                    <a:pt x="330" y="0"/>
                  </a:lnTo>
                  <a:lnTo>
                    <a:pt x="0" y="160"/>
                  </a:lnTo>
                  <a:lnTo>
                    <a:pt x="326" y="304"/>
                  </a:lnTo>
                  <a:lnTo>
                    <a:pt x="620" y="162"/>
                  </a:lnTo>
                </a:path>
              </a:pathLst>
            </a:custGeom>
            <a:noFill/>
            <a:ln w="19050" cap="rnd">
              <a:solidFill>
                <a:srgbClr val="D5D30F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700">
                <a:solidFill>
                  <a:prstClr val="black"/>
                </a:solidFill>
                <a:latin typeface="Arial" panose="020B0604020202090204" pitchFamily="34" charset="0"/>
                <a:ea typeface="MS PGothic" pitchFamily="34" charset="-128"/>
                <a:cs typeface="Arial" panose="020B0604020202090204" pitchFamily="34" charset="0"/>
              </a:endParaRPr>
            </a:p>
          </p:txBody>
        </p:sp>
        <p:sp>
          <p:nvSpPr>
            <p:cNvPr id="56" name="Freeform 50"/>
            <p:cNvSpPr/>
            <p:nvPr userDrawn="1"/>
          </p:nvSpPr>
          <p:spPr bwMode="auto">
            <a:xfrm>
              <a:off x="8123238" y="4186238"/>
              <a:ext cx="139700" cy="274637"/>
            </a:xfrm>
            <a:custGeom>
              <a:avLst/>
              <a:gdLst/>
              <a:ahLst/>
              <a:cxnLst>
                <a:cxn ang="0">
                  <a:pos x="88" y="0"/>
                </a:cxn>
                <a:cxn ang="0">
                  <a:pos x="65" y="243"/>
                </a:cxn>
              </a:cxnLst>
              <a:rect l="0" t="0" r="r" b="b"/>
              <a:pathLst>
                <a:path w="124" h="243">
                  <a:moveTo>
                    <a:pt x="88" y="0"/>
                  </a:moveTo>
                  <a:cubicBezTo>
                    <a:pt x="124" y="46"/>
                    <a:pt x="0" y="201"/>
                    <a:pt x="65" y="243"/>
                  </a:cubicBezTo>
                </a:path>
              </a:pathLst>
            </a:custGeom>
            <a:noFill/>
            <a:ln w="19050" cap="rnd">
              <a:solidFill>
                <a:srgbClr val="D5D30F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700">
                <a:solidFill>
                  <a:prstClr val="black"/>
                </a:solidFill>
                <a:latin typeface="Arial" panose="020B0604020202090204" pitchFamily="34" charset="0"/>
                <a:ea typeface="MS PGothic" pitchFamily="34" charset="-128"/>
                <a:cs typeface="Arial" panose="020B0604020202090204" pitchFamily="34" charset="0"/>
              </a:endParaRPr>
            </a:p>
          </p:txBody>
        </p:sp>
      </p:grpSp>
      <p:sp>
        <p:nvSpPr>
          <p:cNvPr id="58" name="Title Placeholder 1"/>
          <p:cNvSpPr>
            <a:spLocks noGrp="1"/>
          </p:cNvSpPr>
          <p:nvPr>
            <p:ph type="title"/>
          </p:nvPr>
        </p:nvSpPr>
        <p:spPr bwMode="auto">
          <a:xfrm>
            <a:off x="242045" y="127504"/>
            <a:ext cx="9505166" cy="67651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59" name="Picture 58" descr="CAF_logo_color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9790206" y="117823"/>
            <a:ext cx="1464068" cy="432011"/>
          </a:xfrm>
          <a:prstGeom prst="rect">
            <a:avLst/>
          </a:prstGeom>
        </p:spPr>
      </p:pic>
      <p:pic>
        <p:nvPicPr>
          <p:cNvPr id="60" name="Picture 59" descr="Tagline01a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9754485" y="586203"/>
            <a:ext cx="1623564" cy="22617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073" y="1383038"/>
            <a:ext cx="10719930" cy="4449120"/>
          </a:xfrm>
          <a:prstGeom prst="rect">
            <a:avLst/>
          </a:prstGeom>
        </p:spPr>
        <p:txBody>
          <a:bodyPr/>
          <a:lstStyle>
            <a:lvl1pPr>
              <a:defRPr sz="2270">
                <a:solidFill>
                  <a:schemeClr val="tx1"/>
                </a:solidFill>
              </a:defRPr>
            </a:lvl1pPr>
            <a:lvl2pPr>
              <a:defRPr sz="1890">
                <a:solidFill>
                  <a:schemeClr val="tx1"/>
                </a:solidFill>
              </a:defRPr>
            </a:lvl2pPr>
            <a:lvl3pPr>
              <a:defRPr sz="1700">
                <a:solidFill>
                  <a:schemeClr val="tx1"/>
                </a:solidFill>
              </a:defRPr>
            </a:lvl3pPr>
            <a:lvl4pPr>
              <a:defRPr sz="1510">
                <a:solidFill>
                  <a:schemeClr val="tx1"/>
                </a:solidFill>
              </a:defRPr>
            </a:lvl4pPr>
            <a:lvl5pPr>
              <a:defRPr sz="151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073" y="1932052"/>
            <a:ext cx="10719930" cy="3900105"/>
          </a:xfrm>
          <a:prstGeom prst="rect">
            <a:avLst/>
          </a:prstGeom>
        </p:spPr>
        <p:txBody>
          <a:bodyPr/>
          <a:lstStyle>
            <a:lvl1pPr>
              <a:defRPr sz="2270">
                <a:solidFill>
                  <a:schemeClr val="tx1"/>
                </a:solidFill>
              </a:defRPr>
            </a:lvl1pPr>
            <a:lvl2pPr>
              <a:defRPr sz="1890">
                <a:solidFill>
                  <a:schemeClr val="tx1"/>
                </a:solidFill>
              </a:defRPr>
            </a:lvl2pPr>
            <a:lvl3pPr>
              <a:defRPr sz="1700">
                <a:solidFill>
                  <a:schemeClr val="tx1"/>
                </a:solidFill>
              </a:defRPr>
            </a:lvl3pPr>
            <a:lvl4pPr>
              <a:defRPr sz="1510">
                <a:solidFill>
                  <a:schemeClr val="tx1"/>
                </a:solidFill>
              </a:defRPr>
            </a:lvl4pPr>
            <a:lvl5pPr>
              <a:defRPr sz="151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402073" y="1383038"/>
            <a:ext cx="10719930" cy="44101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9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242045" y="127504"/>
            <a:ext cx="9505166" cy="67651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en-GB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1315" name="Picture 3"/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416"/>
          <a:stretch>
            <a:fillRect/>
          </a:stretch>
        </p:blipFill>
        <p:spPr bwMode="auto">
          <a:xfrm>
            <a:off x="4107" y="413975"/>
            <a:ext cx="11518529" cy="606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ound Same Side Corner Rectangle 3"/>
          <p:cNvSpPr/>
          <p:nvPr userDrawn="1"/>
        </p:nvSpPr>
        <p:spPr bwMode="auto">
          <a:xfrm rot="16200000">
            <a:off x="7698393" y="1081156"/>
            <a:ext cx="2252472" cy="5396013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rgbClr val="00234B">
                  <a:tint val="66000"/>
                  <a:satMod val="160000"/>
                  <a:alpha val="0"/>
                </a:srgbClr>
              </a:gs>
              <a:gs pos="39000">
                <a:schemeClr val="tx1">
                  <a:alpha val="67000"/>
                </a:schemeClr>
              </a:gs>
              <a:gs pos="100000">
                <a:schemeClr val="tx1">
                  <a:alpha val="20000"/>
                </a:schemeClr>
              </a:gs>
            </a:gsLst>
            <a:lin ang="5400000" scaled="1"/>
            <a:tileRect/>
          </a:gra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6402" tIns="43201" rIns="86402" bIns="43201" numCol="1" rtlCol="0" anchor="ctr" anchorCtr="0" compatLnSpc="1"/>
          <a:lstStyle/>
          <a:p>
            <a:pPr algn="ctr" defTabSz="86360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GB" sz="1510" b="1" dirty="0">
              <a:solidFill>
                <a:srgbClr val="EEECE1">
                  <a:lumMod val="50000"/>
                </a:srgbClr>
              </a:solidFill>
              <a:ea typeface="MS PGothic" pitchFamily="34" charset="-128"/>
              <a:cs typeface="Arial" panose="020B0604020202090204" pitchFamily="34" charset="0"/>
            </a:endParaRPr>
          </a:p>
        </p:txBody>
      </p:sp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386" y="1"/>
            <a:ext cx="11525022" cy="2535218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-1" fmla="*/ 0 w 10685085"/>
              <a:gd name="connsiteY0-2" fmla="*/ 0 h 684481"/>
              <a:gd name="connsiteX1-3" fmla="*/ 10685085 w 10685085"/>
              <a:gd name="connsiteY1-4" fmla="*/ 0 h 684481"/>
              <a:gd name="connsiteX2-5" fmla="*/ 10685085 w 10685085"/>
              <a:gd name="connsiteY2-6" fmla="*/ 684481 h 684481"/>
              <a:gd name="connsiteX3-7" fmla="*/ 525849 w 10685085"/>
              <a:gd name="connsiteY3-8" fmla="*/ 678410 h 684481"/>
              <a:gd name="connsiteX4-9" fmla="*/ 0 w 10685085"/>
              <a:gd name="connsiteY4-10" fmla="*/ 684481 h 684481"/>
              <a:gd name="connsiteX5" fmla="*/ 0 w 10685085"/>
              <a:gd name="connsiteY5" fmla="*/ 0 h 684481"/>
              <a:gd name="connsiteX0-11" fmla="*/ 0 w 10685085"/>
              <a:gd name="connsiteY0-12" fmla="*/ 0 h 684481"/>
              <a:gd name="connsiteX1-13" fmla="*/ 10685085 w 10685085"/>
              <a:gd name="connsiteY1-14" fmla="*/ 0 h 684481"/>
              <a:gd name="connsiteX2-15" fmla="*/ 10685085 w 10685085"/>
              <a:gd name="connsiteY2-16" fmla="*/ 684481 h 684481"/>
              <a:gd name="connsiteX3-17" fmla="*/ 1063736 w 10685085"/>
              <a:gd name="connsiteY3-18" fmla="*/ 670939 h 684481"/>
              <a:gd name="connsiteX4-19" fmla="*/ 525849 w 10685085"/>
              <a:gd name="connsiteY4-20" fmla="*/ 678410 h 684481"/>
              <a:gd name="connsiteX5-21" fmla="*/ 0 w 10685085"/>
              <a:gd name="connsiteY5-22" fmla="*/ 684481 h 684481"/>
              <a:gd name="connsiteX6" fmla="*/ 0 w 10685085"/>
              <a:gd name="connsiteY6" fmla="*/ 0 h 684481"/>
              <a:gd name="connsiteX0-23" fmla="*/ 0 w 10685085"/>
              <a:gd name="connsiteY0-24" fmla="*/ 0 h 684481"/>
              <a:gd name="connsiteX1-25" fmla="*/ 10685085 w 10685085"/>
              <a:gd name="connsiteY1-26" fmla="*/ 0 h 684481"/>
              <a:gd name="connsiteX2-27" fmla="*/ 10685085 w 10685085"/>
              <a:gd name="connsiteY2-28" fmla="*/ 684481 h 684481"/>
              <a:gd name="connsiteX3-29" fmla="*/ 1063736 w 10685085"/>
              <a:gd name="connsiteY3-30" fmla="*/ 670939 h 684481"/>
              <a:gd name="connsiteX4-31" fmla="*/ 525849 w 10685085"/>
              <a:gd name="connsiteY4-32" fmla="*/ 678410 h 684481"/>
              <a:gd name="connsiteX5-33" fmla="*/ 0 w 10685085"/>
              <a:gd name="connsiteY5-34" fmla="*/ 684481 h 684481"/>
              <a:gd name="connsiteX6-35" fmla="*/ 0 w 10685085"/>
              <a:gd name="connsiteY6-36" fmla="*/ 0 h 684481"/>
              <a:gd name="connsiteX0-37" fmla="*/ 0 w 10685085"/>
              <a:gd name="connsiteY0-38" fmla="*/ 0 h 1022049"/>
              <a:gd name="connsiteX1-39" fmla="*/ 10685085 w 10685085"/>
              <a:gd name="connsiteY1-40" fmla="*/ 0 h 1022049"/>
              <a:gd name="connsiteX2-41" fmla="*/ 10685085 w 10685085"/>
              <a:gd name="connsiteY2-42" fmla="*/ 684481 h 1022049"/>
              <a:gd name="connsiteX3-43" fmla="*/ 1063736 w 10685085"/>
              <a:gd name="connsiteY3-44" fmla="*/ 670939 h 1022049"/>
              <a:gd name="connsiteX4-45" fmla="*/ 533320 w 10685085"/>
              <a:gd name="connsiteY4-46" fmla="*/ 1022049 h 1022049"/>
              <a:gd name="connsiteX5-47" fmla="*/ 0 w 10685085"/>
              <a:gd name="connsiteY5-48" fmla="*/ 684481 h 1022049"/>
              <a:gd name="connsiteX6-49" fmla="*/ 0 w 10685085"/>
              <a:gd name="connsiteY6-50" fmla="*/ 0 h 1022049"/>
              <a:gd name="connsiteX0-51" fmla="*/ 0 w 10685085"/>
              <a:gd name="connsiteY0-52" fmla="*/ 0 h 1022049"/>
              <a:gd name="connsiteX1-53" fmla="*/ 10685085 w 10685085"/>
              <a:gd name="connsiteY1-54" fmla="*/ 0 h 1022049"/>
              <a:gd name="connsiteX2-55" fmla="*/ 10685085 w 10685085"/>
              <a:gd name="connsiteY2-56" fmla="*/ 684481 h 1022049"/>
              <a:gd name="connsiteX3-57" fmla="*/ 1063736 w 10685085"/>
              <a:gd name="connsiteY3-58" fmla="*/ 670939 h 1022049"/>
              <a:gd name="connsiteX4-59" fmla="*/ 533320 w 10685085"/>
              <a:gd name="connsiteY4-60" fmla="*/ 1022049 h 1022049"/>
              <a:gd name="connsiteX5-61" fmla="*/ 0 w 10685085"/>
              <a:gd name="connsiteY5-62" fmla="*/ 684481 h 1022049"/>
              <a:gd name="connsiteX6-63" fmla="*/ 0 w 10685085"/>
              <a:gd name="connsiteY6-64" fmla="*/ 0 h 1022049"/>
              <a:gd name="connsiteX0-65" fmla="*/ 0 w 10685085"/>
              <a:gd name="connsiteY0-66" fmla="*/ 0 h 1022049"/>
              <a:gd name="connsiteX1-67" fmla="*/ 10685085 w 10685085"/>
              <a:gd name="connsiteY1-68" fmla="*/ 0 h 1022049"/>
              <a:gd name="connsiteX2-69" fmla="*/ 10685085 w 10685085"/>
              <a:gd name="connsiteY2-70" fmla="*/ 684481 h 1022049"/>
              <a:gd name="connsiteX3-71" fmla="*/ 1063736 w 10685085"/>
              <a:gd name="connsiteY3-72" fmla="*/ 670939 h 1022049"/>
              <a:gd name="connsiteX4-73" fmla="*/ 533320 w 10685085"/>
              <a:gd name="connsiteY4-74" fmla="*/ 1022049 h 1022049"/>
              <a:gd name="connsiteX5-75" fmla="*/ 0 w 10685085"/>
              <a:gd name="connsiteY5-76" fmla="*/ 684481 h 1022049"/>
              <a:gd name="connsiteX6-77" fmla="*/ 0 w 10685085"/>
              <a:gd name="connsiteY6-78" fmla="*/ 0 h 1022049"/>
              <a:gd name="connsiteX0-79" fmla="*/ 0 w 10685085"/>
              <a:gd name="connsiteY0-80" fmla="*/ 0 h 1022049"/>
              <a:gd name="connsiteX1-81" fmla="*/ 10685085 w 10685085"/>
              <a:gd name="connsiteY1-82" fmla="*/ 0 h 1022049"/>
              <a:gd name="connsiteX2-83" fmla="*/ 10685085 w 10685085"/>
              <a:gd name="connsiteY2-84" fmla="*/ 684481 h 1022049"/>
              <a:gd name="connsiteX3-85" fmla="*/ 1063736 w 10685085"/>
              <a:gd name="connsiteY3-86" fmla="*/ 670939 h 1022049"/>
              <a:gd name="connsiteX4-87" fmla="*/ 533320 w 10685085"/>
              <a:gd name="connsiteY4-88" fmla="*/ 1022049 h 1022049"/>
              <a:gd name="connsiteX5-89" fmla="*/ 0 w 10685085"/>
              <a:gd name="connsiteY5-90" fmla="*/ 684481 h 1022049"/>
              <a:gd name="connsiteX6-91" fmla="*/ 0 w 10685085"/>
              <a:gd name="connsiteY6-92" fmla="*/ 0 h 1022049"/>
              <a:gd name="connsiteX0-93" fmla="*/ 0 w 10685085"/>
              <a:gd name="connsiteY0-94" fmla="*/ 0 h 1022049"/>
              <a:gd name="connsiteX1-95" fmla="*/ 10685085 w 10685085"/>
              <a:gd name="connsiteY1-96" fmla="*/ 0 h 1022049"/>
              <a:gd name="connsiteX2-97" fmla="*/ 10685085 w 10685085"/>
              <a:gd name="connsiteY2-98" fmla="*/ 684481 h 1022049"/>
              <a:gd name="connsiteX3-99" fmla="*/ 1063736 w 10685085"/>
              <a:gd name="connsiteY3-100" fmla="*/ 670939 h 1022049"/>
              <a:gd name="connsiteX4-101" fmla="*/ 533320 w 10685085"/>
              <a:gd name="connsiteY4-102" fmla="*/ 1022049 h 1022049"/>
              <a:gd name="connsiteX5-103" fmla="*/ 0 w 10685085"/>
              <a:gd name="connsiteY5-104" fmla="*/ 684481 h 1022049"/>
              <a:gd name="connsiteX6-105" fmla="*/ 0 w 10685085"/>
              <a:gd name="connsiteY6-106" fmla="*/ 0 h 1022049"/>
              <a:gd name="connsiteX0-107" fmla="*/ 0 w 10685085"/>
              <a:gd name="connsiteY0-108" fmla="*/ 0 h 1022049"/>
              <a:gd name="connsiteX1-109" fmla="*/ 10685085 w 10685085"/>
              <a:gd name="connsiteY1-110" fmla="*/ 0 h 1022049"/>
              <a:gd name="connsiteX2-111" fmla="*/ 10685085 w 10685085"/>
              <a:gd name="connsiteY2-112" fmla="*/ 684481 h 1022049"/>
              <a:gd name="connsiteX3-113" fmla="*/ 10222758 w 10685085"/>
              <a:gd name="connsiteY3-114" fmla="*/ 678410 h 1022049"/>
              <a:gd name="connsiteX4-115" fmla="*/ 1063736 w 10685085"/>
              <a:gd name="connsiteY4-116" fmla="*/ 670939 h 1022049"/>
              <a:gd name="connsiteX5-117" fmla="*/ 533320 w 10685085"/>
              <a:gd name="connsiteY5-118" fmla="*/ 1022049 h 1022049"/>
              <a:gd name="connsiteX6-119" fmla="*/ 0 w 10685085"/>
              <a:gd name="connsiteY6-120" fmla="*/ 684481 h 1022049"/>
              <a:gd name="connsiteX7" fmla="*/ 0 w 10685085"/>
              <a:gd name="connsiteY7" fmla="*/ 0 h 1022049"/>
              <a:gd name="connsiteX0-121" fmla="*/ 0 w 10685085"/>
              <a:gd name="connsiteY0-122" fmla="*/ 0 h 1022049"/>
              <a:gd name="connsiteX1-123" fmla="*/ 10685085 w 10685085"/>
              <a:gd name="connsiteY1-124" fmla="*/ 0 h 1022049"/>
              <a:gd name="connsiteX2-125" fmla="*/ 10685085 w 10685085"/>
              <a:gd name="connsiteY2-126" fmla="*/ 303491 h 1022049"/>
              <a:gd name="connsiteX3-127" fmla="*/ 10222758 w 10685085"/>
              <a:gd name="connsiteY3-128" fmla="*/ 678410 h 1022049"/>
              <a:gd name="connsiteX4-129" fmla="*/ 1063736 w 10685085"/>
              <a:gd name="connsiteY4-130" fmla="*/ 670939 h 1022049"/>
              <a:gd name="connsiteX5-131" fmla="*/ 533320 w 10685085"/>
              <a:gd name="connsiteY5-132" fmla="*/ 1022049 h 1022049"/>
              <a:gd name="connsiteX6-133" fmla="*/ 0 w 10685085"/>
              <a:gd name="connsiteY6-134" fmla="*/ 684481 h 1022049"/>
              <a:gd name="connsiteX7-135" fmla="*/ 0 w 10685085"/>
              <a:gd name="connsiteY7-136" fmla="*/ 0 h 1022049"/>
              <a:gd name="connsiteX0-137" fmla="*/ 0 w 10685085"/>
              <a:gd name="connsiteY0-138" fmla="*/ 0 h 1022049"/>
              <a:gd name="connsiteX1-139" fmla="*/ 10685085 w 10685085"/>
              <a:gd name="connsiteY1-140" fmla="*/ 0 h 1022049"/>
              <a:gd name="connsiteX2-141" fmla="*/ 10685085 w 10685085"/>
              <a:gd name="connsiteY2-142" fmla="*/ 303491 h 1022049"/>
              <a:gd name="connsiteX3-143" fmla="*/ 10222758 w 10685085"/>
              <a:gd name="connsiteY3-144" fmla="*/ 678410 h 1022049"/>
              <a:gd name="connsiteX4-145" fmla="*/ 1063736 w 10685085"/>
              <a:gd name="connsiteY4-146" fmla="*/ 670939 h 1022049"/>
              <a:gd name="connsiteX5-147" fmla="*/ 533320 w 10685085"/>
              <a:gd name="connsiteY5-148" fmla="*/ 1022049 h 1022049"/>
              <a:gd name="connsiteX6-149" fmla="*/ 0 w 10685085"/>
              <a:gd name="connsiteY6-150" fmla="*/ 684481 h 1022049"/>
              <a:gd name="connsiteX7-151" fmla="*/ 0 w 10685085"/>
              <a:gd name="connsiteY7-152" fmla="*/ 0 h 1022049"/>
              <a:gd name="connsiteX0-153" fmla="*/ 0 w 10685085"/>
              <a:gd name="connsiteY0-154" fmla="*/ 0 h 1022049"/>
              <a:gd name="connsiteX1-155" fmla="*/ 10685085 w 10685085"/>
              <a:gd name="connsiteY1-156" fmla="*/ 0 h 1022049"/>
              <a:gd name="connsiteX2-157" fmla="*/ 10685085 w 10685085"/>
              <a:gd name="connsiteY2-158" fmla="*/ 303491 h 1022049"/>
              <a:gd name="connsiteX3-159" fmla="*/ 10222758 w 10685085"/>
              <a:gd name="connsiteY3-160" fmla="*/ 678410 h 1022049"/>
              <a:gd name="connsiteX4-161" fmla="*/ 1063736 w 10685085"/>
              <a:gd name="connsiteY4-162" fmla="*/ 670939 h 1022049"/>
              <a:gd name="connsiteX5-163" fmla="*/ 533320 w 10685085"/>
              <a:gd name="connsiteY5-164" fmla="*/ 1022049 h 1022049"/>
              <a:gd name="connsiteX6-165" fmla="*/ 0 w 10685085"/>
              <a:gd name="connsiteY6-166" fmla="*/ 684481 h 1022049"/>
              <a:gd name="connsiteX7-167" fmla="*/ 0 w 10685085"/>
              <a:gd name="connsiteY7-168" fmla="*/ 0 h 1022049"/>
              <a:gd name="connsiteX0-169" fmla="*/ 0 w 10685085"/>
              <a:gd name="connsiteY0-170" fmla="*/ 0 h 1022049"/>
              <a:gd name="connsiteX1-171" fmla="*/ 10685085 w 10685085"/>
              <a:gd name="connsiteY1-172" fmla="*/ 0 h 1022049"/>
              <a:gd name="connsiteX2-173" fmla="*/ 10685085 w 10685085"/>
              <a:gd name="connsiteY2-174" fmla="*/ 303491 h 1022049"/>
              <a:gd name="connsiteX3-175" fmla="*/ 10222758 w 10685085"/>
              <a:gd name="connsiteY3-176" fmla="*/ 678410 h 1022049"/>
              <a:gd name="connsiteX4-177" fmla="*/ 1063736 w 10685085"/>
              <a:gd name="connsiteY4-178" fmla="*/ 670939 h 1022049"/>
              <a:gd name="connsiteX5-179" fmla="*/ 533320 w 10685085"/>
              <a:gd name="connsiteY5-180" fmla="*/ 1022049 h 1022049"/>
              <a:gd name="connsiteX6-181" fmla="*/ 0 w 10685085"/>
              <a:gd name="connsiteY6-182" fmla="*/ 684481 h 1022049"/>
              <a:gd name="connsiteX7-183" fmla="*/ 0 w 10685085"/>
              <a:gd name="connsiteY7-184" fmla="*/ 0 h 1022049"/>
              <a:gd name="connsiteX0-185" fmla="*/ 0 w 10685085"/>
              <a:gd name="connsiteY0-186" fmla="*/ 0 h 1022049"/>
              <a:gd name="connsiteX1-187" fmla="*/ 10685085 w 10685085"/>
              <a:gd name="connsiteY1-188" fmla="*/ 0 h 1022049"/>
              <a:gd name="connsiteX2-189" fmla="*/ 10685085 w 10685085"/>
              <a:gd name="connsiteY2-190" fmla="*/ 303491 h 1022049"/>
              <a:gd name="connsiteX3-191" fmla="*/ 10222758 w 10685085"/>
              <a:gd name="connsiteY3-192" fmla="*/ 678410 h 1022049"/>
              <a:gd name="connsiteX4-193" fmla="*/ 1063736 w 10685085"/>
              <a:gd name="connsiteY4-194" fmla="*/ 670939 h 1022049"/>
              <a:gd name="connsiteX5-195" fmla="*/ 533320 w 10685085"/>
              <a:gd name="connsiteY5-196" fmla="*/ 1022049 h 1022049"/>
              <a:gd name="connsiteX6-197" fmla="*/ 0 w 10685085"/>
              <a:gd name="connsiteY6-198" fmla="*/ 684481 h 1022049"/>
              <a:gd name="connsiteX7-199" fmla="*/ 0 w 10685085"/>
              <a:gd name="connsiteY7-200" fmla="*/ 0 h 1022049"/>
              <a:gd name="connsiteX0-201" fmla="*/ 0 w 10685085"/>
              <a:gd name="connsiteY0-202" fmla="*/ 0 h 1022049"/>
              <a:gd name="connsiteX1-203" fmla="*/ 10685085 w 10685085"/>
              <a:gd name="connsiteY1-204" fmla="*/ 0 h 1022049"/>
              <a:gd name="connsiteX2-205" fmla="*/ 10685085 w 10685085"/>
              <a:gd name="connsiteY2-206" fmla="*/ 303491 h 1022049"/>
              <a:gd name="connsiteX3-207" fmla="*/ 10222758 w 10685085"/>
              <a:gd name="connsiteY3-208" fmla="*/ 678410 h 1022049"/>
              <a:gd name="connsiteX4-209" fmla="*/ 1063736 w 10685085"/>
              <a:gd name="connsiteY4-210" fmla="*/ 670939 h 1022049"/>
              <a:gd name="connsiteX5-211" fmla="*/ 533320 w 10685085"/>
              <a:gd name="connsiteY5-212" fmla="*/ 1022049 h 1022049"/>
              <a:gd name="connsiteX6-213" fmla="*/ 0 w 10685085"/>
              <a:gd name="connsiteY6-214" fmla="*/ 684481 h 1022049"/>
              <a:gd name="connsiteX7-215" fmla="*/ 0 w 10685085"/>
              <a:gd name="connsiteY7-216" fmla="*/ 0 h 1022049"/>
              <a:gd name="connsiteX0-217" fmla="*/ 0 w 10685085"/>
              <a:gd name="connsiteY0-218" fmla="*/ 0 h 1022049"/>
              <a:gd name="connsiteX1-219" fmla="*/ 10685085 w 10685085"/>
              <a:gd name="connsiteY1-220" fmla="*/ 0 h 1022049"/>
              <a:gd name="connsiteX2-221" fmla="*/ 10685085 w 10685085"/>
              <a:gd name="connsiteY2-222" fmla="*/ 303491 h 1022049"/>
              <a:gd name="connsiteX3-223" fmla="*/ 10222758 w 10685085"/>
              <a:gd name="connsiteY3-224" fmla="*/ 678410 h 1022049"/>
              <a:gd name="connsiteX4-225" fmla="*/ 1157465 w 10685085"/>
              <a:gd name="connsiteY4-226" fmla="*/ 670939 h 1022049"/>
              <a:gd name="connsiteX5-227" fmla="*/ 533320 w 10685085"/>
              <a:gd name="connsiteY5-228" fmla="*/ 1022049 h 1022049"/>
              <a:gd name="connsiteX6-229" fmla="*/ 0 w 10685085"/>
              <a:gd name="connsiteY6-230" fmla="*/ 684481 h 1022049"/>
              <a:gd name="connsiteX7-231" fmla="*/ 0 w 10685085"/>
              <a:gd name="connsiteY7-232" fmla="*/ 0 h 1022049"/>
              <a:gd name="connsiteX0-233" fmla="*/ 0 w 10685085"/>
              <a:gd name="connsiteY0-234" fmla="*/ 0 h 1022049"/>
              <a:gd name="connsiteX1-235" fmla="*/ 10685085 w 10685085"/>
              <a:gd name="connsiteY1-236" fmla="*/ 0 h 1022049"/>
              <a:gd name="connsiteX2-237" fmla="*/ 10685085 w 10685085"/>
              <a:gd name="connsiteY2-238" fmla="*/ 303491 h 1022049"/>
              <a:gd name="connsiteX3-239" fmla="*/ 10222758 w 10685085"/>
              <a:gd name="connsiteY3-240" fmla="*/ 678410 h 1022049"/>
              <a:gd name="connsiteX4-241" fmla="*/ 1157465 w 10685085"/>
              <a:gd name="connsiteY4-242" fmla="*/ 670939 h 1022049"/>
              <a:gd name="connsiteX5-243" fmla="*/ 533320 w 10685085"/>
              <a:gd name="connsiteY5-244" fmla="*/ 1022049 h 1022049"/>
              <a:gd name="connsiteX6-245" fmla="*/ 0 w 10685085"/>
              <a:gd name="connsiteY6-246" fmla="*/ 684481 h 1022049"/>
              <a:gd name="connsiteX7-247" fmla="*/ 0 w 10685085"/>
              <a:gd name="connsiteY7-248" fmla="*/ 0 h 1022049"/>
              <a:gd name="connsiteX0-249" fmla="*/ 0 w 10685085"/>
              <a:gd name="connsiteY0-250" fmla="*/ 0 h 1022049"/>
              <a:gd name="connsiteX1-251" fmla="*/ 10685085 w 10685085"/>
              <a:gd name="connsiteY1-252" fmla="*/ 0 h 1022049"/>
              <a:gd name="connsiteX2-253" fmla="*/ 10685085 w 10685085"/>
              <a:gd name="connsiteY2-254" fmla="*/ 303491 h 1022049"/>
              <a:gd name="connsiteX3-255" fmla="*/ 10222758 w 10685085"/>
              <a:gd name="connsiteY3-256" fmla="*/ 678410 h 1022049"/>
              <a:gd name="connsiteX4-257" fmla="*/ 1157465 w 10685085"/>
              <a:gd name="connsiteY4-258" fmla="*/ 670939 h 1022049"/>
              <a:gd name="connsiteX5-259" fmla="*/ 533320 w 10685085"/>
              <a:gd name="connsiteY5-260" fmla="*/ 1022049 h 1022049"/>
              <a:gd name="connsiteX6-261" fmla="*/ 23183 w 10685085"/>
              <a:gd name="connsiteY6-262" fmla="*/ 684481 h 1022049"/>
              <a:gd name="connsiteX7-263" fmla="*/ 0 w 10685085"/>
              <a:gd name="connsiteY7-264" fmla="*/ 0 h 1022049"/>
              <a:gd name="connsiteX0-265" fmla="*/ 0 w 10673494"/>
              <a:gd name="connsiteY0-266" fmla="*/ 5825 h 1022049"/>
              <a:gd name="connsiteX1-267" fmla="*/ 10673494 w 10673494"/>
              <a:gd name="connsiteY1-268" fmla="*/ 0 h 1022049"/>
              <a:gd name="connsiteX2-269" fmla="*/ 10673494 w 10673494"/>
              <a:gd name="connsiteY2-270" fmla="*/ 303491 h 1022049"/>
              <a:gd name="connsiteX3-271" fmla="*/ 10211167 w 10673494"/>
              <a:gd name="connsiteY3-272" fmla="*/ 678410 h 1022049"/>
              <a:gd name="connsiteX4-273" fmla="*/ 1145874 w 10673494"/>
              <a:gd name="connsiteY4-274" fmla="*/ 670939 h 1022049"/>
              <a:gd name="connsiteX5-275" fmla="*/ 521729 w 10673494"/>
              <a:gd name="connsiteY5-276" fmla="*/ 1022049 h 1022049"/>
              <a:gd name="connsiteX6-277" fmla="*/ 11592 w 10673494"/>
              <a:gd name="connsiteY6-278" fmla="*/ 684481 h 1022049"/>
              <a:gd name="connsiteX7-279" fmla="*/ 0 w 10673494"/>
              <a:gd name="connsiteY7-280" fmla="*/ 5825 h 1022049"/>
              <a:gd name="connsiteX0-281" fmla="*/ 0 w 10673494"/>
              <a:gd name="connsiteY0-282" fmla="*/ 0 h 1045351"/>
              <a:gd name="connsiteX1-283" fmla="*/ 10673494 w 10673494"/>
              <a:gd name="connsiteY1-284" fmla="*/ 23302 h 1045351"/>
              <a:gd name="connsiteX2-285" fmla="*/ 10673494 w 10673494"/>
              <a:gd name="connsiteY2-286" fmla="*/ 326793 h 1045351"/>
              <a:gd name="connsiteX3-287" fmla="*/ 10211167 w 10673494"/>
              <a:gd name="connsiteY3-288" fmla="*/ 701712 h 1045351"/>
              <a:gd name="connsiteX4-289" fmla="*/ 1145874 w 10673494"/>
              <a:gd name="connsiteY4-290" fmla="*/ 694241 h 1045351"/>
              <a:gd name="connsiteX5-291" fmla="*/ 521729 w 10673494"/>
              <a:gd name="connsiteY5-292" fmla="*/ 1045351 h 1045351"/>
              <a:gd name="connsiteX6-293" fmla="*/ 11592 w 10673494"/>
              <a:gd name="connsiteY6-294" fmla="*/ 707783 h 1045351"/>
              <a:gd name="connsiteX7-295" fmla="*/ 0 w 10673494"/>
              <a:gd name="connsiteY7-296" fmla="*/ 0 h 1045351"/>
              <a:gd name="connsiteX0-297" fmla="*/ 0 w 10667698"/>
              <a:gd name="connsiteY0-298" fmla="*/ 0 h 1027875"/>
              <a:gd name="connsiteX1-299" fmla="*/ 10667698 w 10667698"/>
              <a:gd name="connsiteY1-300" fmla="*/ 5826 h 1027875"/>
              <a:gd name="connsiteX2-301" fmla="*/ 10667698 w 10667698"/>
              <a:gd name="connsiteY2-302" fmla="*/ 309317 h 1027875"/>
              <a:gd name="connsiteX3-303" fmla="*/ 10205371 w 10667698"/>
              <a:gd name="connsiteY3-304" fmla="*/ 684236 h 1027875"/>
              <a:gd name="connsiteX4-305" fmla="*/ 1140078 w 10667698"/>
              <a:gd name="connsiteY4-306" fmla="*/ 676765 h 1027875"/>
              <a:gd name="connsiteX5-307" fmla="*/ 515933 w 10667698"/>
              <a:gd name="connsiteY5-308" fmla="*/ 1027875 h 1027875"/>
              <a:gd name="connsiteX6-309" fmla="*/ 5796 w 10667698"/>
              <a:gd name="connsiteY6-310" fmla="*/ 690307 h 1027875"/>
              <a:gd name="connsiteX7-311" fmla="*/ 0 w 10667698"/>
              <a:gd name="connsiteY7-312" fmla="*/ 0 h 1027875"/>
              <a:gd name="connsiteX0-313" fmla="*/ 5796 w 10661902"/>
              <a:gd name="connsiteY0-314" fmla="*/ 0 h 1027875"/>
              <a:gd name="connsiteX1-315" fmla="*/ 10661902 w 10661902"/>
              <a:gd name="connsiteY1-316" fmla="*/ 5826 h 1027875"/>
              <a:gd name="connsiteX2-317" fmla="*/ 10661902 w 10661902"/>
              <a:gd name="connsiteY2-318" fmla="*/ 309317 h 1027875"/>
              <a:gd name="connsiteX3-319" fmla="*/ 10199575 w 10661902"/>
              <a:gd name="connsiteY3-320" fmla="*/ 684236 h 1027875"/>
              <a:gd name="connsiteX4-321" fmla="*/ 1134282 w 10661902"/>
              <a:gd name="connsiteY4-322" fmla="*/ 676765 h 1027875"/>
              <a:gd name="connsiteX5-323" fmla="*/ 510137 w 10661902"/>
              <a:gd name="connsiteY5-324" fmla="*/ 1027875 h 1027875"/>
              <a:gd name="connsiteX6-325" fmla="*/ 0 w 10661902"/>
              <a:gd name="connsiteY6-326" fmla="*/ 690307 h 1027875"/>
              <a:gd name="connsiteX7-327" fmla="*/ 5796 w 10661902"/>
              <a:gd name="connsiteY7-328" fmla="*/ 0 h 1027875"/>
              <a:gd name="connsiteX0-329" fmla="*/ 1 w 10661902"/>
              <a:gd name="connsiteY0-330" fmla="*/ 0 h 1027875"/>
              <a:gd name="connsiteX1-331" fmla="*/ 10661902 w 10661902"/>
              <a:gd name="connsiteY1-332" fmla="*/ 5826 h 1027875"/>
              <a:gd name="connsiteX2-333" fmla="*/ 10661902 w 10661902"/>
              <a:gd name="connsiteY2-334" fmla="*/ 309317 h 1027875"/>
              <a:gd name="connsiteX3-335" fmla="*/ 10199575 w 10661902"/>
              <a:gd name="connsiteY3-336" fmla="*/ 684236 h 1027875"/>
              <a:gd name="connsiteX4-337" fmla="*/ 1134282 w 10661902"/>
              <a:gd name="connsiteY4-338" fmla="*/ 676765 h 1027875"/>
              <a:gd name="connsiteX5-339" fmla="*/ 510137 w 10661902"/>
              <a:gd name="connsiteY5-340" fmla="*/ 1027875 h 1027875"/>
              <a:gd name="connsiteX6-341" fmla="*/ 0 w 10661902"/>
              <a:gd name="connsiteY6-342" fmla="*/ 690307 h 1027875"/>
              <a:gd name="connsiteX7-343" fmla="*/ 1 w 10661902"/>
              <a:gd name="connsiteY7-344" fmla="*/ 0 h 1027875"/>
              <a:gd name="connsiteX0-345" fmla="*/ 1 w 10661902"/>
              <a:gd name="connsiteY0-346" fmla="*/ 0 h 1027875"/>
              <a:gd name="connsiteX1-347" fmla="*/ 10661902 w 10661902"/>
              <a:gd name="connsiteY1-348" fmla="*/ 5826 h 1027875"/>
              <a:gd name="connsiteX2-349" fmla="*/ 10661902 w 10661902"/>
              <a:gd name="connsiteY2-350" fmla="*/ 309317 h 1027875"/>
              <a:gd name="connsiteX3-351" fmla="*/ 10199575 w 10661902"/>
              <a:gd name="connsiteY3-352" fmla="*/ 684236 h 1027875"/>
              <a:gd name="connsiteX4-353" fmla="*/ 1134282 w 10661902"/>
              <a:gd name="connsiteY4-354" fmla="*/ 676765 h 1027875"/>
              <a:gd name="connsiteX5-355" fmla="*/ 560676 w 10661902"/>
              <a:gd name="connsiteY5-356" fmla="*/ 1027875 h 1027875"/>
              <a:gd name="connsiteX6-357" fmla="*/ 0 w 10661902"/>
              <a:gd name="connsiteY6-358" fmla="*/ 690307 h 1027875"/>
              <a:gd name="connsiteX7-359" fmla="*/ 1 w 10661902"/>
              <a:gd name="connsiteY7-360" fmla="*/ 0 h 1027875"/>
              <a:gd name="connsiteX0-361" fmla="*/ 1 w 10661902"/>
              <a:gd name="connsiteY0-362" fmla="*/ 0 h 1027875"/>
              <a:gd name="connsiteX1-363" fmla="*/ 10661902 w 10661902"/>
              <a:gd name="connsiteY1-364" fmla="*/ 5826 h 1027875"/>
              <a:gd name="connsiteX2-365" fmla="*/ 10661902 w 10661902"/>
              <a:gd name="connsiteY2-366" fmla="*/ 309317 h 1027875"/>
              <a:gd name="connsiteX3-367" fmla="*/ 10199575 w 10661902"/>
              <a:gd name="connsiteY3-368" fmla="*/ 684236 h 1027875"/>
              <a:gd name="connsiteX4-369" fmla="*/ 1137441 w 10661902"/>
              <a:gd name="connsiteY4-370" fmla="*/ 689465 h 1027875"/>
              <a:gd name="connsiteX5-371" fmla="*/ 560676 w 10661902"/>
              <a:gd name="connsiteY5-372" fmla="*/ 1027875 h 1027875"/>
              <a:gd name="connsiteX6-373" fmla="*/ 0 w 10661902"/>
              <a:gd name="connsiteY6-374" fmla="*/ 690307 h 1027875"/>
              <a:gd name="connsiteX7-375" fmla="*/ 1 w 10661902"/>
              <a:gd name="connsiteY7-376" fmla="*/ 0 h 1027875"/>
              <a:gd name="connsiteX0-377" fmla="*/ 1 w 10661902"/>
              <a:gd name="connsiteY0-378" fmla="*/ 0 h 1027875"/>
              <a:gd name="connsiteX1-379" fmla="*/ 10661902 w 10661902"/>
              <a:gd name="connsiteY1-380" fmla="*/ 5826 h 1027875"/>
              <a:gd name="connsiteX2-381" fmla="*/ 10661902 w 10661902"/>
              <a:gd name="connsiteY2-382" fmla="*/ 309317 h 1027875"/>
              <a:gd name="connsiteX3-383" fmla="*/ 10199575 w 10661902"/>
              <a:gd name="connsiteY3-384" fmla="*/ 684236 h 1027875"/>
              <a:gd name="connsiteX4-385" fmla="*/ 1143758 w 10661902"/>
              <a:gd name="connsiteY4-386" fmla="*/ 629140 h 1027875"/>
              <a:gd name="connsiteX5-387" fmla="*/ 560676 w 10661902"/>
              <a:gd name="connsiteY5-388" fmla="*/ 1027875 h 1027875"/>
              <a:gd name="connsiteX6-389" fmla="*/ 0 w 10661902"/>
              <a:gd name="connsiteY6-390" fmla="*/ 690307 h 1027875"/>
              <a:gd name="connsiteX7-391" fmla="*/ 1 w 10661902"/>
              <a:gd name="connsiteY7-392" fmla="*/ 0 h 1027875"/>
              <a:gd name="connsiteX0-393" fmla="*/ 1 w 10661902"/>
              <a:gd name="connsiteY0-394" fmla="*/ 0 h 1027875"/>
              <a:gd name="connsiteX1-395" fmla="*/ 10661902 w 10661902"/>
              <a:gd name="connsiteY1-396" fmla="*/ 5826 h 1027875"/>
              <a:gd name="connsiteX2-397" fmla="*/ 10661902 w 10661902"/>
              <a:gd name="connsiteY2-398" fmla="*/ 309317 h 1027875"/>
              <a:gd name="connsiteX3-399" fmla="*/ 10199575 w 10661902"/>
              <a:gd name="connsiteY3-400" fmla="*/ 684236 h 1027875"/>
              <a:gd name="connsiteX4-401" fmla="*/ 1140599 w 10661902"/>
              <a:gd name="connsiteY4-402" fmla="*/ 686290 h 1027875"/>
              <a:gd name="connsiteX5-403" fmla="*/ 560676 w 10661902"/>
              <a:gd name="connsiteY5-404" fmla="*/ 1027875 h 1027875"/>
              <a:gd name="connsiteX6-405" fmla="*/ 0 w 10661902"/>
              <a:gd name="connsiteY6-406" fmla="*/ 690307 h 1027875"/>
              <a:gd name="connsiteX7-407" fmla="*/ 1 w 10661902"/>
              <a:gd name="connsiteY7-408" fmla="*/ 0 h 1027875"/>
              <a:gd name="connsiteX0-409" fmla="*/ 1 w 10661902"/>
              <a:gd name="connsiteY0-410" fmla="*/ 0 h 1027875"/>
              <a:gd name="connsiteX1-411" fmla="*/ 10661902 w 10661902"/>
              <a:gd name="connsiteY1-412" fmla="*/ 5826 h 1027875"/>
              <a:gd name="connsiteX2-413" fmla="*/ 10661902 w 10661902"/>
              <a:gd name="connsiteY2-414" fmla="*/ 309317 h 1027875"/>
              <a:gd name="connsiteX3-415" fmla="*/ 10199575 w 10661902"/>
              <a:gd name="connsiteY3-416" fmla="*/ 684236 h 1027875"/>
              <a:gd name="connsiteX4-417" fmla="*/ 1140599 w 10661902"/>
              <a:gd name="connsiteY4-418" fmla="*/ 686290 h 1027875"/>
              <a:gd name="connsiteX5-419" fmla="*/ 560676 w 10661902"/>
              <a:gd name="connsiteY5-420" fmla="*/ 1027875 h 1027875"/>
              <a:gd name="connsiteX6-421" fmla="*/ 0 w 10661902"/>
              <a:gd name="connsiteY6-422" fmla="*/ 690307 h 1027875"/>
              <a:gd name="connsiteX7-423" fmla="*/ 1 w 10661902"/>
              <a:gd name="connsiteY7-424" fmla="*/ 0 h 1027875"/>
              <a:gd name="connsiteX0-425" fmla="*/ 1 w 10661902"/>
              <a:gd name="connsiteY0-426" fmla="*/ 0 h 1027875"/>
              <a:gd name="connsiteX1-427" fmla="*/ 10661902 w 10661902"/>
              <a:gd name="connsiteY1-428" fmla="*/ 5826 h 1027875"/>
              <a:gd name="connsiteX2-429" fmla="*/ 10661902 w 10661902"/>
              <a:gd name="connsiteY2-430" fmla="*/ 309317 h 1027875"/>
              <a:gd name="connsiteX3-431" fmla="*/ 10199575 w 10661902"/>
              <a:gd name="connsiteY3-432" fmla="*/ 684236 h 1027875"/>
              <a:gd name="connsiteX4-433" fmla="*/ 1140599 w 10661902"/>
              <a:gd name="connsiteY4-434" fmla="*/ 686290 h 1027875"/>
              <a:gd name="connsiteX5-435" fmla="*/ 560676 w 10661902"/>
              <a:gd name="connsiteY5-436" fmla="*/ 1027875 h 1027875"/>
              <a:gd name="connsiteX6-437" fmla="*/ 0 w 10661902"/>
              <a:gd name="connsiteY6-438" fmla="*/ 690307 h 1027875"/>
              <a:gd name="connsiteX7-439" fmla="*/ 1 w 10661902"/>
              <a:gd name="connsiteY7-440" fmla="*/ 0 h 1027875"/>
              <a:gd name="connsiteX0-441" fmla="*/ 1 w 10661902"/>
              <a:gd name="connsiteY0-442" fmla="*/ 0 h 1027875"/>
              <a:gd name="connsiteX1-443" fmla="*/ 10661902 w 10661902"/>
              <a:gd name="connsiteY1-444" fmla="*/ 5826 h 1027875"/>
              <a:gd name="connsiteX2-445" fmla="*/ 10661902 w 10661902"/>
              <a:gd name="connsiteY2-446" fmla="*/ 309317 h 1027875"/>
              <a:gd name="connsiteX3-447" fmla="*/ 10199575 w 10661902"/>
              <a:gd name="connsiteY3-448" fmla="*/ 684236 h 1027875"/>
              <a:gd name="connsiteX4-449" fmla="*/ 1140599 w 10661902"/>
              <a:gd name="connsiteY4-450" fmla="*/ 686290 h 1027875"/>
              <a:gd name="connsiteX5-451" fmla="*/ 560676 w 10661902"/>
              <a:gd name="connsiteY5-452" fmla="*/ 1027875 h 1027875"/>
              <a:gd name="connsiteX6-453" fmla="*/ 0 w 10661902"/>
              <a:gd name="connsiteY6-454" fmla="*/ 690307 h 1027875"/>
              <a:gd name="connsiteX7-455" fmla="*/ 1 w 10661902"/>
              <a:gd name="connsiteY7-456" fmla="*/ 0 h 1027875"/>
              <a:gd name="connsiteX0-457" fmla="*/ 1 w 10661902"/>
              <a:gd name="connsiteY0-458" fmla="*/ 0 h 1027875"/>
              <a:gd name="connsiteX1-459" fmla="*/ 10661902 w 10661902"/>
              <a:gd name="connsiteY1-460" fmla="*/ 5826 h 1027875"/>
              <a:gd name="connsiteX2-461" fmla="*/ 10661902 w 10661902"/>
              <a:gd name="connsiteY2-462" fmla="*/ 309317 h 1027875"/>
              <a:gd name="connsiteX3-463" fmla="*/ 10199575 w 10661902"/>
              <a:gd name="connsiteY3-464" fmla="*/ 684236 h 1027875"/>
              <a:gd name="connsiteX4-465" fmla="*/ 1140599 w 10661902"/>
              <a:gd name="connsiteY4-466" fmla="*/ 686290 h 1027875"/>
              <a:gd name="connsiteX5-467" fmla="*/ 560676 w 10661902"/>
              <a:gd name="connsiteY5-468" fmla="*/ 1027875 h 1027875"/>
              <a:gd name="connsiteX6-469" fmla="*/ 0 w 10661902"/>
              <a:gd name="connsiteY6-470" fmla="*/ 690307 h 1027875"/>
              <a:gd name="connsiteX7-471" fmla="*/ 1 w 10661902"/>
              <a:gd name="connsiteY7-472" fmla="*/ 0 h 1027875"/>
              <a:gd name="connsiteX0-473" fmla="*/ 0 w 10661901"/>
              <a:gd name="connsiteY0-474" fmla="*/ 0 h 1027875"/>
              <a:gd name="connsiteX1-475" fmla="*/ 10661901 w 10661901"/>
              <a:gd name="connsiteY1-476" fmla="*/ 5826 h 1027875"/>
              <a:gd name="connsiteX2-477" fmla="*/ 10661901 w 10661901"/>
              <a:gd name="connsiteY2-478" fmla="*/ 309317 h 1027875"/>
              <a:gd name="connsiteX3-479" fmla="*/ 10199574 w 10661901"/>
              <a:gd name="connsiteY3-480" fmla="*/ 684236 h 1027875"/>
              <a:gd name="connsiteX4-481" fmla="*/ 1140598 w 10661901"/>
              <a:gd name="connsiteY4-482" fmla="*/ 686290 h 1027875"/>
              <a:gd name="connsiteX5-483" fmla="*/ 560675 w 10661901"/>
              <a:gd name="connsiteY5-484" fmla="*/ 1027875 h 1027875"/>
              <a:gd name="connsiteX6-485" fmla="*/ 3158 w 10661901"/>
              <a:gd name="connsiteY6-486" fmla="*/ 674432 h 1027875"/>
              <a:gd name="connsiteX7-487" fmla="*/ 0 w 10661901"/>
              <a:gd name="connsiteY7-488" fmla="*/ 0 h 1027875"/>
              <a:gd name="connsiteX0-489" fmla="*/ 0 w 10661901"/>
              <a:gd name="connsiteY0-490" fmla="*/ 0 h 1027875"/>
              <a:gd name="connsiteX1-491" fmla="*/ 10661901 w 10661901"/>
              <a:gd name="connsiteY1-492" fmla="*/ 5826 h 1027875"/>
              <a:gd name="connsiteX2-493" fmla="*/ 10661901 w 10661901"/>
              <a:gd name="connsiteY2-494" fmla="*/ 309317 h 1027875"/>
              <a:gd name="connsiteX3-495" fmla="*/ 10199574 w 10661901"/>
              <a:gd name="connsiteY3-496" fmla="*/ 684236 h 1027875"/>
              <a:gd name="connsiteX4-497" fmla="*/ 1140598 w 10661901"/>
              <a:gd name="connsiteY4-498" fmla="*/ 686290 h 1027875"/>
              <a:gd name="connsiteX5-499" fmla="*/ 560675 w 10661901"/>
              <a:gd name="connsiteY5-500" fmla="*/ 1027875 h 1027875"/>
              <a:gd name="connsiteX6-501" fmla="*/ 3158 w 10661901"/>
              <a:gd name="connsiteY6-502" fmla="*/ 683957 h 1027875"/>
              <a:gd name="connsiteX7-503" fmla="*/ 0 w 10661901"/>
              <a:gd name="connsiteY7-504" fmla="*/ 0 h 1027875"/>
              <a:gd name="connsiteX0-505" fmla="*/ 0 w 10710088"/>
              <a:gd name="connsiteY0-506" fmla="*/ 0 h 1027875"/>
              <a:gd name="connsiteX1-507" fmla="*/ 10661901 w 10710088"/>
              <a:gd name="connsiteY1-508" fmla="*/ 5826 h 1027875"/>
              <a:gd name="connsiteX2-509" fmla="*/ 10661901 w 10710088"/>
              <a:gd name="connsiteY2-510" fmla="*/ 309317 h 1027875"/>
              <a:gd name="connsiteX3-511" fmla="*/ 10668871 w 10710088"/>
              <a:gd name="connsiteY3-512" fmla="*/ 684236 h 1027875"/>
              <a:gd name="connsiteX4-513" fmla="*/ 1140598 w 10710088"/>
              <a:gd name="connsiteY4-514" fmla="*/ 686290 h 1027875"/>
              <a:gd name="connsiteX5-515" fmla="*/ 560675 w 10710088"/>
              <a:gd name="connsiteY5-516" fmla="*/ 1027875 h 1027875"/>
              <a:gd name="connsiteX6-517" fmla="*/ 3158 w 10710088"/>
              <a:gd name="connsiteY6-518" fmla="*/ 683957 h 1027875"/>
              <a:gd name="connsiteX7-519" fmla="*/ 0 w 10710088"/>
              <a:gd name="connsiteY7-520" fmla="*/ 0 h 1027875"/>
              <a:gd name="connsiteX0-521" fmla="*/ 0 w 10668871"/>
              <a:gd name="connsiteY0-522" fmla="*/ 0 h 1027875"/>
              <a:gd name="connsiteX1-523" fmla="*/ 10661901 w 10668871"/>
              <a:gd name="connsiteY1-524" fmla="*/ 5826 h 1027875"/>
              <a:gd name="connsiteX2-525" fmla="*/ 10668871 w 10668871"/>
              <a:gd name="connsiteY2-526" fmla="*/ 684236 h 1027875"/>
              <a:gd name="connsiteX3-527" fmla="*/ 1140598 w 10668871"/>
              <a:gd name="connsiteY3-528" fmla="*/ 686290 h 1027875"/>
              <a:gd name="connsiteX4-529" fmla="*/ 560675 w 10668871"/>
              <a:gd name="connsiteY4-530" fmla="*/ 1027875 h 1027875"/>
              <a:gd name="connsiteX5-531" fmla="*/ 3158 w 10668871"/>
              <a:gd name="connsiteY5-532" fmla="*/ 683957 h 1027875"/>
              <a:gd name="connsiteX6-533" fmla="*/ 0 w 10668871"/>
              <a:gd name="connsiteY6-534" fmla="*/ 0 h 1027875"/>
              <a:gd name="connsiteX0-535" fmla="*/ 0 w 10662015"/>
              <a:gd name="connsiteY0-536" fmla="*/ 0 h 1027875"/>
              <a:gd name="connsiteX1-537" fmla="*/ 10661901 w 10662015"/>
              <a:gd name="connsiteY1-538" fmla="*/ 5826 h 1027875"/>
              <a:gd name="connsiteX2-539" fmla="*/ 10632772 w 10662015"/>
              <a:gd name="connsiteY2-540" fmla="*/ 684236 h 1027875"/>
              <a:gd name="connsiteX3-541" fmla="*/ 1140598 w 10662015"/>
              <a:gd name="connsiteY3-542" fmla="*/ 686290 h 1027875"/>
              <a:gd name="connsiteX4-543" fmla="*/ 560675 w 10662015"/>
              <a:gd name="connsiteY4-544" fmla="*/ 1027875 h 1027875"/>
              <a:gd name="connsiteX5-545" fmla="*/ 3158 w 10662015"/>
              <a:gd name="connsiteY5-546" fmla="*/ 683957 h 1027875"/>
              <a:gd name="connsiteX6-547" fmla="*/ 0 w 10662015"/>
              <a:gd name="connsiteY6-548" fmla="*/ 0 h 1027875"/>
              <a:gd name="connsiteX0-549" fmla="*/ 0 w 10632772"/>
              <a:gd name="connsiteY0-550" fmla="*/ 0 h 1027875"/>
              <a:gd name="connsiteX1-551" fmla="*/ 10616776 w 10632772"/>
              <a:gd name="connsiteY1-552" fmla="*/ 559150 h 1027875"/>
              <a:gd name="connsiteX2-553" fmla="*/ 10632772 w 10632772"/>
              <a:gd name="connsiteY2-554" fmla="*/ 684236 h 1027875"/>
              <a:gd name="connsiteX3-555" fmla="*/ 1140598 w 10632772"/>
              <a:gd name="connsiteY3-556" fmla="*/ 686290 h 1027875"/>
              <a:gd name="connsiteX4-557" fmla="*/ 560675 w 10632772"/>
              <a:gd name="connsiteY4-558" fmla="*/ 1027875 h 1027875"/>
              <a:gd name="connsiteX5-559" fmla="*/ 3158 w 10632772"/>
              <a:gd name="connsiteY5-560" fmla="*/ 683957 h 1027875"/>
              <a:gd name="connsiteX6-561" fmla="*/ 0 w 10632772"/>
              <a:gd name="connsiteY6-562" fmla="*/ 0 h 1027875"/>
              <a:gd name="connsiteX0-563" fmla="*/ 5867 w 10629614"/>
              <a:gd name="connsiteY0-564" fmla="*/ 12316 h 468725"/>
              <a:gd name="connsiteX1-565" fmla="*/ 10613618 w 10629614"/>
              <a:gd name="connsiteY1-566" fmla="*/ 0 h 468725"/>
              <a:gd name="connsiteX2-567" fmla="*/ 10629614 w 10629614"/>
              <a:gd name="connsiteY2-568" fmla="*/ 125086 h 468725"/>
              <a:gd name="connsiteX3-569" fmla="*/ 1137440 w 10629614"/>
              <a:gd name="connsiteY3-570" fmla="*/ 127140 h 468725"/>
              <a:gd name="connsiteX4-571" fmla="*/ 557517 w 10629614"/>
              <a:gd name="connsiteY4-572" fmla="*/ 468725 h 468725"/>
              <a:gd name="connsiteX5-573" fmla="*/ 0 w 10629614"/>
              <a:gd name="connsiteY5-574" fmla="*/ 124807 h 468725"/>
              <a:gd name="connsiteX6-575" fmla="*/ 5867 w 10629614"/>
              <a:gd name="connsiteY6-576" fmla="*/ 12316 h 468725"/>
              <a:gd name="connsiteX0-577" fmla="*/ 0 w 10636382"/>
              <a:gd name="connsiteY0-578" fmla="*/ 12316 h 468725"/>
              <a:gd name="connsiteX1-579" fmla="*/ 10620386 w 10636382"/>
              <a:gd name="connsiteY1-580" fmla="*/ 0 h 468725"/>
              <a:gd name="connsiteX2-581" fmla="*/ 10636382 w 10636382"/>
              <a:gd name="connsiteY2-582" fmla="*/ 125086 h 468725"/>
              <a:gd name="connsiteX3-583" fmla="*/ 1144208 w 10636382"/>
              <a:gd name="connsiteY3-584" fmla="*/ 127140 h 468725"/>
              <a:gd name="connsiteX4-585" fmla="*/ 564285 w 10636382"/>
              <a:gd name="connsiteY4-586" fmla="*/ 468725 h 468725"/>
              <a:gd name="connsiteX5-587" fmla="*/ 6768 w 10636382"/>
              <a:gd name="connsiteY5-588" fmla="*/ 124807 h 468725"/>
              <a:gd name="connsiteX6-589" fmla="*/ 0 w 10636382"/>
              <a:gd name="connsiteY6-590" fmla="*/ 12316 h 468725"/>
              <a:gd name="connsiteX0-591" fmla="*/ 239608 w 10629614"/>
              <a:gd name="connsiteY0-592" fmla="*/ 21841 h 468725"/>
              <a:gd name="connsiteX1-593" fmla="*/ 10613618 w 10629614"/>
              <a:gd name="connsiteY1-594" fmla="*/ 0 h 468725"/>
              <a:gd name="connsiteX2-595" fmla="*/ 10629614 w 10629614"/>
              <a:gd name="connsiteY2-596" fmla="*/ 125086 h 468725"/>
              <a:gd name="connsiteX3-597" fmla="*/ 1137440 w 10629614"/>
              <a:gd name="connsiteY3-598" fmla="*/ 127140 h 468725"/>
              <a:gd name="connsiteX4-599" fmla="*/ 557517 w 10629614"/>
              <a:gd name="connsiteY4-600" fmla="*/ 468725 h 468725"/>
              <a:gd name="connsiteX5-601" fmla="*/ 0 w 10629614"/>
              <a:gd name="connsiteY5-602" fmla="*/ 124807 h 468725"/>
              <a:gd name="connsiteX6-603" fmla="*/ 239608 w 10629614"/>
              <a:gd name="connsiteY6-604" fmla="*/ 21841 h 468725"/>
              <a:gd name="connsiteX0-605" fmla="*/ 239608 w 10629614"/>
              <a:gd name="connsiteY0-606" fmla="*/ 21841 h 468725"/>
              <a:gd name="connsiteX1-607" fmla="*/ 10613618 w 10629614"/>
              <a:gd name="connsiteY1-608" fmla="*/ 0 h 468725"/>
              <a:gd name="connsiteX2-609" fmla="*/ 10629614 w 10629614"/>
              <a:gd name="connsiteY2-610" fmla="*/ 125086 h 468725"/>
              <a:gd name="connsiteX3-611" fmla="*/ 1137440 w 10629614"/>
              <a:gd name="connsiteY3-612" fmla="*/ 127140 h 468725"/>
              <a:gd name="connsiteX4-613" fmla="*/ 557517 w 10629614"/>
              <a:gd name="connsiteY4-614" fmla="*/ 468725 h 468725"/>
              <a:gd name="connsiteX5-615" fmla="*/ 0 w 10629614"/>
              <a:gd name="connsiteY5-616" fmla="*/ 124807 h 468725"/>
              <a:gd name="connsiteX6-617" fmla="*/ 239608 w 10629614"/>
              <a:gd name="connsiteY6-618" fmla="*/ 21841 h 468725"/>
              <a:gd name="connsiteX0-619" fmla="*/ 0 w 10630065"/>
              <a:gd name="connsiteY0-620" fmla="*/ 2791 h 468725"/>
              <a:gd name="connsiteX1-621" fmla="*/ 10614069 w 10630065"/>
              <a:gd name="connsiteY1-622" fmla="*/ 0 h 468725"/>
              <a:gd name="connsiteX2-623" fmla="*/ 10630065 w 10630065"/>
              <a:gd name="connsiteY2-624" fmla="*/ 125086 h 468725"/>
              <a:gd name="connsiteX3-625" fmla="*/ 1137891 w 10630065"/>
              <a:gd name="connsiteY3-626" fmla="*/ 127140 h 468725"/>
              <a:gd name="connsiteX4-627" fmla="*/ 557968 w 10630065"/>
              <a:gd name="connsiteY4-628" fmla="*/ 468725 h 468725"/>
              <a:gd name="connsiteX5-629" fmla="*/ 451 w 10630065"/>
              <a:gd name="connsiteY5-630" fmla="*/ 124807 h 468725"/>
              <a:gd name="connsiteX6-631" fmla="*/ 0 w 10630065"/>
              <a:gd name="connsiteY6-632" fmla="*/ 2791 h 468725"/>
              <a:gd name="connsiteX0-633" fmla="*/ 0 w 10630065"/>
              <a:gd name="connsiteY0-634" fmla="*/ 2791 h 468725"/>
              <a:gd name="connsiteX1-635" fmla="*/ 10614069 w 10630065"/>
              <a:gd name="connsiteY1-636" fmla="*/ 0 h 468725"/>
              <a:gd name="connsiteX2-637" fmla="*/ 10630065 w 10630065"/>
              <a:gd name="connsiteY2-638" fmla="*/ 125086 h 468725"/>
              <a:gd name="connsiteX3-639" fmla="*/ 1137891 w 10630065"/>
              <a:gd name="connsiteY3-640" fmla="*/ 127140 h 468725"/>
              <a:gd name="connsiteX4-641" fmla="*/ 557968 w 10630065"/>
              <a:gd name="connsiteY4-642" fmla="*/ 468725 h 468725"/>
              <a:gd name="connsiteX5-643" fmla="*/ 451 w 10630065"/>
              <a:gd name="connsiteY5-644" fmla="*/ 124807 h 468725"/>
              <a:gd name="connsiteX6-645" fmla="*/ 0 w 10630065"/>
              <a:gd name="connsiteY6-646" fmla="*/ 2791 h 468725"/>
              <a:gd name="connsiteX0-647" fmla="*/ 0 w 10630556"/>
              <a:gd name="connsiteY0-648" fmla="*/ 2791 h 468725"/>
              <a:gd name="connsiteX1-649" fmla="*/ 10629862 w 10630556"/>
              <a:gd name="connsiteY1-650" fmla="*/ 0 h 468725"/>
              <a:gd name="connsiteX2-651" fmla="*/ 10630065 w 10630556"/>
              <a:gd name="connsiteY2-652" fmla="*/ 125086 h 468725"/>
              <a:gd name="connsiteX3-653" fmla="*/ 1137891 w 10630556"/>
              <a:gd name="connsiteY3-654" fmla="*/ 127140 h 468725"/>
              <a:gd name="connsiteX4-655" fmla="*/ 557968 w 10630556"/>
              <a:gd name="connsiteY4-656" fmla="*/ 468725 h 468725"/>
              <a:gd name="connsiteX5-657" fmla="*/ 451 w 10630556"/>
              <a:gd name="connsiteY5-658" fmla="*/ 124807 h 468725"/>
              <a:gd name="connsiteX6-659" fmla="*/ 0 w 10630556"/>
              <a:gd name="connsiteY6-660" fmla="*/ 2791 h 468725"/>
              <a:gd name="connsiteX0-661" fmla="*/ 0 w 10630556"/>
              <a:gd name="connsiteY0-662" fmla="*/ 2791 h 468725"/>
              <a:gd name="connsiteX1-663" fmla="*/ 10629862 w 10630556"/>
              <a:gd name="connsiteY1-664" fmla="*/ 0 h 468725"/>
              <a:gd name="connsiteX2-665" fmla="*/ 10630065 w 10630556"/>
              <a:gd name="connsiteY2-666" fmla="*/ 125086 h 468725"/>
              <a:gd name="connsiteX3-667" fmla="*/ 1137891 w 10630556"/>
              <a:gd name="connsiteY3-668" fmla="*/ 127140 h 468725"/>
              <a:gd name="connsiteX4-669" fmla="*/ 557968 w 10630556"/>
              <a:gd name="connsiteY4-670" fmla="*/ 468725 h 468725"/>
              <a:gd name="connsiteX5-671" fmla="*/ 75946 w 10630556"/>
              <a:gd name="connsiteY5-672" fmla="*/ 125867 h 468725"/>
              <a:gd name="connsiteX6-673" fmla="*/ 451 w 10630556"/>
              <a:gd name="connsiteY6-674" fmla="*/ 124807 h 468725"/>
              <a:gd name="connsiteX7-675" fmla="*/ 0 w 10630556"/>
              <a:gd name="connsiteY7-676" fmla="*/ 2791 h 468725"/>
              <a:gd name="connsiteX0-677" fmla="*/ 0 w 10630556"/>
              <a:gd name="connsiteY0-678" fmla="*/ 2791 h 468725"/>
              <a:gd name="connsiteX1-679" fmla="*/ 10629862 w 10630556"/>
              <a:gd name="connsiteY1-680" fmla="*/ 0 h 468725"/>
              <a:gd name="connsiteX2-681" fmla="*/ 10630065 w 10630556"/>
              <a:gd name="connsiteY2-682" fmla="*/ 125086 h 468725"/>
              <a:gd name="connsiteX3-683" fmla="*/ 1137891 w 10630556"/>
              <a:gd name="connsiteY3-684" fmla="*/ 127140 h 468725"/>
              <a:gd name="connsiteX4-685" fmla="*/ 557968 w 10630556"/>
              <a:gd name="connsiteY4-686" fmla="*/ 468725 h 468725"/>
              <a:gd name="connsiteX5-687" fmla="*/ 75946 w 10630556"/>
              <a:gd name="connsiteY5-688" fmla="*/ 125867 h 468725"/>
              <a:gd name="connsiteX6-689" fmla="*/ 451 w 10630556"/>
              <a:gd name="connsiteY6-690" fmla="*/ 124807 h 468725"/>
              <a:gd name="connsiteX7-691" fmla="*/ 0 w 10630556"/>
              <a:gd name="connsiteY7-692" fmla="*/ 2791 h 468725"/>
              <a:gd name="connsiteX0-693" fmla="*/ 0 w 10630556"/>
              <a:gd name="connsiteY0-694" fmla="*/ 2791 h 468725"/>
              <a:gd name="connsiteX1-695" fmla="*/ 10629862 w 10630556"/>
              <a:gd name="connsiteY1-696" fmla="*/ 0 h 468725"/>
              <a:gd name="connsiteX2-697" fmla="*/ 10630065 w 10630556"/>
              <a:gd name="connsiteY2-698" fmla="*/ 125086 h 468725"/>
              <a:gd name="connsiteX3-699" fmla="*/ 1137891 w 10630556"/>
              <a:gd name="connsiteY3-700" fmla="*/ 127140 h 468725"/>
              <a:gd name="connsiteX4-701" fmla="*/ 557968 w 10630556"/>
              <a:gd name="connsiteY4-702" fmla="*/ 468725 h 468725"/>
              <a:gd name="connsiteX5-703" fmla="*/ 75946 w 10630556"/>
              <a:gd name="connsiteY5-704" fmla="*/ 125867 h 468725"/>
              <a:gd name="connsiteX6-705" fmla="*/ 451 w 10630556"/>
              <a:gd name="connsiteY6-706" fmla="*/ 124807 h 468725"/>
              <a:gd name="connsiteX7-707" fmla="*/ 0 w 10630556"/>
              <a:gd name="connsiteY7-708" fmla="*/ 2791 h 468725"/>
              <a:gd name="connsiteX0-709" fmla="*/ 782750 w 11413306"/>
              <a:gd name="connsiteY0-710" fmla="*/ 2791 h 468725"/>
              <a:gd name="connsiteX1-711" fmla="*/ 11412612 w 11413306"/>
              <a:gd name="connsiteY1-712" fmla="*/ 0 h 468725"/>
              <a:gd name="connsiteX2-713" fmla="*/ 11412815 w 11413306"/>
              <a:gd name="connsiteY2-714" fmla="*/ 125086 h 468725"/>
              <a:gd name="connsiteX3-715" fmla="*/ 1920641 w 11413306"/>
              <a:gd name="connsiteY3-716" fmla="*/ 127140 h 468725"/>
              <a:gd name="connsiteX4-717" fmla="*/ 1340718 w 11413306"/>
              <a:gd name="connsiteY4-718" fmla="*/ 468725 h 468725"/>
              <a:gd name="connsiteX5-719" fmla="*/ 858696 w 11413306"/>
              <a:gd name="connsiteY5-720" fmla="*/ 125867 h 468725"/>
              <a:gd name="connsiteX6-721" fmla="*/ 782750 w 11413306"/>
              <a:gd name="connsiteY6-722" fmla="*/ 2791 h 468725"/>
              <a:gd name="connsiteX0-723" fmla="*/ 802813 w 11357561"/>
              <a:gd name="connsiteY0-724" fmla="*/ 2791 h 468725"/>
              <a:gd name="connsiteX1-725" fmla="*/ 11356867 w 11357561"/>
              <a:gd name="connsiteY1-726" fmla="*/ 0 h 468725"/>
              <a:gd name="connsiteX2-727" fmla="*/ 11357070 w 11357561"/>
              <a:gd name="connsiteY2-728" fmla="*/ 125086 h 468725"/>
              <a:gd name="connsiteX3-729" fmla="*/ 1864896 w 11357561"/>
              <a:gd name="connsiteY3-730" fmla="*/ 127140 h 468725"/>
              <a:gd name="connsiteX4-731" fmla="*/ 1284973 w 11357561"/>
              <a:gd name="connsiteY4-732" fmla="*/ 468725 h 468725"/>
              <a:gd name="connsiteX5-733" fmla="*/ 802951 w 11357561"/>
              <a:gd name="connsiteY5-734" fmla="*/ 125867 h 468725"/>
              <a:gd name="connsiteX6-735" fmla="*/ 802813 w 11357561"/>
              <a:gd name="connsiteY6-736" fmla="*/ 2791 h 468725"/>
              <a:gd name="connsiteX0-737" fmla="*/ 341552 w 10896300"/>
              <a:gd name="connsiteY0-738" fmla="*/ 2791 h 468725"/>
              <a:gd name="connsiteX1-739" fmla="*/ 10895606 w 10896300"/>
              <a:gd name="connsiteY1-740" fmla="*/ 0 h 468725"/>
              <a:gd name="connsiteX2-741" fmla="*/ 10895809 w 10896300"/>
              <a:gd name="connsiteY2-742" fmla="*/ 125086 h 468725"/>
              <a:gd name="connsiteX3-743" fmla="*/ 1403635 w 10896300"/>
              <a:gd name="connsiteY3-744" fmla="*/ 127140 h 468725"/>
              <a:gd name="connsiteX4-745" fmla="*/ 823712 w 10896300"/>
              <a:gd name="connsiteY4-746" fmla="*/ 468725 h 468725"/>
              <a:gd name="connsiteX5-747" fmla="*/ 341690 w 10896300"/>
              <a:gd name="connsiteY5-748" fmla="*/ 125867 h 468725"/>
              <a:gd name="connsiteX6-749" fmla="*/ 341552 w 10896300"/>
              <a:gd name="connsiteY6-750" fmla="*/ 2791 h 468725"/>
              <a:gd name="connsiteX0-751" fmla="*/ 41143 w 10595891"/>
              <a:gd name="connsiteY0-752" fmla="*/ 2791 h 468725"/>
              <a:gd name="connsiteX1-753" fmla="*/ 10595197 w 10595891"/>
              <a:gd name="connsiteY1-754" fmla="*/ 0 h 468725"/>
              <a:gd name="connsiteX2-755" fmla="*/ 10595400 w 10595891"/>
              <a:gd name="connsiteY2-756" fmla="*/ 125086 h 468725"/>
              <a:gd name="connsiteX3-757" fmla="*/ 1103226 w 10595891"/>
              <a:gd name="connsiteY3-758" fmla="*/ 127140 h 468725"/>
              <a:gd name="connsiteX4-759" fmla="*/ 523303 w 10595891"/>
              <a:gd name="connsiteY4-760" fmla="*/ 468725 h 468725"/>
              <a:gd name="connsiteX5-761" fmla="*/ 41281 w 10595891"/>
              <a:gd name="connsiteY5-762" fmla="*/ 125867 h 468725"/>
              <a:gd name="connsiteX6-763" fmla="*/ 41143 w 10595891"/>
              <a:gd name="connsiteY6-764" fmla="*/ 2791 h 468725"/>
              <a:gd name="connsiteX0-765" fmla="*/ 433 w 10555181"/>
              <a:gd name="connsiteY0-766" fmla="*/ 2791 h 468725"/>
              <a:gd name="connsiteX1-767" fmla="*/ 10554487 w 10555181"/>
              <a:gd name="connsiteY1-768" fmla="*/ 0 h 468725"/>
              <a:gd name="connsiteX2-769" fmla="*/ 10554690 w 10555181"/>
              <a:gd name="connsiteY2-770" fmla="*/ 125086 h 468725"/>
              <a:gd name="connsiteX3-771" fmla="*/ 1062516 w 10555181"/>
              <a:gd name="connsiteY3-772" fmla="*/ 127140 h 468725"/>
              <a:gd name="connsiteX4-773" fmla="*/ 482593 w 10555181"/>
              <a:gd name="connsiteY4-774" fmla="*/ 468725 h 468725"/>
              <a:gd name="connsiteX5-775" fmla="*/ 571 w 10555181"/>
              <a:gd name="connsiteY5-776" fmla="*/ 125867 h 468725"/>
              <a:gd name="connsiteX6-777" fmla="*/ 433 w 10555181"/>
              <a:gd name="connsiteY6-778" fmla="*/ 2791 h 468725"/>
              <a:gd name="connsiteX0-779" fmla="*/ 433 w 10555181"/>
              <a:gd name="connsiteY0-780" fmla="*/ 2791 h 468725"/>
              <a:gd name="connsiteX1-781" fmla="*/ 10554487 w 10555181"/>
              <a:gd name="connsiteY1-782" fmla="*/ 0 h 468725"/>
              <a:gd name="connsiteX2-783" fmla="*/ 10554690 w 10555181"/>
              <a:gd name="connsiteY2-784" fmla="*/ 125086 h 468725"/>
              <a:gd name="connsiteX3-785" fmla="*/ 1062516 w 10555181"/>
              <a:gd name="connsiteY3-786" fmla="*/ 127140 h 468725"/>
              <a:gd name="connsiteX4-787" fmla="*/ 482593 w 10555181"/>
              <a:gd name="connsiteY4-788" fmla="*/ 468725 h 468725"/>
              <a:gd name="connsiteX5-789" fmla="*/ 571 w 10555181"/>
              <a:gd name="connsiteY5-790" fmla="*/ 125867 h 468725"/>
              <a:gd name="connsiteX6-791" fmla="*/ 433 w 10555181"/>
              <a:gd name="connsiteY6-792" fmla="*/ 2791 h 468725"/>
              <a:gd name="connsiteX0-793" fmla="*/ 433 w 10555181"/>
              <a:gd name="connsiteY0-794" fmla="*/ 2791 h 468725"/>
              <a:gd name="connsiteX1-795" fmla="*/ 10554487 w 10555181"/>
              <a:gd name="connsiteY1-796" fmla="*/ 0 h 468725"/>
              <a:gd name="connsiteX2-797" fmla="*/ 10554690 w 10555181"/>
              <a:gd name="connsiteY2-798" fmla="*/ 125086 h 468725"/>
              <a:gd name="connsiteX3-799" fmla="*/ 1062516 w 10555181"/>
              <a:gd name="connsiteY3-800" fmla="*/ 127140 h 468725"/>
              <a:gd name="connsiteX4-801" fmla="*/ 482593 w 10555181"/>
              <a:gd name="connsiteY4-802" fmla="*/ 468725 h 468725"/>
              <a:gd name="connsiteX5-803" fmla="*/ 571 w 10555181"/>
              <a:gd name="connsiteY5-804" fmla="*/ 125867 h 468725"/>
              <a:gd name="connsiteX6-805" fmla="*/ 433 w 10555181"/>
              <a:gd name="connsiteY6-806" fmla="*/ 2791 h 468725"/>
              <a:gd name="connsiteX0-807" fmla="*/ 433 w 10555181"/>
              <a:gd name="connsiteY0-808" fmla="*/ 2791 h 468725"/>
              <a:gd name="connsiteX1-809" fmla="*/ 10554487 w 10555181"/>
              <a:gd name="connsiteY1-810" fmla="*/ 0 h 468725"/>
              <a:gd name="connsiteX2-811" fmla="*/ 10554690 w 10555181"/>
              <a:gd name="connsiteY2-812" fmla="*/ 125086 h 468725"/>
              <a:gd name="connsiteX3-813" fmla="*/ 1062516 w 10555181"/>
              <a:gd name="connsiteY3-814" fmla="*/ 127140 h 468725"/>
              <a:gd name="connsiteX4-815" fmla="*/ 482593 w 10555181"/>
              <a:gd name="connsiteY4-816" fmla="*/ 468725 h 468725"/>
              <a:gd name="connsiteX5-817" fmla="*/ 571 w 10555181"/>
              <a:gd name="connsiteY5-818" fmla="*/ 125867 h 468725"/>
              <a:gd name="connsiteX6-819" fmla="*/ 433 w 10555181"/>
              <a:gd name="connsiteY6-820" fmla="*/ 2791 h 468725"/>
              <a:gd name="connsiteX0-821" fmla="*/ 433 w 10555181"/>
              <a:gd name="connsiteY0-822" fmla="*/ 2791 h 468725"/>
              <a:gd name="connsiteX1-823" fmla="*/ 10554487 w 10555181"/>
              <a:gd name="connsiteY1-824" fmla="*/ 0 h 468725"/>
              <a:gd name="connsiteX2-825" fmla="*/ 10554690 w 10555181"/>
              <a:gd name="connsiteY2-826" fmla="*/ 125086 h 468725"/>
              <a:gd name="connsiteX3-827" fmla="*/ 1062516 w 10555181"/>
              <a:gd name="connsiteY3-828" fmla="*/ 127140 h 468725"/>
              <a:gd name="connsiteX4-829" fmla="*/ 482593 w 10555181"/>
              <a:gd name="connsiteY4-830" fmla="*/ 468725 h 468725"/>
              <a:gd name="connsiteX5-831" fmla="*/ 571 w 10555181"/>
              <a:gd name="connsiteY5-832" fmla="*/ 125867 h 468725"/>
              <a:gd name="connsiteX6-833" fmla="*/ 433 w 10555181"/>
              <a:gd name="connsiteY6-834" fmla="*/ 2791 h 468725"/>
              <a:gd name="connsiteX0-835" fmla="*/ 433 w 10555181"/>
              <a:gd name="connsiteY0-836" fmla="*/ 2791 h 468725"/>
              <a:gd name="connsiteX1-837" fmla="*/ 10554487 w 10555181"/>
              <a:gd name="connsiteY1-838" fmla="*/ 0 h 468725"/>
              <a:gd name="connsiteX2-839" fmla="*/ 10554690 w 10555181"/>
              <a:gd name="connsiteY2-840" fmla="*/ 125086 h 468725"/>
              <a:gd name="connsiteX3-841" fmla="*/ 1062516 w 10555181"/>
              <a:gd name="connsiteY3-842" fmla="*/ 127140 h 468725"/>
              <a:gd name="connsiteX4-843" fmla="*/ 482593 w 10555181"/>
              <a:gd name="connsiteY4-844" fmla="*/ 468725 h 468725"/>
              <a:gd name="connsiteX5-845" fmla="*/ 571 w 10555181"/>
              <a:gd name="connsiteY5-846" fmla="*/ 125867 h 468725"/>
              <a:gd name="connsiteX6-847" fmla="*/ 433 w 10555181"/>
              <a:gd name="connsiteY6-848" fmla="*/ 2791 h 468725"/>
              <a:gd name="connsiteX0-849" fmla="*/ 433 w 10555181"/>
              <a:gd name="connsiteY0-850" fmla="*/ 2791 h 468725"/>
              <a:gd name="connsiteX1-851" fmla="*/ 10554487 w 10555181"/>
              <a:gd name="connsiteY1-852" fmla="*/ 0 h 468725"/>
              <a:gd name="connsiteX2-853" fmla="*/ 10554690 w 10555181"/>
              <a:gd name="connsiteY2-854" fmla="*/ 125086 h 468725"/>
              <a:gd name="connsiteX3-855" fmla="*/ 1062516 w 10555181"/>
              <a:gd name="connsiteY3-856" fmla="*/ 127140 h 468725"/>
              <a:gd name="connsiteX4-857" fmla="*/ 482593 w 10555181"/>
              <a:gd name="connsiteY4-858" fmla="*/ 468725 h 468725"/>
              <a:gd name="connsiteX5-859" fmla="*/ 571 w 10555181"/>
              <a:gd name="connsiteY5-860" fmla="*/ 125867 h 468725"/>
              <a:gd name="connsiteX6-861" fmla="*/ 433 w 10555181"/>
              <a:gd name="connsiteY6-862" fmla="*/ 2791 h 468725"/>
              <a:gd name="connsiteX0-863" fmla="*/ 433 w 10555181"/>
              <a:gd name="connsiteY0-864" fmla="*/ 2791 h 468725"/>
              <a:gd name="connsiteX1-865" fmla="*/ 10554487 w 10555181"/>
              <a:gd name="connsiteY1-866" fmla="*/ 0 h 468725"/>
              <a:gd name="connsiteX2-867" fmla="*/ 10554690 w 10555181"/>
              <a:gd name="connsiteY2-868" fmla="*/ 125086 h 468725"/>
              <a:gd name="connsiteX3-869" fmla="*/ 1062516 w 10555181"/>
              <a:gd name="connsiteY3-870" fmla="*/ 127140 h 468725"/>
              <a:gd name="connsiteX4-871" fmla="*/ 482593 w 10555181"/>
              <a:gd name="connsiteY4-872" fmla="*/ 468725 h 468725"/>
              <a:gd name="connsiteX5-873" fmla="*/ 571 w 10555181"/>
              <a:gd name="connsiteY5-874" fmla="*/ 139671 h 468725"/>
              <a:gd name="connsiteX6-875" fmla="*/ 433 w 10555181"/>
              <a:gd name="connsiteY6-876" fmla="*/ 2791 h 468725"/>
              <a:gd name="connsiteX0-877" fmla="*/ 433 w 10555181"/>
              <a:gd name="connsiteY0-878" fmla="*/ 2791 h 468725"/>
              <a:gd name="connsiteX1-879" fmla="*/ 10554487 w 10555181"/>
              <a:gd name="connsiteY1-880" fmla="*/ 0 h 468725"/>
              <a:gd name="connsiteX2-881" fmla="*/ 10554690 w 10555181"/>
              <a:gd name="connsiteY2-882" fmla="*/ 125086 h 468725"/>
              <a:gd name="connsiteX3-883" fmla="*/ 1062516 w 10555181"/>
              <a:gd name="connsiteY3-884" fmla="*/ 127140 h 468725"/>
              <a:gd name="connsiteX4-885" fmla="*/ 482593 w 10555181"/>
              <a:gd name="connsiteY4-886" fmla="*/ 468725 h 468725"/>
              <a:gd name="connsiteX5-887" fmla="*/ 571 w 10555181"/>
              <a:gd name="connsiteY5-888" fmla="*/ 139671 h 468725"/>
              <a:gd name="connsiteX6-889" fmla="*/ 433 w 10555181"/>
              <a:gd name="connsiteY6-890" fmla="*/ 2791 h 468725"/>
              <a:gd name="connsiteX0-891" fmla="*/ 433 w 10555181"/>
              <a:gd name="connsiteY0-892" fmla="*/ 2791 h 468725"/>
              <a:gd name="connsiteX1-893" fmla="*/ 10554487 w 10555181"/>
              <a:gd name="connsiteY1-894" fmla="*/ 0 h 468725"/>
              <a:gd name="connsiteX2-895" fmla="*/ 10554690 w 10555181"/>
              <a:gd name="connsiteY2-896" fmla="*/ 125086 h 468725"/>
              <a:gd name="connsiteX3-897" fmla="*/ 1062516 w 10555181"/>
              <a:gd name="connsiteY3-898" fmla="*/ 127140 h 468725"/>
              <a:gd name="connsiteX4-899" fmla="*/ 482593 w 10555181"/>
              <a:gd name="connsiteY4-900" fmla="*/ 468725 h 468725"/>
              <a:gd name="connsiteX5-901" fmla="*/ 571 w 10555181"/>
              <a:gd name="connsiteY5-902" fmla="*/ 139671 h 468725"/>
              <a:gd name="connsiteX6-903" fmla="*/ 433 w 10555181"/>
              <a:gd name="connsiteY6-904" fmla="*/ 2791 h 468725"/>
              <a:gd name="connsiteX0-905" fmla="*/ 433 w 10555181"/>
              <a:gd name="connsiteY0-906" fmla="*/ 44066 h 468725"/>
              <a:gd name="connsiteX1-907" fmla="*/ 10554487 w 10555181"/>
              <a:gd name="connsiteY1-908" fmla="*/ 0 h 468725"/>
              <a:gd name="connsiteX2-909" fmla="*/ 10554690 w 10555181"/>
              <a:gd name="connsiteY2-910" fmla="*/ 125086 h 468725"/>
              <a:gd name="connsiteX3-911" fmla="*/ 1062516 w 10555181"/>
              <a:gd name="connsiteY3-912" fmla="*/ 127140 h 468725"/>
              <a:gd name="connsiteX4-913" fmla="*/ 482593 w 10555181"/>
              <a:gd name="connsiteY4-914" fmla="*/ 468725 h 468725"/>
              <a:gd name="connsiteX5-915" fmla="*/ 571 w 10555181"/>
              <a:gd name="connsiteY5-916" fmla="*/ 139671 h 468725"/>
              <a:gd name="connsiteX6-917" fmla="*/ 433 w 10555181"/>
              <a:gd name="connsiteY6-918" fmla="*/ 44066 h 468725"/>
              <a:gd name="connsiteX0-919" fmla="*/ 433 w 10554690"/>
              <a:gd name="connsiteY0-920" fmla="*/ 5966 h 430625"/>
              <a:gd name="connsiteX1-921" fmla="*/ 10551351 w 10554690"/>
              <a:gd name="connsiteY1-922" fmla="*/ 0 h 430625"/>
              <a:gd name="connsiteX2-923" fmla="*/ 10554690 w 10554690"/>
              <a:gd name="connsiteY2-924" fmla="*/ 86986 h 430625"/>
              <a:gd name="connsiteX3-925" fmla="*/ 1062516 w 10554690"/>
              <a:gd name="connsiteY3-926" fmla="*/ 89040 h 430625"/>
              <a:gd name="connsiteX4-927" fmla="*/ 482593 w 10554690"/>
              <a:gd name="connsiteY4-928" fmla="*/ 430625 h 430625"/>
              <a:gd name="connsiteX5-929" fmla="*/ 571 w 10554690"/>
              <a:gd name="connsiteY5-930" fmla="*/ 101571 h 430625"/>
              <a:gd name="connsiteX6-931" fmla="*/ 433 w 10554690"/>
              <a:gd name="connsiteY6-932" fmla="*/ 5966 h 430625"/>
              <a:gd name="connsiteX0-933" fmla="*/ 433 w 10554690"/>
              <a:gd name="connsiteY0-934" fmla="*/ 5966 h 427450"/>
              <a:gd name="connsiteX1-935" fmla="*/ 10551351 w 10554690"/>
              <a:gd name="connsiteY1-936" fmla="*/ 0 h 427450"/>
              <a:gd name="connsiteX2-937" fmla="*/ 10554690 w 10554690"/>
              <a:gd name="connsiteY2-938" fmla="*/ 86986 h 427450"/>
              <a:gd name="connsiteX3-939" fmla="*/ 1062516 w 10554690"/>
              <a:gd name="connsiteY3-940" fmla="*/ 89040 h 427450"/>
              <a:gd name="connsiteX4-941" fmla="*/ 482593 w 10554690"/>
              <a:gd name="connsiteY4-942" fmla="*/ 427450 h 427450"/>
              <a:gd name="connsiteX5-943" fmla="*/ 571 w 10554690"/>
              <a:gd name="connsiteY5-944" fmla="*/ 101571 h 427450"/>
              <a:gd name="connsiteX6-945" fmla="*/ 433 w 10554690"/>
              <a:gd name="connsiteY6-946" fmla="*/ 5966 h 427450"/>
              <a:gd name="connsiteX0-947" fmla="*/ 433 w 10554690"/>
              <a:gd name="connsiteY0-948" fmla="*/ 5966 h 427450"/>
              <a:gd name="connsiteX1-949" fmla="*/ 10551351 w 10554690"/>
              <a:gd name="connsiteY1-950" fmla="*/ 0 h 427450"/>
              <a:gd name="connsiteX2-951" fmla="*/ 10554690 w 10554690"/>
              <a:gd name="connsiteY2-952" fmla="*/ 86986 h 427450"/>
              <a:gd name="connsiteX3-953" fmla="*/ 10274940 w 10554690"/>
              <a:gd name="connsiteY3-954" fmla="*/ 87717 h 427450"/>
              <a:gd name="connsiteX4-955" fmla="*/ 1062516 w 10554690"/>
              <a:gd name="connsiteY4-956" fmla="*/ 89040 h 427450"/>
              <a:gd name="connsiteX5-957" fmla="*/ 482593 w 10554690"/>
              <a:gd name="connsiteY5-958" fmla="*/ 427450 h 427450"/>
              <a:gd name="connsiteX6-959" fmla="*/ 571 w 10554690"/>
              <a:gd name="connsiteY6-960" fmla="*/ 101571 h 427450"/>
              <a:gd name="connsiteX7-961" fmla="*/ 433 w 10554690"/>
              <a:gd name="connsiteY7-962" fmla="*/ 5966 h 427450"/>
              <a:gd name="connsiteX0-963" fmla="*/ 433 w 10554691"/>
              <a:gd name="connsiteY0-964" fmla="*/ 75754 h 497238"/>
              <a:gd name="connsiteX1-965" fmla="*/ 10551351 w 10554691"/>
              <a:gd name="connsiteY1-966" fmla="*/ 69788 h 497238"/>
              <a:gd name="connsiteX2-967" fmla="*/ 10554691 w 10554691"/>
              <a:gd name="connsiteY2-968" fmla="*/ 64699 h 497238"/>
              <a:gd name="connsiteX3-969" fmla="*/ 10274940 w 10554691"/>
              <a:gd name="connsiteY3-970" fmla="*/ 157505 h 497238"/>
              <a:gd name="connsiteX4-971" fmla="*/ 1062516 w 10554691"/>
              <a:gd name="connsiteY4-972" fmla="*/ 158828 h 497238"/>
              <a:gd name="connsiteX5-973" fmla="*/ 482593 w 10554691"/>
              <a:gd name="connsiteY5-974" fmla="*/ 497238 h 497238"/>
              <a:gd name="connsiteX6-975" fmla="*/ 571 w 10554691"/>
              <a:gd name="connsiteY6-976" fmla="*/ 171359 h 497238"/>
              <a:gd name="connsiteX7-977" fmla="*/ 433 w 10554691"/>
              <a:gd name="connsiteY7-978" fmla="*/ 75754 h 497238"/>
              <a:gd name="connsiteX0-979" fmla="*/ 433 w 10554691"/>
              <a:gd name="connsiteY0-980" fmla="*/ 75754 h 497238"/>
              <a:gd name="connsiteX1-981" fmla="*/ 10551351 w 10554691"/>
              <a:gd name="connsiteY1-982" fmla="*/ 69788 h 497238"/>
              <a:gd name="connsiteX2-983" fmla="*/ 10554691 w 10554691"/>
              <a:gd name="connsiteY2-984" fmla="*/ 64699 h 497238"/>
              <a:gd name="connsiteX3-985" fmla="*/ 10274940 w 10554691"/>
              <a:gd name="connsiteY3-986" fmla="*/ 157505 h 497238"/>
              <a:gd name="connsiteX4-987" fmla="*/ 1062516 w 10554691"/>
              <a:gd name="connsiteY4-988" fmla="*/ 158828 h 497238"/>
              <a:gd name="connsiteX5-989" fmla="*/ 482593 w 10554691"/>
              <a:gd name="connsiteY5-990" fmla="*/ 497238 h 497238"/>
              <a:gd name="connsiteX6-991" fmla="*/ 571 w 10554691"/>
              <a:gd name="connsiteY6-992" fmla="*/ 171359 h 497238"/>
              <a:gd name="connsiteX7-993" fmla="*/ 433 w 10554691"/>
              <a:gd name="connsiteY7-994" fmla="*/ 75754 h 497238"/>
              <a:gd name="connsiteX0-995" fmla="*/ 433 w 10554691"/>
              <a:gd name="connsiteY0-996" fmla="*/ 75754 h 497238"/>
              <a:gd name="connsiteX1-997" fmla="*/ 10551351 w 10554691"/>
              <a:gd name="connsiteY1-998" fmla="*/ 69788 h 497238"/>
              <a:gd name="connsiteX2-999" fmla="*/ 10554691 w 10554691"/>
              <a:gd name="connsiteY2-1000" fmla="*/ 64699 h 497238"/>
              <a:gd name="connsiteX3-1001" fmla="*/ 10274940 w 10554691"/>
              <a:gd name="connsiteY3-1002" fmla="*/ 157505 h 497238"/>
              <a:gd name="connsiteX4-1003" fmla="*/ 1062516 w 10554691"/>
              <a:gd name="connsiteY4-1004" fmla="*/ 158828 h 497238"/>
              <a:gd name="connsiteX5-1005" fmla="*/ 482593 w 10554691"/>
              <a:gd name="connsiteY5-1006" fmla="*/ 497238 h 497238"/>
              <a:gd name="connsiteX6-1007" fmla="*/ 571 w 10554691"/>
              <a:gd name="connsiteY6-1008" fmla="*/ 171359 h 497238"/>
              <a:gd name="connsiteX7-1009" fmla="*/ 433 w 10554691"/>
              <a:gd name="connsiteY7-1010" fmla="*/ 75754 h 497238"/>
              <a:gd name="connsiteX0-1011" fmla="*/ 433 w 10554691"/>
              <a:gd name="connsiteY0-1012" fmla="*/ 60438 h 481922"/>
              <a:gd name="connsiteX1-1013" fmla="*/ 10551351 w 10554691"/>
              <a:gd name="connsiteY1-1014" fmla="*/ 54472 h 481922"/>
              <a:gd name="connsiteX2-1015" fmla="*/ 10554691 w 10554691"/>
              <a:gd name="connsiteY2-1016" fmla="*/ 49383 h 481922"/>
              <a:gd name="connsiteX3-1017" fmla="*/ 10274940 w 10554691"/>
              <a:gd name="connsiteY3-1018" fmla="*/ 142189 h 481922"/>
              <a:gd name="connsiteX4-1019" fmla="*/ 1062516 w 10554691"/>
              <a:gd name="connsiteY4-1020" fmla="*/ 143512 h 481922"/>
              <a:gd name="connsiteX5-1021" fmla="*/ 482593 w 10554691"/>
              <a:gd name="connsiteY5-1022" fmla="*/ 481922 h 481922"/>
              <a:gd name="connsiteX6-1023" fmla="*/ 571 w 10554691"/>
              <a:gd name="connsiteY6-1024" fmla="*/ 156043 h 481922"/>
              <a:gd name="connsiteX7-1025" fmla="*/ 433 w 10554691"/>
              <a:gd name="connsiteY7-1026" fmla="*/ 60438 h 481922"/>
              <a:gd name="connsiteX0-1027" fmla="*/ 433 w 11661532"/>
              <a:gd name="connsiteY0-1028" fmla="*/ 5966 h 427450"/>
              <a:gd name="connsiteX1-1029" fmla="*/ 10551351 w 11661532"/>
              <a:gd name="connsiteY1-1030" fmla="*/ 0 h 427450"/>
              <a:gd name="connsiteX2-1031" fmla="*/ 10274940 w 11661532"/>
              <a:gd name="connsiteY2-1032" fmla="*/ 87717 h 427450"/>
              <a:gd name="connsiteX3-1033" fmla="*/ 1062516 w 11661532"/>
              <a:gd name="connsiteY3-1034" fmla="*/ 89040 h 427450"/>
              <a:gd name="connsiteX4-1035" fmla="*/ 482593 w 11661532"/>
              <a:gd name="connsiteY4-1036" fmla="*/ 427450 h 427450"/>
              <a:gd name="connsiteX5-1037" fmla="*/ 571 w 11661532"/>
              <a:gd name="connsiteY5-1038" fmla="*/ 101571 h 427450"/>
              <a:gd name="connsiteX6-1039" fmla="*/ 433 w 11661532"/>
              <a:gd name="connsiteY6-1040" fmla="*/ 5966 h 427450"/>
              <a:gd name="connsiteX0-1041" fmla="*/ 433 w 11071037"/>
              <a:gd name="connsiteY0-1042" fmla="*/ 6015 h 427499"/>
              <a:gd name="connsiteX1-1043" fmla="*/ 10551351 w 11071037"/>
              <a:gd name="connsiteY1-1044" fmla="*/ 49 h 427499"/>
              <a:gd name="connsiteX2-1045" fmla="*/ 10274940 w 11071037"/>
              <a:gd name="connsiteY2-1046" fmla="*/ 87766 h 427499"/>
              <a:gd name="connsiteX3-1047" fmla="*/ 1062516 w 11071037"/>
              <a:gd name="connsiteY3-1048" fmla="*/ 89089 h 427499"/>
              <a:gd name="connsiteX4-1049" fmla="*/ 482593 w 11071037"/>
              <a:gd name="connsiteY4-1050" fmla="*/ 427499 h 427499"/>
              <a:gd name="connsiteX5-1051" fmla="*/ 571 w 11071037"/>
              <a:gd name="connsiteY5-1052" fmla="*/ 101620 h 427499"/>
              <a:gd name="connsiteX6-1053" fmla="*/ 433 w 11071037"/>
              <a:gd name="connsiteY6-1054" fmla="*/ 6015 h 427499"/>
              <a:gd name="connsiteX0-1055" fmla="*/ 433 w 11057538"/>
              <a:gd name="connsiteY0-1056" fmla="*/ 5966 h 427450"/>
              <a:gd name="connsiteX1-1057" fmla="*/ 10551351 w 11057538"/>
              <a:gd name="connsiteY1-1058" fmla="*/ 0 h 427450"/>
              <a:gd name="connsiteX2-1059" fmla="*/ 10274940 w 11057538"/>
              <a:gd name="connsiteY2-1060" fmla="*/ 87717 h 427450"/>
              <a:gd name="connsiteX3-1061" fmla="*/ 1062516 w 11057538"/>
              <a:gd name="connsiteY3-1062" fmla="*/ 89040 h 427450"/>
              <a:gd name="connsiteX4-1063" fmla="*/ 482593 w 11057538"/>
              <a:gd name="connsiteY4-1064" fmla="*/ 427450 h 427450"/>
              <a:gd name="connsiteX5-1065" fmla="*/ 571 w 11057538"/>
              <a:gd name="connsiteY5-1066" fmla="*/ 101571 h 427450"/>
              <a:gd name="connsiteX6-1067" fmla="*/ 433 w 11057538"/>
              <a:gd name="connsiteY6-1068" fmla="*/ 5966 h 427450"/>
              <a:gd name="connsiteX0-1069" fmla="*/ 433 w 10551351"/>
              <a:gd name="connsiteY0-1070" fmla="*/ 5966 h 427450"/>
              <a:gd name="connsiteX1-1071" fmla="*/ 10551351 w 10551351"/>
              <a:gd name="connsiteY1-1072" fmla="*/ 0 h 427450"/>
              <a:gd name="connsiteX2-1073" fmla="*/ 10274940 w 10551351"/>
              <a:gd name="connsiteY2-1074" fmla="*/ 87717 h 427450"/>
              <a:gd name="connsiteX3-1075" fmla="*/ 1062516 w 10551351"/>
              <a:gd name="connsiteY3-1076" fmla="*/ 89040 h 427450"/>
              <a:gd name="connsiteX4-1077" fmla="*/ 482593 w 10551351"/>
              <a:gd name="connsiteY4-1078" fmla="*/ 427450 h 427450"/>
              <a:gd name="connsiteX5-1079" fmla="*/ 571 w 10551351"/>
              <a:gd name="connsiteY5-1080" fmla="*/ 101571 h 427450"/>
              <a:gd name="connsiteX6-1081" fmla="*/ 433 w 10551351"/>
              <a:gd name="connsiteY6-1082" fmla="*/ 5966 h 427450"/>
              <a:gd name="connsiteX0-1083" fmla="*/ 433 w 10551351"/>
              <a:gd name="connsiteY0-1084" fmla="*/ 5966 h 341725"/>
              <a:gd name="connsiteX1-1085" fmla="*/ 10551351 w 10551351"/>
              <a:gd name="connsiteY1-1086" fmla="*/ 0 h 341725"/>
              <a:gd name="connsiteX2-1087" fmla="*/ 10274940 w 10551351"/>
              <a:gd name="connsiteY2-1088" fmla="*/ 87717 h 341725"/>
              <a:gd name="connsiteX3-1089" fmla="*/ 1062516 w 10551351"/>
              <a:gd name="connsiteY3-1090" fmla="*/ 89040 h 341725"/>
              <a:gd name="connsiteX4-1091" fmla="*/ 482593 w 10551351"/>
              <a:gd name="connsiteY4-1092" fmla="*/ 341725 h 341725"/>
              <a:gd name="connsiteX5-1093" fmla="*/ 571 w 10551351"/>
              <a:gd name="connsiteY5-1094" fmla="*/ 101571 h 341725"/>
              <a:gd name="connsiteX6-1095" fmla="*/ 433 w 10551351"/>
              <a:gd name="connsiteY6-1096" fmla="*/ 5966 h 341725"/>
              <a:gd name="connsiteX0-1097" fmla="*/ 433 w 10551351"/>
              <a:gd name="connsiteY0-1098" fmla="*/ 5966 h 341725"/>
              <a:gd name="connsiteX1-1099" fmla="*/ 10551351 w 10551351"/>
              <a:gd name="connsiteY1-1100" fmla="*/ 0 h 341725"/>
              <a:gd name="connsiteX2-1101" fmla="*/ 10274940 w 10551351"/>
              <a:gd name="connsiteY2-1102" fmla="*/ 87717 h 341725"/>
              <a:gd name="connsiteX3-1103" fmla="*/ 1062516 w 10551351"/>
              <a:gd name="connsiteY3-1104" fmla="*/ 89040 h 341725"/>
              <a:gd name="connsiteX4-1105" fmla="*/ 482593 w 10551351"/>
              <a:gd name="connsiteY4-1106" fmla="*/ 341725 h 341725"/>
              <a:gd name="connsiteX5-1107" fmla="*/ 571 w 10551351"/>
              <a:gd name="connsiteY5-1108" fmla="*/ 101571 h 341725"/>
              <a:gd name="connsiteX6-1109" fmla="*/ 433 w 10551351"/>
              <a:gd name="connsiteY6-1110" fmla="*/ 5966 h 341725"/>
              <a:gd name="connsiteX0-1111" fmla="*/ 433 w 10551351"/>
              <a:gd name="connsiteY0-1112" fmla="*/ 5966 h 341725"/>
              <a:gd name="connsiteX1-1113" fmla="*/ 10551351 w 10551351"/>
              <a:gd name="connsiteY1-1114" fmla="*/ 0 h 341725"/>
              <a:gd name="connsiteX2-1115" fmla="*/ 10274940 w 10551351"/>
              <a:gd name="connsiteY2-1116" fmla="*/ 87717 h 341725"/>
              <a:gd name="connsiteX3-1117" fmla="*/ 1062516 w 10551351"/>
              <a:gd name="connsiteY3-1118" fmla="*/ 89040 h 341725"/>
              <a:gd name="connsiteX4-1119" fmla="*/ 482593 w 10551351"/>
              <a:gd name="connsiteY4-1120" fmla="*/ 341725 h 341725"/>
              <a:gd name="connsiteX5-1121" fmla="*/ 571 w 10551351"/>
              <a:gd name="connsiteY5-1122" fmla="*/ 101571 h 341725"/>
              <a:gd name="connsiteX6-1123" fmla="*/ 433 w 10551351"/>
              <a:gd name="connsiteY6-1124" fmla="*/ 5966 h 341725"/>
              <a:gd name="connsiteX0-1125" fmla="*/ 433 w 10551351"/>
              <a:gd name="connsiteY0-1126" fmla="*/ 5966 h 341725"/>
              <a:gd name="connsiteX1-1127" fmla="*/ 10551351 w 10551351"/>
              <a:gd name="connsiteY1-1128" fmla="*/ 0 h 341725"/>
              <a:gd name="connsiteX2-1129" fmla="*/ 10274940 w 10551351"/>
              <a:gd name="connsiteY2-1130" fmla="*/ 87717 h 341725"/>
              <a:gd name="connsiteX3-1131" fmla="*/ 1062516 w 10551351"/>
              <a:gd name="connsiteY3-1132" fmla="*/ 89040 h 341725"/>
              <a:gd name="connsiteX4-1133" fmla="*/ 482593 w 10551351"/>
              <a:gd name="connsiteY4-1134" fmla="*/ 341725 h 341725"/>
              <a:gd name="connsiteX5-1135" fmla="*/ 571 w 10551351"/>
              <a:gd name="connsiteY5-1136" fmla="*/ 101571 h 341725"/>
              <a:gd name="connsiteX6-1137" fmla="*/ 433 w 10551351"/>
              <a:gd name="connsiteY6-1138" fmla="*/ 5966 h 341725"/>
              <a:gd name="connsiteX0-1139" fmla="*/ 0 w 11177990"/>
              <a:gd name="connsiteY0-1140" fmla="*/ 2791 h 341725"/>
              <a:gd name="connsiteX1-1141" fmla="*/ 11177990 w 11177990"/>
              <a:gd name="connsiteY1-1142" fmla="*/ 0 h 341725"/>
              <a:gd name="connsiteX2-1143" fmla="*/ 10901579 w 11177990"/>
              <a:gd name="connsiteY2-1144" fmla="*/ 87717 h 341725"/>
              <a:gd name="connsiteX3-1145" fmla="*/ 1689155 w 11177990"/>
              <a:gd name="connsiteY3-1146" fmla="*/ 89040 h 341725"/>
              <a:gd name="connsiteX4-1147" fmla="*/ 1109232 w 11177990"/>
              <a:gd name="connsiteY4-1148" fmla="*/ 341725 h 341725"/>
              <a:gd name="connsiteX5-1149" fmla="*/ 627210 w 11177990"/>
              <a:gd name="connsiteY5-1150" fmla="*/ 101571 h 341725"/>
              <a:gd name="connsiteX6-1151" fmla="*/ 0 w 11177990"/>
              <a:gd name="connsiteY6-1152" fmla="*/ 2791 h 341725"/>
              <a:gd name="connsiteX0-1153" fmla="*/ 780014 w 11958004"/>
              <a:gd name="connsiteY0-1154" fmla="*/ 2791 h 341725"/>
              <a:gd name="connsiteX1-1155" fmla="*/ 11958004 w 11958004"/>
              <a:gd name="connsiteY1-1156" fmla="*/ 0 h 341725"/>
              <a:gd name="connsiteX2-1157" fmla="*/ 11681593 w 11958004"/>
              <a:gd name="connsiteY2-1158" fmla="*/ 87717 h 341725"/>
              <a:gd name="connsiteX3-1159" fmla="*/ 2469169 w 11958004"/>
              <a:gd name="connsiteY3-1160" fmla="*/ 89040 h 341725"/>
              <a:gd name="connsiteX4-1161" fmla="*/ 1889246 w 11958004"/>
              <a:gd name="connsiteY4-1162" fmla="*/ 341725 h 341725"/>
              <a:gd name="connsiteX5-1163" fmla="*/ 1407224 w 11958004"/>
              <a:gd name="connsiteY5-1164" fmla="*/ 101571 h 341725"/>
              <a:gd name="connsiteX6-1165" fmla="*/ 998158 w 11958004"/>
              <a:gd name="connsiteY6-1166" fmla="*/ 40093 h 341725"/>
              <a:gd name="connsiteX7-1167" fmla="*/ 780014 w 11958004"/>
              <a:gd name="connsiteY7-1168" fmla="*/ 2791 h 341725"/>
              <a:gd name="connsiteX0-1169" fmla="*/ 758495 w 11936485"/>
              <a:gd name="connsiteY0-1170" fmla="*/ 2791 h 341725"/>
              <a:gd name="connsiteX1-1171" fmla="*/ 11936485 w 11936485"/>
              <a:gd name="connsiteY1-1172" fmla="*/ 0 h 341725"/>
              <a:gd name="connsiteX2-1173" fmla="*/ 11660074 w 11936485"/>
              <a:gd name="connsiteY2-1174" fmla="*/ 87717 h 341725"/>
              <a:gd name="connsiteX3-1175" fmla="*/ 2447650 w 11936485"/>
              <a:gd name="connsiteY3-1176" fmla="*/ 89040 h 341725"/>
              <a:gd name="connsiteX4-1177" fmla="*/ 1867727 w 11936485"/>
              <a:gd name="connsiteY4-1178" fmla="*/ 341725 h 341725"/>
              <a:gd name="connsiteX5-1179" fmla="*/ 1385705 w 11936485"/>
              <a:gd name="connsiteY5-1180" fmla="*/ 101571 h 341725"/>
              <a:gd name="connsiteX6-1181" fmla="*/ 976639 w 11936485"/>
              <a:gd name="connsiteY6-1182" fmla="*/ 40093 h 341725"/>
              <a:gd name="connsiteX7-1183" fmla="*/ 758495 w 11936485"/>
              <a:gd name="connsiteY7-1184" fmla="*/ 2791 h 341725"/>
              <a:gd name="connsiteX0-1185" fmla="*/ 0 w 11177990"/>
              <a:gd name="connsiteY0-1186" fmla="*/ 2791 h 341725"/>
              <a:gd name="connsiteX1-1187" fmla="*/ 11177990 w 11177990"/>
              <a:gd name="connsiteY1-1188" fmla="*/ 0 h 341725"/>
              <a:gd name="connsiteX2-1189" fmla="*/ 10901579 w 11177990"/>
              <a:gd name="connsiteY2-1190" fmla="*/ 87717 h 341725"/>
              <a:gd name="connsiteX3-1191" fmla="*/ 1689155 w 11177990"/>
              <a:gd name="connsiteY3-1192" fmla="*/ 89040 h 341725"/>
              <a:gd name="connsiteX4-1193" fmla="*/ 1109232 w 11177990"/>
              <a:gd name="connsiteY4-1194" fmla="*/ 341725 h 341725"/>
              <a:gd name="connsiteX5-1195" fmla="*/ 627210 w 11177990"/>
              <a:gd name="connsiteY5-1196" fmla="*/ 101571 h 341725"/>
              <a:gd name="connsiteX6-1197" fmla="*/ 218144 w 11177990"/>
              <a:gd name="connsiteY6-1198" fmla="*/ 40093 h 341725"/>
              <a:gd name="connsiteX7-1199" fmla="*/ 0 w 11177990"/>
              <a:gd name="connsiteY7-1200" fmla="*/ 2791 h 341725"/>
              <a:gd name="connsiteX0-1201" fmla="*/ 1331 w 11179321"/>
              <a:gd name="connsiteY0-1202" fmla="*/ 2791 h 341725"/>
              <a:gd name="connsiteX1-1203" fmla="*/ 11179321 w 11179321"/>
              <a:gd name="connsiteY1-1204" fmla="*/ 0 h 341725"/>
              <a:gd name="connsiteX2-1205" fmla="*/ 10902910 w 11179321"/>
              <a:gd name="connsiteY2-1206" fmla="*/ 87717 h 341725"/>
              <a:gd name="connsiteX3-1207" fmla="*/ 1690486 w 11179321"/>
              <a:gd name="connsiteY3-1208" fmla="*/ 89040 h 341725"/>
              <a:gd name="connsiteX4-1209" fmla="*/ 1110563 w 11179321"/>
              <a:gd name="connsiteY4-1210" fmla="*/ 341725 h 341725"/>
              <a:gd name="connsiteX5-1211" fmla="*/ 628541 w 11179321"/>
              <a:gd name="connsiteY5-1212" fmla="*/ 101571 h 341725"/>
              <a:gd name="connsiteX6-1213" fmla="*/ 0 w 11179321"/>
              <a:gd name="connsiteY6-1214" fmla="*/ 94068 h 341725"/>
              <a:gd name="connsiteX7-1215" fmla="*/ 1331 w 11179321"/>
              <a:gd name="connsiteY7-1216" fmla="*/ 2791 h 341725"/>
              <a:gd name="connsiteX0-1217" fmla="*/ 1331 w 11179321"/>
              <a:gd name="connsiteY0-1218" fmla="*/ 2791 h 341725"/>
              <a:gd name="connsiteX1-1219" fmla="*/ 11179321 w 11179321"/>
              <a:gd name="connsiteY1-1220" fmla="*/ 0 h 341725"/>
              <a:gd name="connsiteX2-1221" fmla="*/ 10902910 w 11179321"/>
              <a:gd name="connsiteY2-1222" fmla="*/ 87717 h 341725"/>
              <a:gd name="connsiteX3-1223" fmla="*/ 1690486 w 11179321"/>
              <a:gd name="connsiteY3-1224" fmla="*/ 89040 h 341725"/>
              <a:gd name="connsiteX4-1225" fmla="*/ 1110563 w 11179321"/>
              <a:gd name="connsiteY4-1226" fmla="*/ 341725 h 341725"/>
              <a:gd name="connsiteX5-1227" fmla="*/ 628541 w 11179321"/>
              <a:gd name="connsiteY5-1228" fmla="*/ 101571 h 341725"/>
              <a:gd name="connsiteX6-1229" fmla="*/ 0 w 11179321"/>
              <a:gd name="connsiteY6-1230" fmla="*/ 94068 h 341725"/>
              <a:gd name="connsiteX7-1231" fmla="*/ 1331 w 11179321"/>
              <a:gd name="connsiteY7-1232" fmla="*/ 2791 h 341725"/>
              <a:gd name="connsiteX0-1233" fmla="*/ 1331 w 11179321"/>
              <a:gd name="connsiteY0-1234" fmla="*/ 2791 h 341725"/>
              <a:gd name="connsiteX1-1235" fmla="*/ 11179321 w 11179321"/>
              <a:gd name="connsiteY1-1236" fmla="*/ 0 h 341725"/>
              <a:gd name="connsiteX2-1237" fmla="*/ 10902910 w 11179321"/>
              <a:gd name="connsiteY2-1238" fmla="*/ 87717 h 341725"/>
              <a:gd name="connsiteX3-1239" fmla="*/ 1690486 w 11179321"/>
              <a:gd name="connsiteY3-1240" fmla="*/ 89040 h 341725"/>
              <a:gd name="connsiteX4-1241" fmla="*/ 1110563 w 11179321"/>
              <a:gd name="connsiteY4-1242" fmla="*/ 341725 h 341725"/>
              <a:gd name="connsiteX5-1243" fmla="*/ 628541 w 11179321"/>
              <a:gd name="connsiteY5-1244" fmla="*/ 101571 h 341725"/>
              <a:gd name="connsiteX6-1245" fmla="*/ 0 w 11179321"/>
              <a:gd name="connsiteY6-1246" fmla="*/ 94068 h 341725"/>
              <a:gd name="connsiteX7-1247" fmla="*/ 1331 w 11179321"/>
              <a:gd name="connsiteY7-1248" fmla="*/ 2791 h 341725"/>
              <a:gd name="connsiteX0-1249" fmla="*/ 1331 w 11179321"/>
              <a:gd name="connsiteY0-1250" fmla="*/ 2791 h 341725"/>
              <a:gd name="connsiteX1-1251" fmla="*/ 11179321 w 11179321"/>
              <a:gd name="connsiteY1-1252" fmla="*/ 0 h 341725"/>
              <a:gd name="connsiteX2-1253" fmla="*/ 10902910 w 11179321"/>
              <a:gd name="connsiteY2-1254" fmla="*/ 87717 h 341725"/>
              <a:gd name="connsiteX3-1255" fmla="*/ 1690486 w 11179321"/>
              <a:gd name="connsiteY3-1256" fmla="*/ 89040 h 341725"/>
              <a:gd name="connsiteX4-1257" fmla="*/ 1110563 w 11179321"/>
              <a:gd name="connsiteY4-1258" fmla="*/ 341725 h 341725"/>
              <a:gd name="connsiteX5-1259" fmla="*/ 628541 w 11179321"/>
              <a:gd name="connsiteY5-1260" fmla="*/ 101571 h 341725"/>
              <a:gd name="connsiteX6-1261" fmla="*/ 0 w 11179321"/>
              <a:gd name="connsiteY6-1262" fmla="*/ 103593 h 341725"/>
              <a:gd name="connsiteX7-1263" fmla="*/ 1331 w 11179321"/>
              <a:gd name="connsiteY7-1264" fmla="*/ 2791 h 341725"/>
              <a:gd name="connsiteX0-1265" fmla="*/ 1331 w 11179321"/>
              <a:gd name="connsiteY0-1266" fmla="*/ 2791 h 341725"/>
              <a:gd name="connsiteX1-1267" fmla="*/ 11179321 w 11179321"/>
              <a:gd name="connsiteY1-1268" fmla="*/ 0 h 341725"/>
              <a:gd name="connsiteX2-1269" fmla="*/ 10567427 w 11179321"/>
              <a:gd name="connsiteY2-1270" fmla="*/ 90892 h 341725"/>
              <a:gd name="connsiteX3-1271" fmla="*/ 1690486 w 11179321"/>
              <a:gd name="connsiteY3-1272" fmla="*/ 89040 h 341725"/>
              <a:gd name="connsiteX4-1273" fmla="*/ 1110563 w 11179321"/>
              <a:gd name="connsiteY4-1274" fmla="*/ 341725 h 341725"/>
              <a:gd name="connsiteX5-1275" fmla="*/ 628541 w 11179321"/>
              <a:gd name="connsiteY5-1276" fmla="*/ 101571 h 341725"/>
              <a:gd name="connsiteX6-1277" fmla="*/ 0 w 11179321"/>
              <a:gd name="connsiteY6-1278" fmla="*/ 103593 h 341725"/>
              <a:gd name="connsiteX7-1279" fmla="*/ 1331 w 11179321"/>
              <a:gd name="connsiteY7-1280" fmla="*/ 2791 h 341725"/>
              <a:gd name="connsiteX0-1281" fmla="*/ 1331 w 10600099"/>
              <a:gd name="connsiteY0-1282" fmla="*/ 2791 h 341725"/>
              <a:gd name="connsiteX1-1283" fmla="*/ 10561656 w 10600099"/>
              <a:gd name="connsiteY1-1284" fmla="*/ 0 h 341725"/>
              <a:gd name="connsiteX2-1285" fmla="*/ 10567427 w 10600099"/>
              <a:gd name="connsiteY2-1286" fmla="*/ 90892 h 341725"/>
              <a:gd name="connsiteX3-1287" fmla="*/ 1690486 w 10600099"/>
              <a:gd name="connsiteY3-1288" fmla="*/ 89040 h 341725"/>
              <a:gd name="connsiteX4-1289" fmla="*/ 1110563 w 10600099"/>
              <a:gd name="connsiteY4-1290" fmla="*/ 341725 h 341725"/>
              <a:gd name="connsiteX5-1291" fmla="*/ 628541 w 10600099"/>
              <a:gd name="connsiteY5-1292" fmla="*/ 101571 h 341725"/>
              <a:gd name="connsiteX6-1293" fmla="*/ 0 w 10600099"/>
              <a:gd name="connsiteY6-1294" fmla="*/ 103593 h 341725"/>
              <a:gd name="connsiteX7-1295" fmla="*/ 1331 w 10600099"/>
              <a:gd name="connsiteY7-1296" fmla="*/ 2791 h 341725"/>
              <a:gd name="connsiteX0-1297" fmla="*/ 1331 w 10567427"/>
              <a:gd name="connsiteY0-1298" fmla="*/ 2791 h 341725"/>
              <a:gd name="connsiteX1-1299" fmla="*/ 10561656 w 10567427"/>
              <a:gd name="connsiteY1-1300" fmla="*/ 0 h 341725"/>
              <a:gd name="connsiteX2-1301" fmla="*/ 10567427 w 10567427"/>
              <a:gd name="connsiteY2-1302" fmla="*/ 90892 h 341725"/>
              <a:gd name="connsiteX3-1303" fmla="*/ 1690486 w 10567427"/>
              <a:gd name="connsiteY3-1304" fmla="*/ 89040 h 341725"/>
              <a:gd name="connsiteX4-1305" fmla="*/ 1110563 w 10567427"/>
              <a:gd name="connsiteY4-1306" fmla="*/ 341725 h 341725"/>
              <a:gd name="connsiteX5-1307" fmla="*/ 628541 w 10567427"/>
              <a:gd name="connsiteY5-1308" fmla="*/ 101571 h 341725"/>
              <a:gd name="connsiteX6-1309" fmla="*/ 0 w 10567427"/>
              <a:gd name="connsiteY6-1310" fmla="*/ 103593 h 341725"/>
              <a:gd name="connsiteX7-1311" fmla="*/ 1331 w 10567427"/>
              <a:gd name="connsiteY7-1312" fmla="*/ 2791 h 341725"/>
              <a:gd name="connsiteX0-1313" fmla="*/ 1331 w 10561687"/>
              <a:gd name="connsiteY0-1314" fmla="*/ 2791 h 341725"/>
              <a:gd name="connsiteX1-1315" fmla="*/ 10561656 w 10561687"/>
              <a:gd name="connsiteY1-1316" fmla="*/ 0 h 341725"/>
              <a:gd name="connsiteX2-1317" fmla="*/ 10561157 w 10561687"/>
              <a:gd name="connsiteY2-1318" fmla="*/ 90892 h 341725"/>
              <a:gd name="connsiteX3-1319" fmla="*/ 1690486 w 10561687"/>
              <a:gd name="connsiteY3-1320" fmla="*/ 89040 h 341725"/>
              <a:gd name="connsiteX4-1321" fmla="*/ 1110563 w 10561687"/>
              <a:gd name="connsiteY4-1322" fmla="*/ 341725 h 341725"/>
              <a:gd name="connsiteX5-1323" fmla="*/ 628541 w 10561687"/>
              <a:gd name="connsiteY5-1324" fmla="*/ 101571 h 341725"/>
              <a:gd name="connsiteX6-1325" fmla="*/ 0 w 10561687"/>
              <a:gd name="connsiteY6-1326" fmla="*/ 103593 h 341725"/>
              <a:gd name="connsiteX7-1327" fmla="*/ 1331 w 10561687"/>
              <a:gd name="connsiteY7-1328" fmla="*/ 2791 h 341725"/>
              <a:gd name="connsiteX0-1329" fmla="*/ 1331 w 10562072"/>
              <a:gd name="connsiteY0-1330" fmla="*/ 2791 h 341725"/>
              <a:gd name="connsiteX1-1331" fmla="*/ 10561656 w 10562072"/>
              <a:gd name="connsiteY1-1332" fmla="*/ 0 h 341725"/>
              <a:gd name="connsiteX2-1333" fmla="*/ 10561157 w 10562072"/>
              <a:gd name="connsiteY2-1334" fmla="*/ 90892 h 341725"/>
              <a:gd name="connsiteX3-1335" fmla="*/ 1690486 w 10562072"/>
              <a:gd name="connsiteY3-1336" fmla="*/ 89040 h 341725"/>
              <a:gd name="connsiteX4-1337" fmla="*/ 1110563 w 10562072"/>
              <a:gd name="connsiteY4-1338" fmla="*/ 341725 h 341725"/>
              <a:gd name="connsiteX5-1339" fmla="*/ 628541 w 10562072"/>
              <a:gd name="connsiteY5-1340" fmla="*/ 101571 h 341725"/>
              <a:gd name="connsiteX6-1341" fmla="*/ 0 w 10562072"/>
              <a:gd name="connsiteY6-1342" fmla="*/ 103593 h 341725"/>
              <a:gd name="connsiteX7-1343" fmla="*/ 1331 w 10562072"/>
              <a:gd name="connsiteY7-1344" fmla="*/ 2791 h 341725"/>
              <a:gd name="connsiteX0-1345" fmla="*/ 1331 w 10562072"/>
              <a:gd name="connsiteY0-1346" fmla="*/ 2791 h 887696"/>
              <a:gd name="connsiteX1-1347" fmla="*/ 10561656 w 10562072"/>
              <a:gd name="connsiteY1-1348" fmla="*/ 0 h 887696"/>
              <a:gd name="connsiteX2-1349" fmla="*/ 10561157 w 10562072"/>
              <a:gd name="connsiteY2-1350" fmla="*/ 90892 h 887696"/>
              <a:gd name="connsiteX3-1351" fmla="*/ 1690486 w 10562072"/>
              <a:gd name="connsiteY3-1352" fmla="*/ 89040 h 887696"/>
              <a:gd name="connsiteX4-1353" fmla="*/ 1180889 w 10562072"/>
              <a:gd name="connsiteY4-1354" fmla="*/ 887696 h 887696"/>
              <a:gd name="connsiteX5-1355" fmla="*/ 628541 w 10562072"/>
              <a:gd name="connsiteY5-1356" fmla="*/ 101571 h 887696"/>
              <a:gd name="connsiteX6-1357" fmla="*/ 0 w 10562072"/>
              <a:gd name="connsiteY6-1358" fmla="*/ 103593 h 887696"/>
              <a:gd name="connsiteX7-1359" fmla="*/ 1331 w 10562072"/>
              <a:gd name="connsiteY7-1360" fmla="*/ 2791 h 887696"/>
              <a:gd name="connsiteX0-1361" fmla="*/ 1331 w 10562072"/>
              <a:gd name="connsiteY0-1362" fmla="*/ 2791 h 887696"/>
              <a:gd name="connsiteX1-1363" fmla="*/ 10561656 w 10562072"/>
              <a:gd name="connsiteY1-1364" fmla="*/ 0 h 887696"/>
              <a:gd name="connsiteX2-1365" fmla="*/ 10561157 w 10562072"/>
              <a:gd name="connsiteY2-1366" fmla="*/ 90892 h 887696"/>
              <a:gd name="connsiteX3-1367" fmla="*/ 2317558 w 10562072"/>
              <a:gd name="connsiteY3-1368" fmla="*/ 89040 h 887696"/>
              <a:gd name="connsiteX4-1369" fmla="*/ 1180889 w 10562072"/>
              <a:gd name="connsiteY4-1370" fmla="*/ 887696 h 887696"/>
              <a:gd name="connsiteX5-1371" fmla="*/ 628541 w 10562072"/>
              <a:gd name="connsiteY5-1372" fmla="*/ 101571 h 887696"/>
              <a:gd name="connsiteX6-1373" fmla="*/ 0 w 10562072"/>
              <a:gd name="connsiteY6-1374" fmla="*/ 103593 h 887696"/>
              <a:gd name="connsiteX7-1375" fmla="*/ 1331 w 10562072"/>
              <a:gd name="connsiteY7-1376" fmla="*/ 2791 h 887696"/>
              <a:gd name="connsiteX0-1377" fmla="*/ 1331 w 10562072"/>
              <a:gd name="connsiteY0-1378" fmla="*/ 2791 h 887702"/>
              <a:gd name="connsiteX1-1379" fmla="*/ 10561656 w 10562072"/>
              <a:gd name="connsiteY1-1380" fmla="*/ 0 h 887702"/>
              <a:gd name="connsiteX2-1381" fmla="*/ 10561157 w 10562072"/>
              <a:gd name="connsiteY2-1382" fmla="*/ 90892 h 887702"/>
              <a:gd name="connsiteX3-1383" fmla="*/ 2317558 w 10562072"/>
              <a:gd name="connsiteY3-1384" fmla="*/ 89040 h 887702"/>
              <a:gd name="connsiteX4-1385" fmla="*/ 1180889 w 10562072"/>
              <a:gd name="connsiteY4-1386" fmla="*/ 887696 h 887702"/>
              <a:gd name="connsiteX5-1387" fmla="*/ 0 w 10562072"/>
              <a:gd name="connsiteY5-1388" fmla="*/ 103593 h 887702"/>
              <a:gd name="connsiteX6-1389" fmla="*/ 1331 w 10562072"/>
              <a:gd name="connsiteY6-1390" fmla="*/ 2791 h 887702"/>
              <a:gd name="connsiteX0-1391" fmla="*/ 1331 w 10562072"/>
              <a:gd name="connsiteY0-1392" fmla="*/ 2791 h 887696"/>
              <a:gd name="connsiteX1-1393" fmla="*/ 10561656 w 10562072"/>
              <a:gd name="connsiteY1-1394" fmla="*/ 0 h 887696"/>
              <a:gd name="connsiteX2-1395" fmla="*/ 10561157 w 10562072"/>
              <a:gd name="connsiteY2-1396" fmla="*/ 90892 h 887696"/>
              <a:gd name="connsiteX3-1397" fmla="*/ 2317558 w 10562072"/>
              <a:gd name="connsiteY3-1398" fmla="*/ 89040 h 887696"/>
              <a:gd name="connsiteX4-1399" fmla="*/ 1180889 w 10562072"/>
              <a:gd name="connsiteY4-1400" fmla="*/ 887696 h 887696"/>
              <a:gd name="connsiteX5-1401" fmla="*/ 0 w 10562072"/>
              <a:gd name="connsiteY5-1402" fmla="*/ 103593 h 887696"/>
              <a:gd name="connsiteX6-1403" fmla="*/ 1331 w 10562072"/>
              <a:gd name="connsiteY6-1404" fmla="*/ 2791 h 887696"/>
              <a:gd name="connsiteX0-1405" fmla="*/ 1331 w 10562072"/>
              <a:gd name="connsiteY0-1406" fmla="*/ 2791 h 887696"/>
              <a:gd name="connsiteX1-1407" fmla="*/ 10561656 w 10562072"/>
              <a:gd name="connsiteY1-1408" fmla="*/ 0 h 887696"/>
              <a:gd name="connsiteX2-1409" fmla="*/ 10561157 w 10562072"/>
              <a:gd name="connsiteY2-1410" fmla="*/ 90892 h 887696"/>
              <a:gd name="connsiteX3-1411" fmla="*/ 2317558 w 10562072"/>
              <a:gd name="connsiteY3-1412" fmla="*/ 89040 h 887696"/>
              <a:gd name="connsiteX4-1413" fmla="*/ 1180889 w 10562072"/>
              <a:gd name="connsiteY4-1414" fmla="*/ 887696 h 887696"/>
              <a:gd name="connsiteX5-1415" fmla="*/ 0 w 10562072"/>
              <a:gd name="connsiteY5-1416" fmla="*/ 103593 h 887696"/>
              <a:gd name="connsiteX6-1417" fmla="*/ 1331 w 10562072"/>
              <a:gd name="connsiteY6-1418" fmla="*/ 2791 h 887696"/>
              <a:gd name="connsiteX0-1419" fmla="*/ 1331 w 10562072"/>
              <a:gd name="connsiteY0-1420" fmla="*/ 2791 h 887696"/>
              <a:gd name="connsiteX1-1421" fmla="*/ 10561656 w 10562072"/>
              <a:gd name="connsiteY1-1422" fmla="*/ 0 h 887696"/>
              <a:gd name="connsiteX2-1423" fmla="*/ 10561157 w 10562072"/>
              <a:gd name="connsiteY2-1424" fmla="*/ 90892 h 887696"/>
              <a:gd name="connsiteX3-1425" fmla="*/ 2317558 w 10562072"/>
              <a:gd name="connsiteY3-1426" fmla="*/ 89040 h 887696"/>
              <a:gd name="connsiteX4-1427" fmla="*/ 1180889 w 10562072"/>
              <a:gd name="connsiteY4-1428" fmla="*/ 887696 h 887696"/>
              <a:gd name="connsiteX5-1429" fmla="*/ 0 w 10562072"/>
              <a:gd name="connsiteY5-1430" fmla="*/ 103593 h 887696"/>
              <a:gd name="connsiteX6-1431" fmla="*/ 1331 w 10562072"/>
              <a:gd name="connsiteY6-1432" fmla="*/ 2791 h 887696"/>
              <a:gd name="connsiteX0-1433" fmla="*/ 1331 w 10562072"/>
              <a:gd name="connsiteY0-1434" fmla="*/ 2791 h 887696"/>
              <a:gd name="connsiteX1-1435" fmla="*/ 10561656 w 10562072"/>
              <a:gd name="connsiteY1-1436" fmla="*/ 0 h 887696"/>
              <a:gd name="connsiteX2-1437" fmla="*/ 10561157 w 10562072"/>
              <a:gd name="connsiteY2-1438" fmla="*/ 90892 h 887696"/>
              <a:gd name="connsiteX3-1439" fmla="*/ 2317558 w 10562072"/>
              <a:gd name="connsiteY3-1440" fmla="*/ 89040 h 887696"/>
              <a:gd name="connsiteX4-1441" fmla="*/ 1180889 w 10562072"/>
              <a:gd name="connsiteY4-1442" fmla="*/ 887696 h 887696"/>
              <a:gd name="connsiteX5-1443" fmla="*/ 0 w 10562072"/>
              <a:gd name="connsiteY5-1444" fmla="*/ 103593 h 887696"/>
              <a:gd name="connsiteX6-1445" fmla="*/ 1331 w 10562072"/>
              <a:gd name="connsiteY6-1446" fmla="*/ 2791 h 887696"/>
              <a:gd name="connsiteX0-1447" fmla="*/ 1331 w 10562072"/>
              <a:gd name="connsiteY0-1448" fmla="*/ 2791 h 887696"/>
              <a:gd name="connsiteX1-1449" fmla="*/ 10561656 w 10562072"/>
              <a:gd name="connsiteY1-1450" fmla="*/ 0 h 887696"/>
              <a:gd name="connsiteX2-1451" fmla="*/ 10561157 w 10562072"/>
              <a:gd name="connsiteY2-1452" fmla="*/ 90892 h 887696"/>
              <a:gd name="connsiteX3-1453" fmla="*/ 2317558 w 10562072"/>
              <a:gd name="connsiteY3-1454" fmla="*/ 89040 h 887696"/>
              <a:gd name="connsiteX4-1455" fmla="*/ 1180889 w 10562072"/>
              <a:gd name="connsiteY4-1456" fmla="*/ 887696 h 887696"/>
              <a:gd name="connsiteX5-1457" fmla="*/ 0 w 10562072"/>
              <a:gd name="connsiteY5-1458" fmla="*/ 103593 h 887696"/>
              <a:gd name="connsiteX6-1459" fmla="*/ 1331 w 10562072"/>
              <a:gd name="connsiteY6-1460" fmla="*/ 2791 h 887696"/>
              <a:gd name="connsiteX0-1461" fmla="*/ 1331 w 10562072"/>
              <a:gd name="connsiteY0-1462" fmla="*/ 2791 h 887696"/>
              <a:gd name="connsiteX1-1463" fmla="*/ 10561656 w 10562072"/>
              <a:gd name="connsiteY1-1464" fmla="*/ 0 h 887696"/>
              <a:gd name="connsiteX2-1465" fmla="*/ 10561157 w 10562072"/>
              <a:gd name="connsiteY2-1466" fmla="*/ 90892 h 887696"/>
              <a:gd name="connsiteX3-1467" fmla="*/ 2317558 w 10562072"/>
              <a:gd name="connsiteY3-1468" fmla="*/ 89040 h 887696"/>
              <a:gd name="connsiteX4-1469" fmla="*/ 1180889 w 10562072"/>
              <a:gd name="connsiteY4-1470" fmla="*/ 887696 h 887696"/>
              <a:gd name="connsiteX5-1471" fmla="*/ 0 w 10562072"/>
              <a:gd name="connsiteY5-1472" fmla="*/ 103593 h 887696"/>
              <a:gd name="connsiteX6-1473" fmla="*/ 1331 w 10562072"/>
              <a:gd name="connsiteY6-1474" fmla="*/ 2791 h 887696"/>
              <a:gd name="connsiteX0-1475" fmla="*/ 1331 w 10562072"/>
              <a:gd name="connsiteY0-1476" fmla="*/ 2791 h 887696"/>
              <a:gd name="connsiteX1-1477" fmla="*/ 10561656 w 10562072"/>
              <a:gd name="connsiteY1-1478" fmla="*/ 0 h 887696"/>
              <a:gd name="connsiteX2-1479" fmla="*/ 10561157 w 10562072"/>
              <a:gd name="connsiteY2-1480" fmla="*/ 90892 h 887696"/>
              <a:gd name="connsiteX3-1481" fmla="*/ 2317558 w 10562072"/>
              <a:gd name="connsiteY3-1482" fmla="*/ 89040 h 887696"/>
              <a:gd name="connsiteX4-1483" fmla="*/ 1180889 w 10562072"/>
              <a:gd name="connsiteY4-1484" fmla="*/ 887696 h 887696"/>
              <a:gd name="connsiteX5-1485" fmla="*/ 0 w 10562072"/>
              <a:gd name="connsiteY5-1486" fmla="*/ 103593 h 887696"/>
              <a:gd name="connsiteX6-1487" fmla="*/ 1331 w 10562072"/>
              <a:gd name="connsiteY6-1488" fmla="*/ 2791 h 887696"/>
              <a:gd name="connsiteX0-1489" fmla="*/ 1331 w 10562072"/>
              <a:gd name="connsiteY0-1490" fmla="*/ 2791 h 887696"/>
              <a:gd name="connsiteX1-1491" fmla="*/ 10561656 w 10562072"/>
              <a:gd name="connsiteY1-1492" fmla="*/ 0 h 887696"/>
              <a:gd name="connsiteX2-1493" fmla="*/ 10561157 w 10562072"/>
              <a:gd name="connsiteY2-1494" fmla="*/ 90892 h 887696"/>
              <a:gd name="connsiteX3-1495" fmla="*/ 2317558 w 10562072"/>
              <a:gd name="connsiteY3-1496" fmla="*/ 89040 h 887696"/>
              <a:gd name="connsiteX4-1497" fmla="*/ 1180889 w 10562072"/>
              <a:gd name="connsiteY4-1498" fmla="*/ 887696 h 887696"/>
              <a:gd name="connsiteX5-1499" fmla="*/ 0 w 10562072"/>
              <a:gd name="connsiteY5-1500" fmla="*/ 103593 h 887696"/>
              <a:gd name="connsiteX6-1501" fmla="*/ 1331 w 10562072"/>
              <a:gd name="connsiteY6-1502" fmla="*/ 2791 h 887696"/>
              <a:gd name="connsiteX0-1503" fmla="*/ 1331 w 10562072"/>
              <a:gd name="connsiteY0-1504" fmla="*/ 2791 h 887696"/>
              <a:gd name="connsiteX1-1505" fmla="*/ 10561656 w 10562072"/>
              <a:gd name="connsiteY1-1506" fmla="*/ 0 h 887696"/>
              <a:gd name="connsiteX2-1507" fmla="*/ 10561157 w 10562072"/>
              <a:gd name="connsiteY2-1508" fmla="*/ 90892 h 887696"/>
              <a:gd name="connsiteX3-1509" fmla="*/ 2317558 w 10562072"/>
              <a:gd name="connsiteY3-1510" fmla="*/ 89040 h 887696"/>
              <a:gd name="connsiteX4-1511" fmla="*/ 1180889 w 10562072"/>
              <a:gd name="connsiteY4-1512" fmla="*/ 887696 h 887696"/>
              <a:gd name="connsiteX5-1513" fmla="*/ 0 w 10562072"/>
              <a:gd name="connsiteY5-1514" fmla="*/ 103593 h 887696"/>
              <a:gd name="connsiteX6-1515" fmla="*/ 1331 w 10562072"/>
              <a:gd name="connsiteY6-1516" fmla="*/ 2791 h 887696"/>
              <a:gd name="connsiteX0-1517" fmla="*/ 0 w 10568342"/>
              <a:gd name="connsiteY0-1518" fmla="*/ 0 h 2916892"/>
              <a:gd name="connsiteX1-1519" fmla="*/ 10567926 w 10568342"/>
              <a:gd name="connsiteY1-1520" fmla="*/ 2029196 h 2916892"/>
              <a:gd name="connsiteX2-1521" fmla="*/ 10567427 w 10568342"/>
              <a:gd name="connsiteY2-1522" fmla="*/ 2120088 h 2916892"/>
              <a:gd name="connsiteX3-1523" fmla="*/ 2323828 w 10568342"/>
              <a:gd name="connsiteY3-1524" fmla="*/ 2118236 h 2916892"/>
              <a:gd name="connsiteX4-1525" fmla="*/ 1187159 w 10568342"/>
              <a:gd name="connsiteY4-1526" fmla="*/ 2916892 h 2916892"/>
              <a:gd name="connsiteX5-1527" fmla="*/ 6270 w 10568342"/>
              <a:gd name="connsiteY5-1528" fmla="*/ 2132789 h 2916892"/>
              <a:gd name="connsiteX6-1529" fmla="*/ 0 w 10568342"/>
              <a:gd name="connsiteY6-1530" fmla="*/ 0 h 2916892"/>
              <a:gd name="connsiteX0-1531" fmla="*/ 0 w 10575943"/>
              <a:gd name="connsiteY0-1532" fmla="*/ 0 h 2955377"/>
              <a:gd name="connsiteX1-1533" fmla="*/ 10575527 w 10575943"/>
              <a:gd name="connsiteY1-1534" fmla="*/ 2067681 h 2955377"/>
              <a:gd name="connsiteX2-1535" fmla="*/ 10575028 w 10575943"/>
              <a:gd name="connsiteY2-1536" fmla="*/ 2158573 h 2955377"/>
              <a:gd name="connsiteX3-1537" fmla="*/ 2331429 w 10575943"/>
              <a:gd name="connsiteY3-1538" fmla="*/ 2156721 h 2955377"/>
              <a:gd name="connsiteX4-1539" fmla="*/ 1194760 w 10575943"/>
              <a:gd name="connsiteY4-1540" fmla="*/ 2955377 h 2955377"/>
              <a:gd name="connsiteX5-1541" fmla="*/ 13871 w 10575943"/>
              <a:gd name="connsiteY5-1542" fmla="*/ 2171274 h 2955377"/>
              <a:gd name="connsiteX6-1543" fmla="*/ 0 w 10575943"/>
              <a:gd name="connsiteY6-1544" fmla="*/ 0 h 2955377"/>
              <a:gd name="connsiteX0-1545" fmla="*/ 267371 w 10562072"/>
              <a:gd name="connsiteY0-1546" fmla="*/ 0 h 2685985"/>
              <a:gd name="connsiteX1-1547" fmla="*/ 10561656 w 10562072"/>
              <a:gd name="connsiteY1-1548" fmla="*/ 1798289 h 2685985"/>
              <a:gd name="connsiteX2-1549" fmla="*/ 10561157 w 10562072"/>
              <a:gd name="connsiteY2-1550" fmla="*/ 1889181 h 2685985"/>
              <a:gd name="connsiteX3-1551" fmla="*/ 2317558 w 10562072"/>
              <a:gd name="connsiteY3-1552" fmla="*/ 1887329 h 2685985"/>
              <a:gd name="connsiteX4-1553" fmla="*/ 1180889 w 10562072"/>
              <a:gd name="connsiteY4-1554" fmla="*/ 2685985 h 2685985"/>
              <a:gd name="connsiteX5-1555" fmla="*/ 0 w 10562072"/>
              <a:gd name="connsiteY5-1556" fmla="*/ 1901882 h 2685985"/>
              <a:gd name="connsiteX6-1557" fmla="*/ 267371 w 10562072"/>
              <a:gd name="connsiteY6-1558" fmla="*/ 0 h 2685985"/>
              <a:gd name="connsiteX0-1559" fmla="*/ 1331 w 10562072"/>
              <a:gd name="connsiteY0-1560" fmla="*/ 0 h 2955377"/>
              <a:gd name="connsiteX1-1561" fmla="*/ 10561656 w 10562072"/>
              <a:gd name="connsiteY1-1562" fmla="*/ 2067681 h 2955377"/>
              <a:gd name="connsiteX2-1563" fmla="*/ 10561157 w 10562072"/>
              <a:gd name="connsiteY2-1564" fmla="*/ 2158573 h 2955377"/>
              <a:gd name="connsiteX3-1565" fmla="*/ 2317558 w 10562072"/>
              <a:gd name="connsiteY3-1566" fmla="*/ 2156721 h 2955377"/>
              <a:gd name="connsiteX4-1567" fmla="*/ 1180889 w 10562072"/>
              <a:gd name="connsiteY4-1568" fmla="*/ 2955377 h 2955377"/>
              <a:gd name="connsiteX5-1569" fmla="*/ 0 w 10562072"/>
              <a:gd name="connsiteY5-1570" fmla="*/ 2171274 h 2955377"/>
              <a:gd name="connsiteX6-1571" fmla="*/ 1331 w 10562072"/>
              <a:gd name="connsiteY6-1572" fmla="*/ 0 h 2955377"/>
              <a:gd name="connsiteX0-1573" fmla="*/ 1331 w 10562072"/>
              <a:gd name="connsiteY0-1574" fmla="*/ 2791 h 2958168"/>
              <a:gd name="connsiteX1-1575" fmla="*/ 10561655 w 10562072"/>
              <a:gd name="connsiteY1-1576" fmla="*/ 0 h 2958168"/>
              <a:gd name="connsiteX2-1577" fmla="*/ 10561157 w 10562072"/>
              <a:gd name="connsiteY2-1578" fmla="*/ 2161364 h 2958168"/>
              <a:gd name="connsiteX3-1579" fmla="*/ 2317558 w 10562072"/>
              <a:gd name="connsiteY3-1580" fmla="*/ 2159512 h 2958168"/>
              <a:gd name="connsiteX4-1581" fmla="*/ 1180889 w 10562072"/>
              <a:gd name="connsiteY4-1582" fmla="*/ 2958168 h 2958168"/>
              <a:gd name="connsiteX5-1583" fmla="*/ 0 w 10562072"/>
              <a:gd name="connsiteY5-1584" fmla="*/ 2174065 h 2958168"/>
              <a:gd name="connsiteX6-1585" fmla="*/ 1331 w 10562072"/>
              <a:gd name="connsiteY6-1586" fmla="*/ 2791 h 2958168"/>
              <a:gd name="connsiteX0-1587" fmla="*/ 1331 w 10562072"/>
              <a:gd name="connsiteY0-1588" fmla="*/ 2791 h 2958168"/>
              <a:gd name="connsiteX1-1589" fmla="*/ 10561655 w 10562072"/>
              <a:gd name="connsiteY1-1590" fmla="*/ 0 h 2958168"/>
              <a:gd name="connsiteX2-1591" fmla="*/ 10561157 w 10562072"/>
              <a:gd name="connsiteY2-1592" fmla="*/ 2161364 h 2958168"/>
              <a:gd name="connsiteX3-1593" fmla="*/ 9288594 w 10562072"/>
              <a:gd name="connsiteY3-1594" fmla="*/ 2153103 h 2958168"/>
              <a:gd name="connsiteX4-1595" fmla="*/ 2317558 w 10562072"/>
              <a:gd name="connsiteY4-1596" fmla="*/ 2159512 h 2958168"/>
              <a:gd name="connsiteX5-1597" fmla="*/ 1180889 w 10562072"/>
              <a:gd name="connsiteY5-1598" fmla="*/ 2958168 h 2958168"/>
              <a:gd name="connsiteX6-1599" fmla="*/ 0 w 10562072"/>
              <a:gd name="connsiteY6-1600" fmla="*/ 2174065 h 2958168"/>
              <a:gd name="connsiteX7-1601" fmla="*/ 1331 w 10562072"/>
              <a:gd name="connsiteY7-1602" fmla="*/ 2791 h 2958168"/>
              <a:gd name="connsiteX0-1603" fmla="*/ 1331 w 10561657"/>
              <a:gd name="connsiteY0-1604" fmla="*/ 2791 h 2958168"/>
              <a:gd name="connsiteX1-1605" fmla="*/ 10561655 w 10561657"/>
              <a:gd name="connsiteY1-1606" fmla="*/ 0 h 2958168"/>
              <a:gd name="connsiteX2-1607" fmla="*/ 10469943 w 10561657"/>
              <a:gd name="connsiteY2-1608" fmla="*/ 668161 h 2958168"/>
              <a:gd name="connsiteX3-1609" fmla="*/ 9288594 w 10561657"/>
              <a:gd name="connsiteY3-1610" fmla="*/ 2153103 h 2958168"/>
              <a:gd name="connsiteX4-1611" fmla="*/ 2317558 w 10561657"/>
              <a:gd name="connsiteY4-1612" fmla="*/ 2159512 h 2958168"/>
              <a:gd name="connsiteX5-1613" fmla="*/ 1180889 w 10561657"/>
              <a:gd name="connsiteY5-1614" fmla="*/ 2958168 h 2958168"/>
              <a:gd name="connsiteX6-1615" fmla="*/ 0 w 10561657"/>
              <a:gd name="connsiteY6-1616" fmla="*/ 2174065 h 2958168"/>
              <a:gd name="connsiteX7-1617" fmla="*/ 1331 w 10561657"/>
              <a:gd name="connsiteY7-1618" fmla="*/ 2791 h 2958168"/>
              <a:gd name="connsiteX0-1619" fmla="*/ 1331 w 10562072"/>
              <a:gd name="connsiteY0-1620" fmla="*/ 2791 h 2958168"/>
              <a:gd name="connsiteX1-1621" fmla="*/ 10561655 w 10562072"/>
              <a:gd name="connsiteY1-1622" fmla="*/ 0 h 2958168"/>
              <a:gd name="connsiteX2-1623" fmla="*/ 10561157 w 10562072"/>
              <a:gd name="connsiteY2-1624" fmla="*/ 1468641 h 2958168"/>
              <a:gd name="connsiteX3-1625" fmla="*/ 9288594 w 10562072"/>
              <a:gd name="connsiteY3-1626" fmla="*/ 2153103 h 2958168"/>
              <a:gd name="connsiteX4-1627" fmla="*/ 2317558 w 10562072"/>
              <a:gd name="connsiteY4-1628" fmla="*/ 2159512 h 2958168"/>
              <a:gd name="connsiteX5-1629" fmla="*/ 1180889 w 10562072"/>
              <a:gd name="connsiteY5-1630" fmla="*/ 2958168 h 2958168"/>
              <a:gd name="connsiteX6-1631" fmla="*/ 0 w 10562072"/>
              <a:gd name="connsiteY6-1632" fmla="*/ 2174065 h 2958168"/>
              <a:gd name="connsiteX7-1633" fmla="*/ 1331 w 10562072"/>
              <a:gd name="connsiteY7-1634" fmla="*/ 2791 h 2958168"/>
              <a:gd name="connsiteX0-1635" fmla="*/ 1331 w 10561655"/>
              <a:gd name="connsiteY0-1636" fmla="*/ 2791 h 2958168"/>
              <a:gd name="connsiteX1-1637" fmla="*/ 10561655 w 10561655"/>
              <a:gd name="connsiteY1-1638" fmla="*/ 0 h 2958168"/>
              <a:gd name="connsiteX2-1639" fmla="*/ 10196302 w 10561655"/>
              <a:gd name="connsiteY2-1640" fmla="*/ 1183855 h 2958168"/>
              <a:gd name="connsiteX3-1641" fmla="*/ 9288594 w 10561655"/>
              <a:gd name="connsiteY3-1642" fmla="*/ 2153103 h 2958168"/>
              <a:gd name="connsiteX4-1643" fmla="*/ 2317558 w 10561655"/>
              <a:gd name="connsiteY4-1644" fmla="*/ 2159512 h 2958168"/>
              <a:gd name="connsiteX5-1645" fmla="*/ 1180889 w 10561655"/>
              <a:gd name="connsiteY5-1646" fmla="*/ 2958168 h 2958168"/>
              <a:gd name="connsiteX6-1647" fmla="*/ 0 w 10561655"/>
              <a:gd name="connsiteY6-1648" fmla="*/ 2174065 h 2958168"/>
              <a:gd name="connsiteX7-1649" fmla="*/ 1331 w 10561655"/>
              <a:gd name="connsiteY7-1650" fmla="*/ 2791 h 2958168"/>
              <a:gd name="connsiteX0-1651" fmla="*/ 1331 w 10562072"/>
              <a:gd name="connsiteY0-1652" fmla="*/ 2791 h 2958168"/>
              <a:gd name="connsiteX1-1653" fmla="*/ 10561655 w 10562072"/>
              <a:gd name="connsiteY1-1654" fmla="*/ 0 h 2958168"/>
              <a:gd name="connsiteX2-1655" fmla="*/ 10561157 w 10562072"/>
              <a:gd name="connsiteY2-1656" fmla="*/ 1476338 h 2958168"/>
              <a:gd name="connsiteX3-1657" fmla="*/ 9288594 w 10562072"/>
              <a:gd name="connsiteY3-1658" fmla="*/ 2153103 h 2958168"/>
              <a:gd name="connsiteX4-1659" fmla="*/ 2317558 w 10562072"/>
              <a:gd name="connsiteY4-1660" fmla="*/ 2159512 h 2958168"/>
              <a:gd name="connsiteX5-1661" fmla="*/ 1180889 w 10562072"/>
              <a:gd name="connsiteY5-1662" fmla="*/ 2958168 h 2958168"/>
              <a:gd name="connsiteX6-1663" fmla="*/ 0 w 10562072"/>
              <a:gd name="connsiteY6-1664" fmla="*/ 2174065 h 2958168"/>
              <a:gd name="connsiteX7-1665" fmla="*/ 1331 w 10562072"/>
              <a:gd name="connsiteY7-1666" fmla="*/ 2791 h 2958168"/>
              <a:gd name="connsiteX0-1667" fmla="*/ 1331 w 10562072"/>
              <a:gd name="connsiteY0-1668" fmla="*/ 2791 h 2958168"/>
              <a:gd name="connsiteX1-1669" fmla="*/ 10561655 w 10562072"/>
              <a:gd name="connsiteY1-1670" fmla="*/ 0 h 2958168"/>
              <a:gd name="connsiteX2-1671" fmla="*/ 10561157 w 10562072"/>
              <a:gd name="connsiteY2-1672" fmla="*/ 1476338 h 2958168"/>
              <a:gd name="connsiteX3-1673" fmla="*/ 9288594 w 10562072"/>
              <a:gd name="connsiteY3-1674" fmla="*/ 2153103 h 2958168"/>
              <a:gd name="connsiteX4-1675" fmla="*/ 2317558 w 10562072"/>
              <a:gd name="connsiteY4-1676" fmla="*/ 2159512 h 2958168"/>
              <a:gd name="connsiteX5-1677" fmla="*/ 1180889 w 10562072"/>
              <a:gd name="connsiteY5-1678" fmla="*/ 2958168 h 2958168"/>
              <a:gd name="connsiteX6-1679" fmla="*/ 0 w 10562072"/>
              <a:gd name="connsiteY6-1680" fmla="*/ 2174065 h 2958168"/>
              <a:gd name="connsiteX7-1681" fmla="*/ 1331 w 10562072"/>
              <a:gd name="connsiteY7-1682" fmla="*/ 2791 h 2958168"/>
              <a:gd name="connsiteX0-1683" fmla="*/ 1331 w 10562072"/>
              <a:gd name="connsiteY0-1684" fmla="*/ 2791 h 2958168"/>
              <a:gd name="connsiteX1-1685" fmla="*/ 10561655 w 10562072"/>
              <a:gd name="connsiteY1-1686" fmla="*/ 0 h 2958168"/>
              <a:gd name="connsiteX2-1687" fmla="*/ 10561157 w 10562072"/>
              <a:gd name="connsiteY2-1688" fmla="*/ 1476338 h 2958168"/>
              <a:gd name="connsiteX3-1689" fmla="*/ 9288594 w 10562072"/>
              <a:gd name="connsiteY3-1690" fmla="*/ 2153103 h 2958168"/>
              <a:gd name="connsiteX4-1691" fmla="*/ 2317558 w 10562072"/>
              <a:gd name="connsiteY4-1692" fmla="*/ 2159512 h 2958168"/>
              <a:gd name="connsiteX5-1693" fmla="*/ 1180889 w 10562072"/>
              <a:gd name="connsiteY5-1694" fmla="*/ 2958168 h 2958168"/>
              <a:gd name="connsiteX6-1695" fmla="*/ 0 w 10562072"/>
              <a:gd name="connsiteY6-1696" fmla="*/ 2174065 h 2958168"/>
              <a:gd name="connsiteX7-1697" fmla="*/ 1331 w 10562072"/>
              <a:gd name="connsiteY7-1698" fmla="*/ 2791 h 2958168"/>
              <a:gd name="connsiteX0-1699" fmla="*/ 150253 w 10562411"/>
              <a:gd name="connsiteY0-1700" fmla="*/ 226828 h 2958168"/>
              <a:gd name="connsiteX1-1701" fmla="*/ 10561655 w 10562411"/>
              <a:gd name="connsiteY1-1702" fmla="*/ 0 h 2958168"/>
              <a:gd name="connsiteX2-1703" fmla="*/ 10561157 w 10562411"/>
              <a:gd name="connsiteY2-1704" fmla="*/ 1476338 h 2958168"/>
              <a:gd name="connsiteX3-1705" fmla="*/ 9288594 w 10562411"/>
              <a:gd name="connsiteY3-1706" fmla="*/ 2153103 h 2958168"/>
              <a:gd name="connsiteX4-1707" fmla="*/ 2317558 w 10562411"/>
              <a:gd name="connsiteY4-1708" fmla="*/ 2159512 h 2958168"/>
              <a:gd name="connsiteX5-1709" fmla="*/ 1180889 w 10562411"/>
              <a:gd name="connsiteY5-1710" fmla="*/ 2958168 h 2958168"/>
              <a:gd name="connsiteX6-1711" fmla="*/ 0 w 10562411"/>
              <a:gd name="connsiteY6-1712" fmla="*/ 2174065 h 2958168"/>
              <a:gd name="connsiteX7-1713" fmla="*/ 150253 w 10562411"/>
              <a:gd name="connsiteY7-1714" fmla="*/ 226828 h 2958168"/>
              <a:gd name="connsiteX0-1715" fmla="*/ 2189 w 10562411"/>
              <a:gd name="connsiteY0-1716" fmla="*/ 0 h 2958168"/>
              <a:gd name="connsiteX1-1717" fmla="*/ 10561655 w 10562411"/>
              <a:gd name="connsiteY1-1718" fmla="*/ 0 h 2958168"/>
              <a:gd name="connsiteX2-1719" fmla="*/ 10561157 w 10562411"/>
              <a:gd name="connsiteY2-1720" fmla="*/ 1476338 h 2958168"/>
              <a:gd name="connsiteX3-1721" fmla="*/ 9288594 w 10562411"/>
              <a:gd name="connsiteY3-1722" fmla="*/ 2153103 h 2958168"/>
              <a:gd name="connsiteX4-1723" fmla="*/ 2317558 w 10562411"/>
              <a:gd name="connsiteY4-1724" fmla="*/ 2159512 h 2958168"/>
              <a:gd name="connsiteX5-1725" fmla="*/ 1180889 w 10562411"/>
              <a:gd name="connsiteY5-1726" fmla="*/ 2958168 h 2958168"/>
              <a:gd name="connsiteX6-1727" fmla="*/ 0 w 10562411"/>
              <a:gd name="connsiteY6-1728" fmla="*/ 2174065 h 2958168"/>
              <a:gd name="connsiteX7-1729" fmla="*/ 2189 w 10562411"/>
              <a:gd name="connsiteY7-1730" fmla="*/ 0 h 2958168"/>
              <a:gd name="connsiteX0-1731" fmla="*/ 2189 w 10562411"/>
              <a:gd name="connsiteY0-1732" fmla="*/ 0 h 2958168"/>
              <a:gd name="connsiteX1-1733" fmla="*/ 10297658 w 10562411"/>
              <a:gd name="connsiteY1-1734" fmla="*/ 497083 h 2958168"/>
              <a:gd name="connsiteX2-1735" fmla="*/ 10561157 w 10562411"/>
              <a:gd name="connsiteY2-1736" fmla="*/ 1476338 h 2958168"/>
              <a:gd name="connsiteX3-1737" fmla="*/ 9288594 w 10562411"/>
              <a:gd name="connsiteY3-1738" fmla="*/ 2153103 h 2958168"/>
              <a:gd name="connsiteX4-1739" fmla="*/ 2317558 w 10562411"/>
              <a:gd name="connsiteY4-1740" fmla="*/ 2159512 h 2958168"/>
              <a:gd name="connsiteX5-1741" fmla="*/ 1180889 w 10562411"/>
              <a:gd name="connsiteY5-1742" fmla="*/ 2958168 h 2958168"/>
              <a:gd name="connsiteX6-1743" fmla="*/ 0 w 10562411"/>
              <a:gd name="connsiteY6-1744" fmla="*/ 2174065 h 2958168"/>
              <a:gd name="connsiteX7-1745" fmla="*/ 2189 w 10562411"/>
              <a:gd name="connsiteY7-1746" fmla="*/ 0 h 2958168"/>
              <a:gd name="connsiteX0-1747" fmla="*/ 2189 w 10562585"/>
              <a:gd name="connsiteY0-1748" fmla="*/ 0 h 2958168"/>
              <a:gd name="connsiteX1-1749" fmla="*/ 10562072 w 10562585"/>
              <a:gd name="connsiteY1-1750" fmla="*/ 0 h 2958168"/>
              <a:gd name="connsiteX2-1751" fmla="*/ 10561157 w 10562585"/>
              <a:gd name="connsiteY2-1752" fmla="*/ 1476338 h 2958168"/>
              <a:gd name="connsiteX3-1753" fmla="*/ 9288594 w 10562585"/>
              <a:gd name="connsiteY3-1754" fmla="*/ 2153103 h 2958168"/>
              <a:gd name="connsiteX4-1755" fmla="*/ 2317558 w 10562585"/>
              <a:gd name="connsiteY4-1756" fmla="*/ 2159512 h 2958168"/>
              <a:gd name="connsiteX5-1757" fmla="*/ 1180889 w 10562585"/>
              <a:gd name="connsiteY5-1758" fmla="*/ 2958168 h 2958168"/>
              <a:gd name="connsiteX6-1759" fmla="*/ 0 w 10562585"/>
              <a:gd name="connsiteY6-1760" fmla="*/ 2174065 h 2958168"/>
              <a:gd name="connsiteX7-1761" fmla="*/ 2189 w 10562585"/>
              <a:gd name="connsiteY7-1762" fmla="*/ 0 h 2958168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21" y="connsiteY5-22"/>
              </a:cxn>
              <a:cxn ang="0">
                <a:pos x="connsiteX6-35" y="connsiteY6-36"/>
              </a:cxn>
              <a:cxn ang="0">
                <a:pos x="connsiteX7-135" y="connsiteY7-136"/>
              </a:cxn>
            </a:cxnLst>
            <a:rect l="l" t="t" r="r" b="b"/>
            <a:pathLst>
              <a:path w="10562585" h="2958168">
                <a:moveTo>
                  <a:pt x="2189" y="0"/>
                </a:moveTo>
                <a:lnTo>
                  <a:pt x="10562072" y="0"/>
                </a:lnTo>
                <a:cubicBezTo>
                  <a:pt x="10562585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31238" tIns="40608" rIns="31238" bIns="40608" rtlCol="0" anchor="ctr"/>
          <a:lstStyle/>
          <a:p>
            <a:pPr algn="ctr" defTabSz="904875"/>
            <a:endParaRPr lang="en-US" sz="945" dirty="0">
              <a:solidFill>
                <a:prstClr val="white"/>
              </a:solidFill>
              <a:latin typeface="Arial" panose="020B0604020202090204"/>
              <a:ea typeface="MS PGothic" pitchFamily="34" charset="-128"/>
              <a:cs typeface="Arial" panose="020B0604020202090204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" y="0"/>
          <a:ext cx="184648" cy="1500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84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图片 246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84648" cy="15000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6126622" y="2706187"/>
            <a:ext cx="4981472" cy="1123230"/>
          </a:xfrm>
          <a:effectLst>
            <a:outerShdw blurRad="38100" dist="25400" dir="2700000" algn="tl" rotWithShape="0">
              <a:prstClr val="black">
                <a:alpha val="80000"/>
              </a:prstClr>
            </a:outerShdw>
          </a:effectLst>
        </p:spPr>
        <p:txBody>
          <a:bodyPr lIns="0" tIns="33059" rIns="33059" bIns="33059"/>
          <a:lstStyle>
            <a:lvl1pPr algn="r">
              <a:defRPr sz="3120" b="0">
                <a:solidFill>
                  <a:schemeClr val="bg1"/>
                </a:solidFill>
                <a:effectLst/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6126622" y="4239381"/>
            <a:ext cx="4981472" cy="666018"/>
          </a:xfrm>
          <a:prstGeom prst="rect">
            <a:avLst/>
          </a:prstGeom>
          <a:effectLst>
            <a:outerShdw blurRad="38100" dist="25400" dir="2700000" algn="tl" rotWithShape="0">
              <a:prstClr val="black">
                <a:alpha val="80000"/>
              </a:prstClr>
            </a:outerShdw>
          </a:effectLst>
        </p:spPr>
        <p:txBody>
          <a:bodyPr lIns="0" tIns="33059" rIns="33059" bIns="33059"/>
          <a:lstStyle>
            <a:lvl1pPr marL="0" indent="0" algn="r">
              <a:buNone/>
              <a:defRPr sz="2080" b="0">
                <a:solidFill>
                  <a:schemeClr val="bg1"/>
                </a:solidFill>
                <a:effectLst/>
              </a:defRPr>
            </a:lvl1pPr>
            <a:lvl2pPr marL="431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642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960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278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596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920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0238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4556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7671269" y="5375020"/>
            <a:ext cx="3460287" cy="269021"/>
            <a:chOff x="6595304" y="6059922"/>
            <a:chExt cx="2974950" cy="284706"/>
          </a:xfrm>
          <a:effectLst>
            <a:outerShdw blurRad="12700" dist="12700" dir="2700000" algn="tl" rotWithShape="0">
              <a:prstClr val="black">
                <a:alpha val="70000"/>
              </a:prstClr>
            </a:outerShdw>
          </a:effectLst>
        </p:grpSpPr>
        <p:sp>
          <p:nvSpPr>
            <p:cNvPr id="23" name="Freeform 28"/>
            <p:cNvSpPr>
              <a:spLocks noEditPoints="1"/>
            </p:cNvSpPr>
            <p:nvPr/>
          </p:nvSpPr>
          <p:spPr bwMode="auto">
            <a:xfrm>
              <a:off x="8955802" y="6101627"/>
              <a:ext cx="285818" cy="219090"/>
            </a:xfrm>
            <a:custGeom>
              <a:avLst/>
              <a:gdLst>
                <a:gd name="T0" fmla="*/ 177 w 218"/>
                <a:gd name="T1" fmla="*/ 167 h 167"/>
                <a:gd name="T2" fmla="*/ 163 w 218"/>
                <a:gd name="T3" fmla="*/ 126 h 167"/>
                <a:gd name="T4" fmla="*/ 193 w 218"/>
                <a:gd name="T5" fmla="*/ 113 h 167"/>
                <a:gd name="T6" fmla="*/ 185 w 218"/>
                <a:gd name="T7" fmla="*/ 105 h 167"/>
                <a:gd name="T8" fmla="*/ 116 w 218"/>
                <a:gd name="T9" fmla="*/ 112 h 167"/>
                <a:gd name="T10" fmla="*/ 121 w 218"/>
                <a:gd name="T11" fmla="*/ 113 h 167"/>
                <a:gd name="T12" fmla="*/ 134 w 218"/>
                <a:gd name="T13" fmla="*/ 154 h 167"/>
                <a:gd name="T14" fmla="*/ 93 w 218"/>
                <a:gd name="T15" fmla="*/ 167 h 167"/>
                <a:gd name="T16" fmla="*/ 80 w 218"/>
                <a:gd name="T17" fmla="*/ 126 h 167"/>
                <a:gd name="T18" fmla="*/ 106 w 218"/>
                <a:gd name="T19" fmla="*/ 113 h 167"/>
                <a:gd name="T20" fmla="*/ 99 w 218"/>
                <a:gd name="T21" fmla="*/ 105 h 167"/>
                <a:gd name="T22" fmla="*/ 29 w 218"/>
                <a:gd name="T23" fmla="*/ 112 h 167"/>
                <a:gd name="T24" fmla="*/ 41 w 218"/>
                <a:gd name="T25" fmla="*/ 113 h 167"/>
                <a:gd name="T26" fmla="*/ 55 w 218"/>
                <a:gd name="T27" fmla="*/ 154 h 167"/>
                <a:gd name="T28" fmla="*/ 14 w 218"/>
                <a:gd name="T29" fmla="*/ 167 h 167"/>
                <a:gd name="T30" fmla="*/ 0 w 218"/>
                <a:gd name="T31" fmla="*/ 126 h 167"/>
                <a:gd name="T32" fmla="*/ 22 w 218"/>
                <a:gd name="T33" fmla="*/ 113 h 167"/>
                <a:gd name="T34" fmla="*/ 36 w 218"/>
                <a:gd name="T35" fmla="*/ 98 h 167"/>
                <a:gd name="T36" fmla="*/ 106 w 218"/>
                <a:gd name="T37" fmla="*/ 100 h 167"/>
                <a:gd name="T38" fmla="*/ 79 w 218"/>
                <a:gd name="T39" fmla="*/ 89 h 167"/>
                <a:gd name="T40" fmla="*/ 76 w 218"/>
                <a:gd name="T41" fmla="*/ 89 h 167"/>
                <a:gd name="T42" fmla="*/ 73 w 218"/>
                <a:gd name="T43" fmla="*/ 85 h 167"/>
                <a:gd name="T44" fmla="*/ 76 w 218"/>
                <a:gd name="T45" fmla="*/ 36 h 167"/>
                <a:gd name="T46" fmla="*/ 84 w 218"/>
                <a:gd name="T47" fmla="*/ 24 h 167"/>
                <a:gd name="T48" fmla="*/ 133 w 218"/>
                <a:gd name="T49" fmla="*/ 24 h 167"/>
                <a:gd name="T50" fmla="*/ 141 w 218"/>
                <a:gd name="T51" fmla="*/ 36 h 167"/>
                <a:gd name="T52" fmla="*/ 145 w 218"/>
                <a:gd name="T53" fmla="*/ 86 h 167"/>
                <a:gd name="T54" fmla="*/ 112 w 218"/>
                <a:gd name="T55" fmla="*/ 89 h 167"/>
                <a:gd name="T56" fmla="*/ 110 w 218"/>
                <a:gd name="T57" fmla="*/ 105 h 167"/>
                <a:gd name="T58" fmla="*/ 123 w 218"/>
                <a:gd name="T59" fmla="*/ 98 h 167"/>
                <a:gd name="T60" fmla="*/ 199 w 218"/>
                <a:gd name="T61" fmla="*/ 112 h 167"/>
                <a:gd name="T62" fmla="*/ 204 w 218"/>
                <a:gd name="T63" fmla="*/ 113 h 167"/>
                <a:gd name="T64" fmla="*/ 218 w 218"/>
                <a:gd name="T65" fmla="*/ 154 h 167"/>
                <a:gd name="T66" fmla="*/ 177 w 218"/>
                <a:gd name="T67" fmla="*/ 119 h 167"/>
                <a:gd name="T68" fmla="*/ 170 w 218"/>
                <a:gd name="T69" fmla="*/ 154 h 167"/>
                <a:gd name="T70" fmla="*/ 204 w 218"/>
                <a:gd name="T71" fmla="*/ 161 h 167"/>
                <a:gd name="T72" fmla="*/ 211 w 218"/>
                <a:gd name="T73" fmla="*/ 126 h 167"/>
                <a:gd name="T74" fmla="*/ 177 w 218"/>
                <a:gd name="T75" fmla="*/ 119 h 167"/>
                <a:gd name="T76" fmla="*/ 86 w 218"/>
                <a:gd name="T77" fmla="*/ 126 h 167"/>
                <a:gd name="T78" fmla="*/ 93 w 218"/>
                <a:gd name="T79" fmla="*/ 161 h 167"/>
                <a:gd name="T80" fmla="*/ 128 w 218"/>
                <a:gd name="T81" fmla="*/ 154 h 167"/>
                <a:gd name="T82" fmla="*/ 121 w 218"/>
                <a:gd name="T83" fmla="*/ 119 h 167"/>
                <a:gd name="T84" fmla="*/ 14 w 218"/>
                <a:gd name="T85" fmla="*/ 119 h 167"/>
                <a:gd name="T86" fmla="*/ 7 w 218"/>
                <a:gd name="T87" fmla="*/ 154 h 167"/>
                <a:gd name="T88" fmla="*/ 41 w 218"/>
                <a:gd name="T89" fmla="*/ 161 h 167"/>
                <a:gd name="T90" fmla="*/ 48 w 218"/>
                <a:gd name="T91" fmla="*/ 126 h 167"/>
                <a:gd name="T92" fmla="*/ 14 w 218"/>
                <a:gd name="T93" fmla="*/ 119 h 167"/>
                <a:gd name="T94" fmla="*/ 79 w 218"/>
                <a:gd name="T95" fmla="*/ 82 h 167"/>
                <a:gd name="T96" fmla="*/ 138 w 218"/>
                <a:gd name="T97" fmla="*/ 82 h 167"/>
                <a:gd name="T98" fmla="*/ 79 w 218"/>
                <a:gd name="T99" fmla="*/ 43 h 167"/>
                <a:gd name="T100" fmla="*/ 127 w 218"/>
                <a:gd name="T101" fmla="*/ 36 h 167"/>
                <a:gd name="T102" fmla="*/ 109 w 218"/>
                <a:gd name="T103" fmla="*/ 6 h 167"/>
                <a:gd name="T104" fmla="*/ 91 w 218"/>
                <a:gd name="T105" fmla="*/ 36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18" h="167">
                  <a:moveTo>
                    <a:pt x="204" y="167"/>
                  </a:moveTo>
                  <a:cubicBezTo>
                    <a:pt x="177" y="167"/>
                    <a:pt x="177" y="167"/>
                    <a:pt x="177" y="167"/>
                  </a:cubicBezTo>
                  <a:cubicBezTo>
                    <a:pt x="170" y="167"/>
                    <a:pt x="163" y="161"/>
                    <a:pt x="163" y="154"/>
                  </a:cubicBezTo>
                  <a:cubicBezTo>
                    <a:pt x="163" y="126"/>
                    <a:pt x="163" y="126"/>
                    <a:pt x="163" y="126"/>
                  </a:cubicBezTo>
                  <a:cubicBezTo>
                    <a:pt x="163" y="119"/>
                    <a:pt x="170" y="113"/>
                    <a:pt x="177" y="113"/>
                  </a:cubicBezTo>
                  <a:cubicBezTo>
                    <a:pt x="193" y="113"/>
                    <a:pt x="193" y="113"/>
                    <a:pt x="193" y="113"/>
                  </a:cubicBezTo>
                  <a:cubicBezTo>
                    <a:pt x="193" y="113"/>
                    <a:pt x="193" y="112"/>
                    <a:pt x="193" y="112"/>
                  </a:cubicBezTo>
                  <a:cubicBezTo>
                    <a:pt x="193" y="108"/>
                    <a:pt x="189" y="105"/>
                    <a:pt x="185" y="105"/>
                  </a:cubicBezTo>
                  <a:cubicBezTo>
                    <a:pt x="123" y="105"/>
                    <a:pt x="123" y="105"/>
                    <a:pt x="123" y="105"/>
                  </a:cubicBezTo>
                  <a:cubicBezTo>
                    <a:pt x="119" y="105"/>
                    <a:pt x="116" y="108"/>
                    <a:pt x="116" y="112"/>
                  </a:cubicBezTo>
                  <a:cubicBezTo>
                    <a:pt x="116" y="112"/>
                    <a:pt x="116" y="113"/>
                    <a:pt x="116" y="113"/>
                  </a:cubicBezTo>
                  <a:cubicBezTo>
                    <a:pt x="121" y="113"/>
                    <a:pt x="121" y="113"/>
                    <a:pt x="121" y="113"/>
                  </a:cubicBezTo>
                  <a:cubicBezTo>
                    <a:pt x="128" y="113"/>
                    <a:pt x="134" y="119"/>
                    <a:pt x="134" y="126"/>
                  </a:cubicBezTo>
                  <a:cubicBezTo>
                    <a:pt x="134" y="154"/>
                    <a:pt x="134" y="154"/>
                    <a:pt x="134" y="154"/>
                  </a:cubicBezTo>
                  <a:cubicBezTo>
                    <a:pt x="134" y="161"/>
                    <a:pt x="128" y="167"/>
                    <a:pt x="121" y="167"/>
                  </a:cubicBezTo>
                  <a:cubicBezTo>
                    <a:pt x="93" y="167"/>
                    <a:pt x="93" y="167"/>
                    <a:pt x="93" y="167"/>
                  </a:cubicBezTo>
                  <a:cubicBezTo>
                    <a:pt x="86" y="167"/>
                    <a:pt x="80" y="161"/>
                    <a:pt x="80" y="154"/>
                  </a:cubicBezTo>
                  <a:cubicBezTo>
                    <a:pt x="80" y="126"/>
                    <a:pt x="80" y="126"/>
                    <a:pt x="80" y="126"/>
                  </a:cubicBezTo>
                  <a:cubicBezTo>
                    <a:pt x="80" y="119"/>
                    <a:pt x="86" y="113"/>
                    <a:pt x="93" y="113"/>
                  </a:cubicBezTo>
                  <a:cubicBezTo>
                    <a:pt x="106" y="113"/>
                    <a:pt x="106" y="113"/>
                    <a:pt x="106" y="113"/>
                  </a:cubicBezTo>
                  <a:cubicBezTo>
                    <a:pt x="106" y="113"/>
                    <a:pt x="106" y="112"/>
                    <a:pt x="106" y="112"/>
                  </a:cubicBezTo>
                  <a:cubicBezTo>
                    <a:pt x="106" y="108"/>
                    <a:pt x="103" y="105"/>
                    <a:pt x="99" y="105"/>
                  </a:cubicBezTo>
                  <a:cubicBezTo>
                    <a:pt x="36" y="105"/>
                    <a:pt x="36" y="105"/>
                    <a:pt x="36" y="105"/>
                  </a:cubicBezTo>
                  <a:cubicBezTo>
                    <a:pt x="32" y="105"/>
                    <a:pt x="29" y="108"/>
                    <a:pt x="29" y="112"/>
                  </a:cubicBezTo>
                  <a:cubicBezTo>
                    <a:pt x="29" y="112"/>
                    <a:pt x="29" y="113"/>
                    <a:pt x="29" y="113"/>
                  </a:cubicBezTo>
                  <a:cubicBezTo>
                    <a:pt x="41" y="113"/>
                    <a:pt x="41" y="113"/>
                    <a:pt x="41" y="113"/>
                  </a:cubicBezTo>
                  <a:cubicBezTo>
                    <a:pt x="49" y="113"/>
                    <a:pt x="55" y="119"/>
                    <a:pt x="55" y="126"/>
                  </a:cubicBezTo>
                  <a:cubicBezTo>
                    <a:pt x="55" y="154"/>
                    <a:pt x="55" y="154"/>
                    <a:pt x="55" y="154"/>
                  </a:cubicBezTo>
                  <a:cubicBezTo>
                    <a:pt x="55" y="161"/>
                    <a:pt x="49" y="167"/>
                    <a:pt x="41" y="167"/>
                  </a:cubicBezTo>
                  <a:cubicBezTo>
                    <a:pt x="14" y="167"/>
                    <a:pt x="14" y="167"/>
                    <a:pt x="14" y="167"/>
                  </a:cubicBezTo>
                  <a:cubicBezTo>
                    <a:pt x="6" y="167"/>
                    <a:pt x="0" y="161"/>
                    <a:pt x="0" y="154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119"/>
                    <a:pt x="6" y="113"/>
                    <a:pt x="14" y="113"/>
                  </a:cubicBezTo>
                  <a:cubicBezTo>
                    <a:pt x="22" y="113"/>
                    <a:pt x="22" y="113"/>
                    <a:pt x="22" y="113"/>
                  </a:cubicBezTo>
                  <a:cubicBezTo>
                    <a:pt x="22" y="113"/>
                    <a:pt x="22" y="112"/>
                    <a:pt x="22" y="112"/>
                  </a:cubicBezTo>
                  <a:cubicBezTo>
                    <a:pt x="22" y="105"/>
                    <a:pt x="28" y="98"/>
                    <a:pt x="36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101" y="98"/>
                    <a:pt x="104" y="99"/>
                    <a:pt x="106" y="100"/>
                  </a:cubicBezTo>
                  <a:cubicBezTo>
                    <a:pt x="106" y="89"/>
                    <a:pt x="106" y="89"/>
                    <a:pt x="106" y="89"/>
                  </a:cubicBezTo>
                  <a:cubicBezTo>
                    <a:pt x="79" y="89"/>
                    <a:pt x="79" y="89"/>
                    <a:pt x="79" y="89"/>
                  </a:cubicBezTo>
                  <a:cubicBezTo>
                    <a:pt x="79" y="89"/>
                    <a:pt x="78" y="89"/>
                    <a:pt x="77" y="88"/>
                  </a:cubicBezTo>
                  <a:cubicBezTo>
                    <a:pt x="77" y="89"/>
                    <a:pt x="77" y="89"/>
                    <a:pt x="76" y="89"/>
                  </a:cubicBezTo>
                  <a:cubicBezTo>
                    <a:pt x="76" y="89"/>
                    <a:pt x="76" y="89"/>
                    <a:pt x="76" y="89"/>
                  </a:cubicBezTo>
                  <a:cubicBezTo>
                    <a:pt x="74" y="89"/>
                    <a:pt x="73" y="87"/>
                    <a:pt x="73" y="85"/>
                  </a:cubicBezTo>
                  <a:cubicBezTo>
                    <a:pt x="73" y="39"/>
                    <a:pt x="73" y="39"/>
                    <a:pt x="73" y="39"/>
                  </a:cubicBezTo>
                  <a:cubicBezTo>
                    <a:pt x="73" y="38"/>
                    <a:pt x="74" y="36"/>
                    <a:pt x="76" y="36"/>
                  </a:cubicBezTo>
                  <a:cubicBezTo>
                    <a:pt x="84" y="36"/>
                    <a:pt x="84" y="36"/>
                    <a:pt x="84" y="36"/>
                  </a:cubicBezTo>
                  <a:cubicBezTo>
                    <a:pt x="84" y="24"/>
                    <a:pt x="84" y="24"/>
                    <a:pt x="84" y="24"/>
                  </a:cubicBezTo>
                  <a:cubicBezTo>
                    <a:pt x="84" y="11"/>
                    <a:pt x="95" y="0"/>
                    <a:pt x="109" y="0"/>
                  </a:cubicBezTo>
                  <a:cubicBezTo>
                    <a:pt x="122" y="0"/>
                    <a:pt x="133" y="11"/>
                    <a:pt x="133" y="24"/>
                  </a:cubicBezTo>
                  <a:cubicBezTo>
                    <a:pt x="133" y="36"/>
                    <a:pt x="133" y="36"/>
                    <a:pt x="133" y="36"/>
                  </a:cubicBezTo>
                  <a:cubicBezTo>
                    <a:pt x="141" y="36"/>
                    <a:pt x="141" y="36"/>
                    <a:pt x="141" y="36"/>
                  </a:cubicBezTo>
                  <a:cubicBezTo>
                    <a:pt x="143" y="36"/>
                    <a:pt x="145" y="38"/>
                    <a:pt x="145" y="39"/>
                  </a:cubicBezTo>
                  <a:cubicBezTo>
                    <a:pt x="145" y="86"/>
                    <a:pt x="145" y="86"/>
                    <a:pt x="145" y="86"/>
                  </a:cubicBezTo>
                  <a:cubicBezTo>
                    <a:pt x="145" y="88"/>
                    <a:pt x="143" y="89"/>
                    <a:pt x="141" y="89"/>
                  </a:cubicBezTo>
                  <a:cubicBezTo>
                    <a:pt x="112" y="89"/>
                    <a:pt x="112" y="89"/>
                    <a:pt x="112" y="89"/>
                  </a:cubicBezTo>
                  <a:cubicBezTo>
                    <a:pt x="112" y="102"/>
                    <a:pt x="112" y="102"/>
                    <a:pt x="112" y="102"/>
                  </a:cubicBezTo>
                  <a:cubicBezTo>
                    <a:pt x="112" y="103"/>
                    <a:pt x="112" y="105"/>
                    <a:pt x="110" y="105"/>
                  </a:cubicBezTo>
                  <a:cubicBezTo>
                    <a:pt x="110" y="105"/>
                    <a:pt x="111" y="105"/>
                    <a:pt x="111" y="106"/>
                  </a:cubicBezTo>
                  <a:cubicBezTo>
                    <a:pt x="113" y="101"/>
                    <a:pt x="118" y="98"/>
                    <a:pt x="123" y="98"/>
                  </a:cubicBezTo>
                  <a:cubicBezTo>
                    <a:pt x="185" y="98"/>
                    <a:pt x="185" y="98"/>
                    <a:pt x="185" y="98"/>
                  </a:cubicBezTo>
                  <a:cubicBezTo>
                    <a:pt x="193" y="98"/>
                    <a:pt x="199" y="105"/>
                    <a:pt x="199" y="112"/>
                  </a:cubicBezTo>
                  <a:cubicBezTo>
                    <a:pt x="199" y="112"/>
                    <a:pt x="199" y="113"/>
                    <a:pt x="199" y="113"/>
                  </a:cubicBezTo>
                  <a:cubicBezTo>
                    <a:pt x="204" y="113"/>
                    <a:pt x="204" y="113"/>
                    <a:pt x="204" y="113"/>
                  </a:cubicBezTo>
                  <a:cubicBezTo>
                    <a:pt x="212" y="113"/>
                    <a:pt x="218" y="119"/>
                    <a:pt x="218" y="126"/>
                  </a:cubicBezTo>
                  <a:cubicBezTo>
                    <a:pt x="218" y="154"/>
                    <a:pt x="218" y="154"/>
                    <a:pt x="218" y="154"/>
                  </a:cubicBezTo>
                  <a:cubicBezTo>
                    <a:pt x="218" y="161"/>
                    <a:pt x="212" y="167"/>
                    <a:pt x="204" y="167"/>
                  </a:cubicBezTo>
                  <a:close/>
                  <a:moveTo>
                    <a:pt x="177" y="119"/>
                  </a:moveTo>
                  <a:cubicBezTo>
                    <a:pt x="173" y="119"/>
                    <a:pt x="170" y="123"/>
                    <a:pt x="170" y="126"/>
                  </a:cubicBezTo>
                  <a:cubicBezTo>
                    <a:pt x="170" y="154"/>
                    <a:pt x="170" y="154"/>
                    <a:pt x="170" y="154"/>
                  </a:cubicBezTo>
                  <a:cubicBezTo>
                    <a:pt x="170" y="158"/>
                    <a:pt x="173" y="161"/>
                    <a:pt x="177" y="161"/>
                  </a:cubicBezTo>
                  <a:cubicBezTo>
                    <a:pt x="204" y="161"/>
                    <a:pt x="204" y="161"/>
                    <a:pt x="204" y="161"/>
                  </a:cubicBezTo>
                  <a:cubicBezTo>
                    <a:pt x="208" y="161"/>
                    <a:pt x="211" y="158"/>
                    <a:pt x="211" y="154"/>
                  </a:cubicBezTo>
                  <a:cubicBezTo>
                    <a:pt x="211" y="126"/>
                    <a:pt x="211" y="126"/>
                    <a:pt x="211" y="126"/>
                  </a:cubicBezTo>
                  <a:cubicBezTo>
                    <a:pt x="211" y="123"/>
                    <a:pt x="208" y="119"/>
                    <a:pt x="204" y="119"/>
                  </a:cubicBezTo>
                  <a:lnTo>
                    <a:pt x="177" y="119"/>
                  </a:lnTo>
                  <a:close/>
                  <a:moveTo>
                    <a:pt x="93" y="119"/>
                  </a:moveTo>
                  <a:cubicBezTo>
                    <a:pt x="90" y="119"/>
                    <a:pt x="86" y="123"/>
                    <a:pt x="86" y="126"/>
                  </a:cubicBezTo>
                  <a:cubicBezTo>
                    <a:pt x="86" y="154"/>
                    <a:pt x="86" y="154"/>
                    <a:pt x="86" y="154"/>
                  </a:cubicBezTo>
                  <a:cubicBezTo>
                    <a:pt x="86" y="158"/>
                    <a:pt x="90" y="161"/>
                    <a:pt x="93" y="161"/>
                  </a:cubicBezTo>
                  <a:cubicBezTo>
                    <a:pt x="121" y="161"/>
                    <a:pt x="121" y="161"/>
                    <a:pt x="121" y="161"/>
                  </a:cubicBezTo>
                  <a:cubicBezTo>
                    <a:pt x="124" y="161"/>
                    <a:pt x="128" y="158"/>
                    <a:pt x="128" y="154"/>
                  </a:cubicBezTo>
                  <a:cubicBezTo>
                    <a:pt x="128" y="126"/>
                    <a:pt x="128" y="126"/>
                    <a:pt x="128" y="126"/>
                  </a:cubicBezTo>
                  <a:cubicBezTo>
                    <a:pt x="128" y="123"/>
                    <a:pt x="124" y="119"/>
                    <a:pt x="121" y="119"/>
                  </a:cubicBezTo>
                  <a:lnTo>
                    <a:pt x="93" y="119"/>
                  </a:lnTo>
                  <a:close/>
                  <a:moveTo>
                    <a:pt x="14" y="119"/>
                  </a:moveTo>
                  <a:cubicBezTo>
                    <a:pt x="10" y="119"/>
                    <a:pt x="7" y="123"/>
                    <a:pt x="7" y="126"/>
                  </a:cubicBezTo>
                  <a:cubicBezTo>
                    <a:pt x="7" y="154"/>
                    <a:pt x="7" y="154"/>
                    <a:pt x="7" y="154"/>
                  </a:cubicBezTo>
                  <a:cubicBezTo>
                    <a:pt x="7" y="158"/>
                    <a:pt x="10" y="161"/>
                    <a:pt x="14" y="161"/>
                  </a:cubicBezTo>
                  <a:cubicBezTo>
                    <a:pt x="41" y="161"/>
                    <a:pt x="41" y="161"/>
                    <a:pt x="41" y="161"/>
                  </a:cubicBezTo>
                  <a:cubicBezTo>
                    <a:pt x="45" y="161"/>
                    <a:pt x="48" y="158"/>
                    <a:pt x="48" y="154"/>
                  </a:cubicBezTo>
                  <a:cubicBezTo>
                    <a:pt x="48" y="126"/>
                    <a:pt x="48" y="126"/>
                    <a:pt x="48" y="126"/>
                  </a:cubicBezTo>
                  <a:cubicBezTo>
                    <a:pt x="48" y="123"/>
                    <a:pt x="45" y="119"/>
                    <a:pt x="41" y="119"/>
                  </a:cubicBezTo>
                  <a:lnTo>
                    <a:pt x="14" y="119"/>
                  </a:lnTo>
                  <a:close/>
                  <a:moveTo>
                    <a:pt x="79" y="43"/>
                  </a:moveTo>
                  <a:cubicBezTo>
                    <a:pt x="79" y="82"/>
                    <a:pt x="79" y="82"/>
                    <a:pt x="79" y="82"/>
                  </a:cubicBezTo>
                  <a:cubicBezTo>
                    <a:pt x="79" y="82"/>
                    <a:pt x="79" y="82"/>
                    <a:pt x="79" y="82"/>
                  </a:cubicBezTo>
                  <a:cubicBezTo>
                    <a:pt x="138" y="82"/>
                    <a:pt x="138" y="82"/>
                    <a:pt x="138" y="82"/>
                  </a:cubicBezTo>
                  <a:cubicBezTo>
                    <a:pt x="138" y="43"/>
                    <a:pt x="138" y="43"/>
                    <a:pt x="138" y="43"/>
                  </a:cubicBezTo>
                  <a:lnTo>
                    <a:pt x="79" y="43"/>
                  </a:lnTo>
                  <a:close/>
                  <a:moveTo>
                    <a:pt x="91" y="36"/>
                  </a:moveTo>
                  <a:cubicBezTo>
                    <a:pt x="127" y="36"/>
                    <a:pt x="127" y="36"/>
                    <a:pt x="127" y="36"/>
                  </a:cubicBezTo>
                  <a:cubicBezTo>
                    <a:pt x="127" y="24"/>
                    <a:pt x="127" y="24"/>
                    <a:pt x="127" y="24"/>
                  </a:cubicBezTo>
                  <a:cubicBezTo>
                    <a:pt x="127" y="14"/>
                    <a:pt x="119" y="6"/>
                    <a:pt x="109" y="6"/>
                  </a:cubicBezTo>
                  <a:cubicBezTo>
                    <a:pt x="99" y="6"/>
                    <a:pt x="91" y="14"/>
                    <a:pt x="91" y="24"/>
                  </a:cubicBezTo>
                  <a:lnTo>
                    <a:pt x="91" y="3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</a:pPr>
              <a:endParaRPr lang="en-GB" sz="1700" dirty="0">
                <a:solidFill>
                  <a:prstClr val="black"/>
                </a:solidFill>
                <a:latin typeface="Arial" panose="020B0604020202090204" pitchFamily="34" charset="0"/>
                <a:ea typeface="MS PGothic" pitchFamily="34" charset="-128"/>
              </a:endParaRPr>
            </a:p>
          </p:txBody>
        </p:sp>
        <p:sp>
          <p:nvSpPr>
            <p:cNvPr id="24" name="Freeform 29"/>
            <p:cNvSpPr/>
            <p:nvPr/>
          </p:nvSpPr>
          <p:spPr bwMode="auto">
            <a:xfrm>
              <a:off x="9089257" y="6166131"/>
              <a:ext cx="17238" cy="32808"/>
            </a:xfrm>
            <a:custGeom>
              <a:avLst/>
              <a:gdLst>
                <a:gd name="T0" fmla="*/ 13 w 13"/>
                <a:gd name="T1" fmla="*/ 7 h 25"/>
                <a:gd name="T2" fmla="*/ 7 w 13"/>
                <a:gd name="T3" fmla="*/ 0 h 25"/>
                <a:gd name="T4" fmla="*/ 0 w 13"/>
                <a:gd name="T5" fmla="*/ 7 h 25"/>
                <a:gd name="T6" fmla="*/ 5 w 13"/>
                <a:gd name="T7" fmla="*/ 13 h 25"/>
                <a:gd name="T8" fmla="*/ 3 w 13"/>
                <a:gd name="T9" fmla="*/ 25 h 25"/>
                <a:gd name="T10" fmla="*/ 11 w 13"/>
                <a:gd name="T11" fmla="*/ 25 h 25"/>
                <a:gd name="T12" fmla="*/ 9 w 13"/>
                <a:gd name="T13" fmla="*/ 13 h 25"/>
                <a:gd name="T14" fmla="*/ 13 w 13"/>
                <a:gd name="T15" fmla="*/ 7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25">
                  <a:moveTo>
                    <a:pt x="13" y="7"/>
                  </a:moveTo>
                  <a:cubicBezTo>
                    <a:pt x="13" y="3"/>
                    <a:pt x="10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0"/>
                    <a:pt x="2" y="12"/>
                    <a:pt x="5" y="13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2" y="12"/>
                    <a:pt x="13" y="10"/>
                    <a:pt x="13" y="7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</a:pPr>
              <a:endParaRPr lang="en-GB" sz="1700" dirty="0">
                <a:solidFill>
                  <a:prstClr val="black"/>
                </a:solidFill>
                <a:latin typeface="Arial" panose="020B0604020202090204" pitchFamily="34" charset="0"/>
                <a:ea typeface="MS PGothic" pitchFamily="34" charset="-128"/>
              </a:endParaRPr>
            </a:p>
          </p:txBody>
        </p:sp>
        <p:sp>
          <p:nvSpPr>
            <p:cNvPr id="25" name="Freeform 30"/>
            <p:cNvSpPr>
              <a:spLocks noEditPoints="1"/>
            </p:cNvSpPr>
            <p:nvPr/>
          </p:nvSpPr>
          <p:spPr bwMode="auto">
            <a:xfrm>
              <a:off x="9413999" y="6091062"/>
              <a:ext cx="156255" cy="248006"/>
            </a:xfrm>
            <a:custGeom>
              <a:avLst/>
              <a:gdLst>
                <a:gd name="T0" fmla="*/ 108 w 119"/>
                <a:gd name="T1" fmla="*/ 189 h 189"/>
                <a:gd name="T2" fmla="*/ 40 w 119"/>
                <a:gd name="T3" fmla="*/ 189 h 189"/>
                <a:gd name="T4" fmla="*/ 30 w 119"/>
                <a:gd name="T5" fmla="*/ 178 h 189"/>
                <a:gd name="T6" fmla="*/ 30 w 119"/>
                <a:gd name="T7" fmla="*/ 148 h 189"/>
                <a:gd name="T8" fmla="*/ 31 w 119"/>
                <a:gd name="T9" fmla="*/ 146 h 189"/>
                <a:gd name="T10" fmla="*/ 1 w 119"/>
                <a:gd name="T11" fmla="*/ 77 h 189"/>
                <a:gd name="T12" fmla="*/ 2 w 119"/>
                <a:gd name="T13" fmla="*/ 74 h 189"/>
                <a:gd name="T14" fmla="*/ 5 w 119"/>
                <a:gd name="T15" fmla="*/ 73 h 189"/>
                <a:gd name="T16" fmla="*/ 30 w 119"/>
                <a:gd name="T17" fmla="*/ 65 h 189"/>
                <a:gd name="T18" fmla="*/ 30 w 119"/>
                <a:gd name="T19" fmla="*/ 10 h 189"/>
                <a:gd name="T20" fmla="*/ 40 w 119"/>
                <a:gd name="T21" fmla="*/ 0 h 189"/>
                <a:gd name="T22" fmla="*/ 108 w 119"/>
                <a:gd name="T23" fmla="*/ 0 h 189"/>
                <a:gd name="T24" fmla="*/ 119 w 119"/>
                <a:gd name="T25" fmla="*/ 10 h 189"/>
                <a:gd name="T26" fmla="*/ 119 w 119"/>
                <a:gd name="T27" fmla="*/ 178 h 189"/>
                <a:gd name="T28" fmla="*/ 108 w 119"/>
                <a:gd name="T29" fmla="*/ 189 h 189"/>
                <a:gd name="T30" fmla="*/ 37 w 119"/>
                <a:gd name="T31" fmla="*/ 148 h 189"/>
                <a:gd name="T32" fmla="*/ 37 w 119"/>
                <a:gd name="T33" fmla="*/ 178 h 189"/>
                <a:gd name="T34" fmla="*/ 40 w 119"/>
                <a:gd name="T35" fmla="*/ 182 h 189"/>
                <a:gd name="T36" fmla="*/ 108 w 119"/>
                <a:gd name="T37" fmla="*/ 182 h 189"/>
                <a:gd name="T38" fmla="*/ 112 w 119"/>
                <a:gd name="T39" fmla="*/ 178 h 189"/>
                <a:gd name="T40" fmla="*/ 112 w 119"/>
                <a:gd name="T41" fmla="*/ 100 h 189"/>
                <a:gd name="T42" fmla="*/ 71 w 119"/>
                <a:gd name="T43" fmla="*/ 100 h 189"/>
                <a:gd name="T44" fmla="*/ 37 w 119"/>
                <a:gd name="T45" fmla="*/ 148 h 189"/>
                <a:gd name="T46" fmla="*/ 37 w 119"/>
                <a:gd name="T47" fmla="*/ 148 h 189"/>
                <a:gd name="T48" fmla="*/ 8 w 119"/>
                <a:gd name="T49" fmla="*/ 80 h 189"/>
                <a:gd name="T50" fmla="*/ 37 w 119"/>
                <a:gd name="T51" fmla="*/ 141 h 189"/>
                <a:gd name="T52" fmla="*/ 67 w 119"/>
                <a:gd name="T53" fmla="*/ 80 h 189"/>
                <a:gd name="T54" fmla="*/ 39 w 119"/>
                <a:gd name="T55" fmla="*/ 69 h 189"/>
                <a:gd name="T56" fmla="*/ 36 w 119"/>
                <a:gd name="T57" fmla="*/ 69 h 189"/>
                <a:gd name="T58" fmla="*/ 35 w 119"/>
                <a:gd name="T59" fmla="*/ 70 h 189"/>
                <a:gd name="T60" fmla="*/ 8 w 119"/>
                <a:gd name="T61" fmla="*/ 80 h 189"/>
                <a:gd name="T62" fmla="*/ 72 w 119"/>
                <a:gd name="T63" fmla="*/ 94 h 189"/>
                <a:gd name="T64" fmla="*/ 112 w 119"/>
                <a:gd name="T65" fmla="*/ 94 h 189"/>
                <a:gd name="T66" fmla="*/ 112 w 119"/>
                <a:gd name="T67" fmla="*/ 69 h 189"/>
                <a:gd name="T68" fmla="*/ 50 w 119"/>
                <a:gd name="T69" fmla="*/ 69 h 189"/>
                <a:gd name="T70" fmla="*/ 69 w 119"/>
                <a:gd name="T71" fmla="*/ 73 h 189"/>
                <a:gd name="T72" fmla="*/ 72 w 119"/>
                <a:gd name="T73" fmla="*/ 74 h 189"/>
                <a:gd name="T74" fmla="*/ 73 w 119"/>
                <a:gd name="T75" fmla="*/ 77 h 189"/>
                <a:gd name="T76" fmla="*/ 72 w 119"/>
                <a:gd name="T77" fmla="*/ 94 h 189"/>
                <a:gd name="T78" fmla="*/ 41 w 119"/>
                <a:gd name="T79" fmla="*/ 63 h 189"/>
                <a:gd name="T80" fmla="*/ 112 w 119"/>
                <a:gd name="T81" fmla="*/ 63 h 189"/>
                <a:gd name="T82" fmla="*/ 112 w 119"/>
                <a:gd name="T83" fmla="*/ 39 h 189"/>
                <a:gd name="T84" fmla="*/ 37 w 119"/>
                <a:gd name="T85" fmla="*/ 39 h 189"/>
                <a:gd name="T86" fmla="*/ 37 w 119"/>
                <a:gd name="T87" fmla="*/ 60 h 189"/>
                <a:gd name="T88" fmla="*/ 40 w 119"/>
                <a:gd name="T89" fmla="*/ 61 h 189"/>
                <a:gd name="T90" fmla="*/ 41 w 119"/>
                <a:gd name="T91" fmla="*/ 63 h 189"/>
                <a:gd name="T92" fmla="*/ 37 w 119"/>
                <a:gd name="T93" fmla="*/ 32 h 189"/>
                <a:gd name="T94" fmla="*/ 112 w 119"/>
                <a:gd name="T95" fmla="*/ 32 h 189"/>
                <a:gd name="T96" fmla="*/ 112 w 119"/>
                <a:gd name="T97" fmla="*/ 10 h 189"/>
                <a:gd name="T98" fmla="*/ 108 w 119"/>
                <a:gd name="T99" fmla="*/ 7 h 189"/>
                <a:gd name="T100" fmla="*/ 40 w 119"/>
                <a:gd name="T101" fmla="*/ 7 h 189"/>
                <a:gd name="T102" fmla="*/ 37 w 119"/>
                <a:gd name="T103" fmla="*/ 10 h 189"/>
                <a:gd name="T104" fmla="*/ 37 w 119"/>
                <a:gd name="T105" fmla="*/ 32 h 189"/>
                <a:gd name="T106" fmla="*/ 73 w 119"/>
                <a:gd name="T107" fmla="*/ 161 h 189"/>
                <a:gd name="T108" fmla="*/ 61 w 119"/>
                <a:gd name="T109" fmla="*/ 149 h 189"/>
                <a:gd name="T110" fmla="*/ 73 w 119"/>
                <a:gd name="T111" fmla="*/ 137 h 189"/>
                <a:gd name="T112" fmla="*/ 85 w 119"/>
                <a:gd name="T113" fmla="*/ 149 h 189"/>
                <a:gd name="T114" fmla="*/ 73 w 119"/>
                <a:gd name="T115" fmla="*/ 161 h 189"/>
                <a:gd name="T116" fmla="*/ 73 w 119"/>
                <a:gd name="T117" fmla="*/ 143 h 189"/>
                <a:gd name="T118" fmla="*/ 67 w 119"/>
                <a:gd name="T119" fmla="*/ 149 h 189"/>
                <a:gd name="T120" fmla="*/ 73 w 119"/>
                <a:gd name="T121" fmla="*/ 154 h 189"/>
                <a:gd name="T122" fmla="*/ 79 w 119"/>
                <a:gd name="T123" fmla="*/ 149 h 189"/>
                <a:gd name="T124" fmla="*/ 73 w 119"/>
                <a:gd name="T125" fmla="*/ 143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9" h="189">
                  <a:moveTo>
                    <a:pt x="108" y="189"/>
                  </a:moveTo>
                  <a:cubicBezTo>
                    <a:pt x="40" y="189"/>
                    <a:pt x="40" y="189"/>
                    <a:pt x="40" y="189"/>
                  </a:cubicBezTo>
                  <a:cubicBezTo>
                    <a:pt x="35" y="189"/>
                    <a:pt x="30" y="184"/>
                    <a:pt x="30" y="178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30" y="147"/>
                    <a:pt x="30" y="147"/>
                    <a:pt x="31" y="146"/>
                  </a:cubicBezTo>
                  <a:cubicBezTo>
                    <a:pt x="21" y="141"/>
                    <a:pt x="0" y="124"/>
                    <a:pt x="1" y="77"/>
                  </a:cubicBezTo>
                  <a:cubicBezTo>
                    <a:pt x="1" y="76"/>
                    <a:pt x="2" y="75"/>
                    <a:pt x="2" y="74"/>
                  </a:cubicBezTo>
                  <a:cubicBezTo>
                    <a:pt x="3" y="74"/>
                    <a:pt x="4" y="73"/>
                    <a:pt x="5" y="73"/>
                  </a:cubicBezTo>
                  <a:cubicBezTo>
                    <a:pt x="5" y="74"/>
                    <a:pt x="18" y="75"/>
                    <a:pt x="30" y="65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5"/>
                    <a:pt x="35" y="0"/>
                    <a:pt x="40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14" y="0"/>
                    <a:pt x="119" y="5"/>
                    <a:pt x="119" y="10"/>
                  </a:cubicBezTo>
                  <a:cubicBezTo>
                    <a:pt x="119" y="178"/>
                    <a:pt x="119" y="178"/>
                    <a:pt x="119" y="178"/>
                  </a:cubicBezTo>
                  <a:cubicBezTo>
                    <a:pt x="119" y="184"/>
                    <a:pt x="114" y="189"/>
                    <a:pt x="108" y="189"/>
                  </a:cubicBezTo>
                  <a:close/>
                  <a:moveTo>
                    <a:pt x="37" y="148"/>
                  </a:moveTo>
                  <a:cubicBezTo>
                    <a:pt x="37" y="178"/>
                    <a:pt x="37" y="178"/>
                    <a:pt x="37" y="178"/>
                  </a:cubicBezTo>
                  <a:cubicBezTo>
                    <a:pt x="37" y="180"/>
                    <a:pt x="38" y="182"/>
                    <a:pt x="40" y="182"/>
                  </a:cubicBezTo>
                  <a:cubicBezTo>
                    <a:pt x="108" y="182"/>
                    <a:pt x="108" y="182"/>
                    <a:pt x="108" y="182"/>
                  </a:cubicBezTo>
                  <a:cubicBezTo>
                    <a:pt x="110" y="182"/>
                    <a:pt x="112" y="180"/>
                    <a:pt x="112" y="178"/>
                  </a:cubicBezTo>
                  <a:cubicBezTo>
                    <a:pt x="112" y="100"/>
                    <a:pt x="112" y="100"/>
                    <a:pt x="112" y="100"/>
                  </a:cubicBezTo>
                  <a:cubicBezTo>
                    <a:pt x="71" y="100"/>
                    <a:pt x="71" y="100"/>
                    <a:pt x="71" y="100"/>
                  </a:cubicBezTo>
                  <a:cubicBezTo>
                    <a:pt x="64" y="140"/>
                    <a:pt x="39" y="148"/>
                    <a:pt x="37" y="148"/>
                  </a:cubicBezTo>
                  <a:cubicBezTo>
                    <a:pt x="37" y="148"/>
                    <a:pt x="37" y="148"/>
                    <a:pt x="37" y="148"/>
                  </a:cubicBezTo>
                  <a:close/>
                  <a:moveTo>
                    <a:pt x="8" y="80"/>
                  </a:moveTo>
                  <a:cubicBezTo>
                    <a:pt x="8" y="128"/>
                    <a:pt x="31" y="139"/>
                    <a:pt x="37" y="141"/>
                  </a:cubicBezTo>
                  <a:cubicBezTo>
                    <a:pt x="42" y="139"/>
                    <a:pt x="66" y="128"/>
                    <a:pt x="67" y="80"/>
                  </a:cubicBezTo>
                  <a:cubicBezTo>
                    <a:pt x="61" y="80"/>
                    <a:pt x="49" y="79"/>
                    <a:pt x="39" y="69"/>
                  </a:cubicBezTo>
                  <a:cubicBezTo>
                    <a:pt x="36" y="69"/>
                    <a:pt x="36" y="69"/>
                    <a:pt x="36" y="69"/>
                  </a:cubicBezTo>
                  <a:cubicBezTo>
                    <a:pt x="36" y="70"/>
                    <a:pt x="35" y="70"/>
                    <a:pt x="35" y="70"/>
                  </a:cubicBezTo>
                  <a:cubicBezTo>
                    <a:pt x="24" y="79"/>
                    <a:pt x="13" y="80"/>
                    <a:pt x="8" y="80"/>
                  </a:cubicBezTo>
                  <a:close/>
                  <a:moveTo>
                    <a:pt x="72" y="94"/>
                  </a:moveTo>
                  <a:cubicBezTo>
                    <a:pt x="112" y="94"/>
                    <a:pt x="112" y="94"/>
                    <a:pt x="112" y="94"/>
                  </a:cubicBezTo>
                  <a:cubicBezTo>
                    <a:pt x="112" y="69"/>
                    <a:pt x="112" y="69"/>
                    <a:pt x="112" y="69"/>
                  </a:cubicBezTo>
                  <a:cubicBezTo>
                    <a:pt x="50" y="69"/>
                    <a:pt x="50" y="69"/>
                    <a:pt x="50" y="69"/>
                  </a:cubicBezTo>
                  <a:cubicBezTo>
                    <a:pt x="60" y="75"/>
                    <a:pt x="69" y="73"/>
                    <a:pt x="69" y="73"/>
                  </a:cubicBezTo>
                  <a:cubicBezTo>
                    <a:pt x="70" y="73"/>
                    <a:pt x="71" y="74"/>
                    <a:pt x="72" y="74"/>
                  </a:cubicBezTo>
                  <a:cubicBezTo>
                    <a:pt x="73" y="75"/>
                    <a:pt x="73" y="76"/>
                    <a:pt x="73" y="77"/>
                  </a:cubicBezTo>
                  <a:cubicBezTo>
                    <a:pt x="73" y="83"/>
                    <a:pt x="73" y="89"/>
                    <a:pt x="72" y="94"/>
                  </a:cubicBezTo>
                  <a:close/>
                  <a:moveTo>
                    <a:pt x="41" y="63"/>
                  </a:moveTo>
                  <a:cubicBezTo>
                    <a:pt x="112" y="63"/>
                    <a:pt x="112" y="63"/>
                    <a:pt x="112" y="63"/>
                  </a:cubicBezTo>
                  <a:cubicBezTo>
                    <a:pt x="112" y="39"/>
                    <a:pt x="112" y="39"/>
                    <a:pt x="112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8" y="60"/>
                    <a:pt x="39" y="60"/>
                    <a:pt x="40" y="61"/>
                  </a:cubicBezTo>
                  <a:cubicBezTo>
                    <a:pt x="40" y="62"/>
                    <a:pt x="41" y="62"/>
                    <a:pt x="41" y="63"/>
                  </a:cubicBezTo>
                  <a:close/>
                  <a:moveTo>
                    <a:pt x="37" y="32"/>
                  </a:moveTo>
                  <a:cubicBezTo>
                    <a:pt x="112" y="32"/>
                    <a:pt x="112" y="32"/>
                    <a:pt x="112" y="32"/>
                  </a:cubicBezTo>
                  <a:cubicBezTo>
                    <a:pt x="112" y="10"/>
                    <a:pt x="112" y="10"/>
                    <a:pt x="112" y="10"/>
                  </a:cubicBezTo>
                  <a:cubicBezTo>
                    <a:pt x="112" y="8"/>
                    <a:pt x="110" y="7"/>
                    <a:pt x="108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8" y="7"/>
                    <a:pt x="37" y="8"/>
                    <a:pt x="37" y="10"/>
                  </a:cubicBezTo>
                  <a:lnTo>
                    <a:pt x="37" y="32"/>
                  </a:lnTo>
                  <a:close/>
                  <a:moveTo>
                    <a:pt x="73" y="161"/>
                  </a:moveTo>
                  <a:cubicBezTo>
                    <a:pt x="66" y="161"/>
                    <a:pt x="61" y="156"/>
                    <a:pt x="61" y="149"/>
                  </a:cubicBezTo>
                  <a:cubicBezTo>
                    <a:pt x="61" y="142"/>
                    <a:pt x="66" y="137"/>
                    <a:pt x="73" y="137"/>
                  </a:cubicBezTo>
                  <a:cubicBezTo>
                    <a:pt x="80" y="137"/>
                    <a:pt x="85" y="142"/>
                    <a:pt x="85" y="149"/>
                  </a:cubicBezTo>
                  <a:cubicBezTo>
                    <a:pt x="85" y="156"/>
                    <a:pt x="80" y="161"/>
                    <a:pt x="73" y="161"/>
                  </a:cubicBezTo>
                  <a:close/>
                  <a:moveTo>
                    <a:pt x="73" y="143"/>
                  </a:moveTo>
                  <a:cubicBezTo>
                    <a:pt x="70" y="143"/>
                    <a:pt x="67" y="146"/>
                    <a:pt x="67" y="149"/>
                  </a:cubicBezTo>
                  <a:cubicBezTo>
                    <a:pt x="67" y="152"/>
                    <a:pt x="70" y="154"/>
                    <a:pt x="73" y="154"/>
                  </a:cubicBezTo>
                  <a:cubicBezTo>
                    <a:pt x="76" y="154"/>
                    <a:pt x="79" y="152"/>
                    <a:pt x="79" y="149"/>
                  </a:cubicBezTo>
                  <a:cubicBezTo>
                    <a:pt x="79" y="146"/>
                    <a:pt x="76" y="143"/>
                    <a:pt x="73" y="14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</a:pPr>
              <a:endParaRPr lang="en-GB" sz="1700" dirty="0">
                <a:solidFill>
                  <a:prstClr val="black"/>
                </a:solidFill>
                <a:latin typeface="Arial" panose="020B0604020202090204" pitchFamily="34" charset="0"/>
                <a:ea typeface="MS PGothic" pitchFamily="34" charset="-128"/>
              </a:endParaRPr>
            </a:p>
          </p:txBody>
        </p:sp>
        <p:sp>
          <p:nvSpPr>
            <p:cNvPr id="26" name="Freeform 31"/>
            <p:cNvSpPr>
              <a:spLocks noEditPoints="1"/>
            </p:cNvSpPr>
            <p:nvPr/>
          </p:nvSpPr>
          <p:spPr bwMode="auto">
            <a:xfrm>
              <a:off x="6595304" y="6063815"/>
              <a:ext cx="235216" cy="270248"/>
            </a:xfrm>
            <a:custGeom>
              <a:avLst/>
              <a:gdLst>
                <a:gd name="T0" fmla="*/ 143 w 179"/>
                <a:gd name="T1" fmla="*/ 114 h 206"/>
                <a:gd name="T2" fmla="*/ 107 w 179"/>
                <a:gd name="T3" fmla="*/ 157 h 206"/>
                <a:gd name="T4" fmla="*/ 177 w 179"/>
                <a:gd name="T5" fmla="*/ 205 h 206"/>
                <a:gd name="T6" fmla="*/ 128 w 179"/>
                <a:gd name="T7" fmla="*/ 126 h 206"/>
                <a:gd name="T8" fmla="*/ 164 w 179"/>
                <a:gd name="T9" fmla="*/ 154 h 206"/>
                <a:gd name="T10" fmla="*/ 128 w 179"/>
                <a:gd name="T11" fmla="*/ 126 h 206"/>
                <a:gd name="T12" fmla="*/ 112 w 179"/>
                <a:gd name="T13" fmla="*/ 160 h 206"/>
                <a:gd name="T14" fmla="*/ 117 w 179"/>
                <a:gd name="T15" fmla="*/ 193 h 206"/>
                <a:gd name="T16" fmla="*/ 166 w 179"/>
                <a:gd name="T17" fmla="*/ 190 h 206"/>
                <a:gd name="T18" fmla="*/ 104 w 179"/>
                <a:gd name="T19" fmla="*/ 125 h 206"/>
                <a:gd name="T20" fmla="*/ 6 w 179"/>
                <a:gd name="T21" fmla="*/ 116 h 206"/>
                <a:gd name="T22" fmla="*/ 11 w 179"/>
                <a:gd name="T23" fmla="*/ 113 h 206"/>
                <a:gd name="T24" fmla="*/ 136 w 179"/>
                <a:gd name="T25" fmla="*/ 107 h 206"/>
                <a:gd name="T26" fmla="*/ 143 w 179"/>
                <a:gd name="T27" fmla="*/ 66 h 206"/>
                <a:gd name="T28" fmla="*/ 135 w 179"/>
                <a:gd name="T29" fmla="*/ 57 h 206"/>
                <a:gd name="T30" fmla="*/ 143 w 179"/>
                <a:gd name="T31" fmla="*/ 41 h 206"/>
                <a:gd name="T32" fmla="*/ 141 w 179"/>
                <a:gd name="T33" fmla="*/ 11 h 206"/>
                <a:gd name="T34" fmla="*/ 7 w 179"/>
                <a:gd name="T35" fmla="*/ 8 h 206"/>
                <a:gd name="T36" fmla="*/ 0 w 179"/>
                <a:gd name="T37" fmla="*/ 16 h 206"/>
                <a:gd name="T38" fmla="*/ 6 w 179"/>
                <a:gd name="T39" fmla="*/ 59 h 206"/>
                <a:gd name="T40" fmla="*/ 0 w 179"/>
                <a:gd name="T41" fmla="*/ 66 h 206"/>
                <a:gd name="T42" fmla="*/ 9 w 179"/>
                <a:gd name="T43" fmla="*/ 107 h 206"/>
                <a:gd name="T44" fmla="*/ 0 w 179"/>
                <a:gd name="T45" fmla="*/ 116 h 206"/>
                <a:gd name="T46" fmla="*/ 2 w 179"/>
                <a:gd name="T47" fmla="*/ 154 h 206"/>
                <a:gd name="T48" fmla="*/ 94 w 179"/>
                <a:gd name="T49" fmla="*/ 162 h 206"/>
                <a:gd name="T50" fmla="*/ 9 w 179"/>
                <a:gd name="T51" fmla="*/ 152 h 206"/>
                <a:gd name="T52" fmla="*/ 6 w 179"/>
                <a:gd name="T53" fmla="*/ 123 h 206"/>
                <a:gd name="T54" fmla="*/ 107 w 179"/>
                <a:gd name="T55" fmla="*/ 127 h 206"/>
                <a:gd name="T56" fmla="*/ 120 w 179"/>
                <a:gd name="T57" fmla="*/ 9 h 206"/>
                <a:gd name="T58" fmla="*/ 138 w 179"/>
                <a:gd name="T59" fmla="*/ 16 h 206"/>
                <a:gd name="T60" fmla="*/ 24 w 179"/>
                <a:gd name="T61" fmla="*/ 23 h 206"/>
                <a:gd name="T62" fmla="*/ 6 w 179"/>
                <a:gd name="T63" fmla="*/ 16 h 206"/>
                <a:gd name="T64" fmla="*/ 6 w 179"/>
                <a:gd name="T65" fmla="*/ 49 h 206"/>
                <a:gd name="T66" fmla="*/ 121 w 179"/>
                <a:gd name="T67" fmla="*/ 28 h 206"/>
                <a:gd name="T68" fmla="*/ 136 w 179"/>
                <a:gd name="T69" fmla="*/ 42 h 206"/>
                <a:gd name="T70" fmla="*/ 115 w 179"/>
                <a:gd name="T71" fmla="*/ 54 h 206"/>
                <a:gd name="T72" fmla="*/ 138 w 179"/>
                <a:gd name="T73" fmla="*/ 49 h 206"/>
                <a:gd name="T74" fmla="*/ 124 w 179"/>
                <a:gd name="T75" fmla="*/ 55 h 206"/>
                <a:gd name="T76" fmla="*/ 19 w 179"/>
                <a:gd name="T77" fmla="*/ 55 h 206"/>
                <a:gd name="T78" fmla="*/ 11 w 179"/>
                <a:gd name="T79" fmla="*/ 63 h 206"/>
                <a:gd name="T80" fmla="*/ 125 w 179"/>
                <a:gd name="T81" fmla="*/ 60 h 206"/>
                <a:gd name="T82" fmla="*/ 138 w 179"/>
                <a:gd name="T83" fmla="*/ 66 h 206"/>
                <a:gd name="T84" fmla="*/ 24 w 179"/>
                <a:gd name="T85" fmla="*/ 73 h 206"/>
                <a:gd name="T86" fmla="*/ 6 w 179"/>
                <a:gd name="T87" fmla="*/ 66 h 206"/>
                <a:gd name="T88" fmla="*/ 6 w 179"/>
                <a:gd name="T89" fmla="*/ 99 h 206"/>
                <a:gd name="T90" fmla="*/ 121 w 179"/>
                <a:gd name="T91" fmla="*/ 78 h 206"/>
                <a:gd name="T92" fmla="*/ 138 w 179"/>
                <a:gd name="T93" fmla="*/ 91 h 206"/>
                <a:gd name="T94" fmla="*/ 112 w 179"/>
                <a:gd name="T95" fmla="*/ 102 h 206"/>
                <a:gd name="T96" fmla="*/ 138 w 179"/>
                <a:gd name="T97" fmla="*/ 98 h 206"/>
                <a:gd name="T98" fmla="*/ 72 w 179"/>
                <a:gd name="T99" fmla="*/ 109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79" h="206">
                  <a:moveTo>
                    <a:pt x="177" y="154"/>
                  </a:moveTo>
                  <a:cubicBezTo>
                    <a:pt x="174" y="154"/>
                    <a:pt x="172" y="154"/>
                    <a:pt x="170" y="154"/>
                  </a:cubicBezTo>
                  <a:cubicBezTo>
                    <a:pt x="170" y="141"/>
                    <a:pt x="170" y="141"/>
                    <a:pt x="170" y="141"/>
                  </a:cubicBezTo>
                  <a:cubicBezTo>
                    <a:pt x="170" y="126"/>
                    <a:pt x="158" y="114"/>
                    <a:pt x="143" y="114"/>
                  </a:cubicBezTo>
                  <a:cubicBezTo>
                    <a:pt x="128" y="114"/>
                    <a:pt x="116" y="126"/>
                    <a:pt x="116" y="141"/>
                  </a:cubicBezTo>
                  <a:cubicBezTo>
                    <a:pt x="116" y="154"/>
                    <a:pt x="116" y="154"/>
                    <a:pt x="116" y="154"/>
                  </a:cubicBezTo>
                  <a:cubicBezTo>
                    <a:pt x="114" y="154"/>
                    <a:pt x="112" y="154"/>
                    <a:pt x="109" y="154"/>
                  </a:cubicBezTo>
                  <a:cubicBezTo>
                    <a:pt x="108" y="155"/>
                    <a:pt x="107" y="156"/>
                    <a:pt x="107" y="157"/>
                  </a:cubicBezTo>
                  <a:cubicBezTo>
                    <a:pt x="107" y="202"/>
                    <a:pt x="107" y="202"/>
                    <a:pt x="107" y="202"/>
                  </a:cubicBezTo>
                  <a:cubicBezTo>
                    <a:pt x="107" y="204"/>
                    <a:pt x="108" y="205"/>
                    <a:pt x="109" y="205"/>
                  </a:cubicBezTo>
                  <a:cubicBezTo>
                    <a:pt x="120" y="205"/>
                    <a:pt x="131" y="206"/>
                    <a:pt x="143" y="206"/>
                  </a:cubicBezTo>
                  <a:cubicBezTo>
                    <a:pt x="155" y="206"/>
                    <a:pt x="166" y="205"/>
                    <a:pt x="177" y="205"/>
                  </a:cubicBezTo>
                  <a:cubicBezTo>
                    <a:pt x="178" y="205"/>
                    <a:pt x="179" y="204"/>
                    <a:pt x="179" y="202"/>
                  </a:cubicBezTo>
                  <a:cubicBezTo>
                    <a:pt x="179" y="157"/>
                    <a:pt x="179" y="157"/>
                    <a:pt x="179" y="157"/>
                  </a:cubicBezTo>
                  <a:cubicBezTo>
                    <a:pt x="179" y="156"/>
                    <a:pt x="178" y="155"/>
                    <a:pt x="177" y="154"/>
                  </a:cubicBezTo>
                  <a:moveTo>
                    <a:pt x="128" y="126"/>
                  </a:moveTo>
                  <a:cubicBezTo>
                    <a:pt x="132" y="122"/>
                    <a:pt x="137" y="119"/>
                    <a:pt x="143" y="119"/>
                  </a:cubicBezTo>
                  <a:cubicBezTo>
                    <a:pt x="149" y="119"/>
                    <a:pt x="154" y="122"/>
                    <a:pt x="158" y="126"/>
                  </a:cubicBezTo>
                  <a:cubicBezTo>
                    <a:pt x="162" y="129"/>
                    <a:pt x="164" y="135"/>
                    <a:pt x="164" y="141"/>
                  </a:cubicBezTo>
                  <a:cubicBezTo>
                    <a:pt x="164" y="154"/>
                    <a:pt x="164" y="154"/>
                    <a:pt x="164" y="154"/>
                  </a:cubicBezTo>
                  <a:cubicBezTo>
                    <a:pt x="157" y="154"/>
                    <a:pt x="150" y="154"/>
                    <a:pt x="143" y="154"/>
                  </a:cubicBezTo>
                  <a:cubicBezTo>
                    <a:pt x="136" y="154"/>
                    <a:pt x="129" y="154"/>
                    <a:pt x="122" y="154"/>
                  </a:cubicBezTo>
                  <a:cubicBezTo>
                    <a:pt x="122" y="141"/>
                    <a:pt x="122" y="141"/>
                    <a:pt x="122" y="141"/>
                  </a:cubicBezTo>
                  <a:cubicBezTo>
                    <a:pt x="122" y="135"/>
                    <a:pt x="124" y="129"/>
                    <a:pt x="128" y="126"/>
                  </a:cubicBezTo>
                  <a:moveTo>
                    <a:pt x="174" y="199"/>
                  </a:moveTo>
                  <a:cubicBezTo>
                    <a:pt x="164" y="200"/>
                    <a:pt x="154" y="200"/>
                    <a:pt x="143" y="200"/>
                  </a:cubicBezTo>
                  <a:cubicBezTo>
                    <a:pt x="132" y="200"/>
                    <a:pt x="122" y="200"/>
                    <a:pt x="112" y="199"/>
                  </a:cubicBezTo>
                  <a:cubicBezTo>
                    <a:pt x="112" y="160"/>
                    <a:pt x="112" y="160"/>
                    <a:pt x="112" y="160"/>
                  </a:cubicBezTo>
                  <a:cubicBezTo>
                    <a:pt x="122" y="160"/>
                    <a:pt x="132" y="159"/>
                    <a:pt x="143" y="159"/>
                  </a:cubicBezTo>
                  <a:cubicBezTo>
                    <a:pt x="154" y="159"/>
                    <a:pt x="164" y="160"/>
                    <a:pt x="174" y="160"/>
                  </a:cubicBezTo>
                  <a:lnTo>
                    <a:pt x="174" y="199"/>
                  </a:lnTo>
                  <a:close/>
                  <a:moveTo>
                    <a:pt x="117" y="193"/>
                  </a:moveTo>
                  <a:cubicBezTo>
                    <a:pt x="117" y="195"/>
                    <a:pt x="119" y="196"/>
                    <a:pt x="120" y="196"/>
                  </a:cubicBezTo>
                  <a:cubicBezTo>
                    <a:pt x="166" y="196"/>
                    <a:pt x="166" y="196"/>
                    <a:pt x="166" y="196"/>
                  </a:cubicBezTo>
                  <a:cubicBezTo>
                    <a:pt x="167" y="196"/>
                    <a:pt x="169" y="195"/>
                    <a:pt x="169" y="193"/>
                  </a:cubicBezTo>
                  <a:cubicBezTo>
                    <a:pt x="169" y="191"/>
                    <a:pt x="167" y="190"/>
                    <a:pt x="166" y="190"/>
                  </a:cubicBezTo>
                  <a:cubicBezTo>
                    <a:pt x="120" y="190"/>
                    <a:pt x="120" y="190"/>
                    <a:pt x="120" y="190"/>
                  </a:cubicBezTo>
                  <a:cubicBezTo>
                    <a:pt x="119" y="190"/>
                    <a:pt x="117" y="191"/>
                    <a:pt x="117" y="193"/>
                  </a:cubicBezTo>
                  <a:moveTo>
                    <a:pt x="107" y="127"/>
                  </a:moveTo>
                  <a:cubicBezTo>
                    <a:pt x="107" y="126"/>
                    <a:pt x="105" y="125"/>
                    <a:pt x="104" y="125"/>
                  </a:cubicBezTo>
                  <a:cubicBezTo>
                    <a:pt x="94" y="126"/>
                    <a:pt x="83" y="126"/>
                    <a:pt x="72" y="126"/>
                  </a:cubicBezTo>
                  <a:cubicBezTo>
                    <a:pt x="53" y="126"/>
                    <a:pt x="36" y="125"/>
                    <a:pt x="24" y="123"/>
                  </a:cubicBezTo>
                  <a:cubicBezTo>
                    <a:pt x="17" y="121"/>
                    <a:pt x="13" y="120"/>
                    <a:pt x="9" y="118"/>
                  </a:cubicBezTo>
                  <a:cubicBezTo>
                    <a:pt x="8" y="118"/>
                    <a:pt x="7" y="117"/>
                    <a:pt x="6" y="116"/>
                  </a:cubicBezTo>
                  <a:cubicBezTo>
                    <a:pt x="6" y="116"/>
                    <a:pt x="6" y="116"/>
                    <a:pt x="6" y="116"/>
                  </a:cubicBezTo>
                  <a:cubicBezTo>
                    <a:pt x="6" y="116"/>
                    <a:pt x="6" y="116"/>
                    <a:pt x="6" y="116"/>
                  </a:cubicBezTo>
                  <a:cubicBezTo>
                    <a:pt x="6" y="116"/>
                    <a:pt x="6" y="115"/>
                    <a:pt x="6" y="115"/>
                  </a:cubicBezTo>
                  <a:cubicBezTo>
                    <a:pt x="7" y="114"/>
                    <a:pt x="8" y="113"/>
                    <a:pt x="11" y="113"/>
                  </a:cubicBezTo>
                  <a:cubicBezTo>
                    <a:pt x="13" y="112"/>
                    <a:pt x="15" y="111"/>
                    <a:pt x="18" y="110"/>
                  </a:cubicBezTo>
                  <a:cubicBezTo>
                    <a:pt x="31" y="113"/>
                    <a:pt x="50" y="115"/>
                    <a:pt x="72" y="115"/>
                  </a:cubicBezTo>
                  <a:cubicBezTo>
                    <a:pt x="91" y="115"/>
                    <a:pt x="108" y="114"/>
                    <a:pt x="121" y="111"/>
                  </a:cubicBezTo>
                  <a:cubicBezTo>
                    <a:pt x="127" y="110"/>
                    <a:pt x="132" y="108"/>
                    <a:pt x="136" y="107"/>
                  </a:cubicBezTo>
                  <a:cubicBezTo>
                    <a:pt x="138" y="106"/>
                    <a:pt x="140" y="105"/>
                    <a:pt x="141" y="104"/>
                  </a:cubicBezTo>
                  <a:cubicBezTo>
                    <a:pt x="142" y="102"/>
                    <a:pt x="143" y="101"/>
                    <a:pt x="143" y="99"/>
                  </a:cubicBezTo>
                  <a:cubicBezTo>
                    <a:pt x="143" y="66"/>
                    <a:pt x="143" y="66"/>
                    <a:pt x="143" y="66"/>
                  </a:cubicBezTo>
                  <a:cubicBezTo>
                    <a:pt x="143" y="66"/>
                    <a:pt x="143" y="66"/>
                    <a:pt x="143" y="66"/>
                  </a:cubicBezTo>
                  <a:cubicBezTo>
                    <a:pt x="143" y="66"/>
                    <a:pt x="143" y="66"/>
                    <a:pt x="143" y="65"/>
                  </a:cubicBezTo>
                  <a:cubicBezTo>
                    <a:pt x="143" y="64"/>
                    <a:pt x="143" y="63"/>
                    <a:pt x="142" y="62"/>
                  </a:cubicBezTo>
                  <a:cubicBezTo>
                    <a:pt x="140" y="60"/>
                    <a:pt x="138" y="59"/>
                    <a:pt x="135" y="58"/>
                  </a:cubicBezTo>
                  <a:cubicBezTo>
                    <a:pt x="135" y="57"/>
                    <a:pt x="135" y="57"/>
                    <a:pt x="135" y="57"/>
                  </a:cubicBezTo>
                  <a:cubicBezTo>
                    <a:pt x="135" y="57"/>
                    <a:pt x="136" y="57"/>
                    <a:pt x="136" y="57"/>
                  </a:cubicBezTo>
                  <a:cubicBezTo>
                    <a:pt x="138" y="56"/>
                    <a:pt x="140" y="55"/>
                    <a:pt x="141" y="54"/>
                  </a:cubicBezTo>
                  <a:cubicBezTo>
                    <a:pt x="142" y="52"/>
                    <a:pt x="143" y="51"/>
                    <a:pt x="143" y="49"/>
                  </a:cubicBezTo>
                  <a:cubicBezTo>
                    <a:pt x="143" y="41"/>
                    <a:pt x="143" y="41"/>
                    <a:pt x="143" y="41"/>
                  </a:cubicBezTo>
                  <a:cubicBezTo>
                    <a:pt x="143" y="41"/>
                    <a:pt x="143" y="41"/>
                    <a:pt x="143" y="41"/>
                  </a:cubicBezTo>
                  <a:cubicBezTo>
                    <a:pt x="143" y="16"/>
                    <a:pt x="143" y="16"/>
                    <a:pt x="143" y="16"/>
                  </a:cubicBezTo>
                  <a:cubicBezTo>
                    <a:pt x="143" y="16"/>
                    <a:pt x="143" y="16"/>
                    <a:pt x="143" y="15"/>
                  </a:cubicBezTo>
                  <a:cubicBezTo>
                    <a:pt x="143" y="14"/>
                    <a:pt x="142" y="12"/>
                    <a:pt x="141" y="11"/>
                  </a:cubicBezTo>
                  <a:cubicBezTo>
                    <a:pt x="139" y="9"/>
                    <a:pt x="136" y="8"/>
                    <a:pt x="131" y="6"/>
                  </a:cubicBezTo>
                  <a:cubicBezTo>
                    <a:pt x="119" y="2"/>
                    <a:pt x="97" y="0"/>
                    <a:pt x="72" y="0"/>
                  </a:cubicBezTo>
                  <a:cubicBezTo>
                    <a:pt x="52" y="0"/>
                    <a:pt x="35" y="1"/>
                    <a:pt x="22" y="4"/>
                  </a:cubicBezTo>
                  <a:cubicBezTo>
                    <a:pt x="16" y="5"/>
                    <a:pt x="11" y="6"/>
                    <a:pt x="7" y="8"/>
                  </a:cubicBezTo>
                  <a:cubicBezTo>
                    <a:pt x="5" y="9"/>
                    <a:pt x="4" y="10"/>
                    <a:pt x="2" y="11"/>
                  </a:cubicBezTo>
                  <a:cubicBezTo>
                    <a:pt x="1" y="12"/>
                    <a:pt x="0" y="14"/>
                    <a:pt x="0" y="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1"/>
                    <a:pt x="1" y="52"/>
                    <a:pt x="2" y="54"/>
                  </a:cubicBezTo>
                  <a:cubicBezTo>
                    <a:pt x="4" y="55"/>
                    <a:pt x="6" y="56"/>
                    <a:pt x="9" y="57"/>
                  </a:cubicBezTo>
                  <a:cubicBezTo>
                    <a:pt x="8" y="58"/>
                    <a:pt x="6" y="58"/>
                    <a:pt x="6" y="59"/>
                  </a:cubicBezTo>
                  <a:cubicBezTo>
                    <a:pt x="4" y="60"/>
                    <a:pt x="3" y="60"/>
                    <a:pt x="2" y="62"/>
                  </a:cubicBezTo>
                  <a:cubicBezTo>
                    <a:pt x="1" y="63"/>
                    <a:pt x="0" y="64"/>
                    <a:pt x="0" y="65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01"/>
                    <a:pt x="1" y="102"/>
                    <a:pt x="2" y="104"/>
                  </a:cubicBezTo>
                  <a:cubicBezTo>
                    <a:pt x="4" y="105"/>
                    <a:pt x="6" y="106"/>
                    <a:pt x="9" y="107"/>
                  </a:cubicBezTo>
                  <a:cubicBezTo>
                    <a:pt x="8" y="108"/>
                    <a:pt x="6" y="108"/>
                    <a:pt x="6" y="109"/>
                  </a:cubicBezTo>
                  <a:cubicBezTo>
                    <a:pt x="4" y="110"/>
                    <a:pt x="3" y="110"/>
                    <a:pt x="2" y="112"/>
                  </a:cubicBezTo>
                  <a:cubicBezTo>
                    <a:pt x="1" y="113"/>
                    <a:pt x="0" y="114"/>
                    <a:pt x="0" y="115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0" y="151"/>
                    <a:pt x="1" y="152"/>
                    <a:pt x="2" y="154"/>
                  </a:cubicBezTo>
                  <a:cubicBezTo>
                    <a:pt x="4" y="156"/>
                    <a:pt x="8" y="157"/>
                    <a:pt x="12" y="158"/>
                  </a:cubicBezTo>
                  <a:cubicBezTo>
                    <a:pt x="25" y="163"/>
                    <a:pt x="46" y="165"/>
                    <a:pt x="72" y="165"/>
                  </a:cubicBezTo>
                  <a:cubicBezTo>
                    <a:pt x="78" y="165"/>
                    <a:pt x="85" y="165"/>
                    <a:pt x="91" y="165"/>
                  </a:cubicBezTo>
                  <a:cubicBezTo>
                    <a:pt x="92" y="164"/>
                    <a:pt x="94" y="163"/>
                    <a:pt x="94" y="162"/>
                  </a:cubicBezTo>
                  <a:cubicBezTo>
                    <a:pt x="93" y="160"/>
                    <a:pt x="92" y="159"/>
                    <a:pt x="91" y="159"/>
                  </a:cubicBezTo>
                  <a:cubicBezTo>
                    <a:pt x="85" y="159"/>
                    <a:pt x="78" y="159"/>
                    <a:pt x="72" y="159"/>
                  </a:cubicBezTo>
                  <a:cubicBezTo>
                    <a:pt x="53" y="159"/>
                    <a:pt x="36" y="158"/>
                    <a:pt x="24" y="156"/>
                  </a:cubicBezTo>
                  <a:cubicBezTo>
                    <a:pt x="17" y="154"/>
                    <a:pt x="13" y="153"/>
                    <a:pt x="9" y="152"/>
                  </a:cubicBezTo>
                  <a:cubicBezTo>
                    <a:pt x="8" y="151"/>
                    <a:pt x="7" y="150"/>
                    <a:pt x="6" y="150"/>
                  </a:cubicBezTo>
                  <a:cubicBezTo>
                    <a:pt x="6" y="149"/>
                    <a:pt x="6" y="149"/>
                    <a:pt x="6" y="149"/>
                  </a:cubicBezTo>
                  <a:cubicBezTo>
                    <a:pt x="6" y="149"/>
                    <a:pt x="6" y="149"/>
                    <a:pt x="6" y="149"/>
                  </a:cubicBezTo>
                  <a:cubicBezTo>
                    <a:pt x="6" y="123"/>
                    <a:pt x="6" y="123"/>
                    <a:pt x="6" y="123"/>
                  </a:cubicBezTo>
                  <a:cubicBezTo>
                    <a:pt x="7" y="124"/>
                    <a:pt x="9" y="125"/>
                    <a:pt x="12" y="125"/>
                  </a:cubicBezTo>
                  <a:cubicBezTo>
                    <a:pt x="25" y="129"/>
                    <a:pt x="46" y="132"/>
                    <a:pt x="72" y="132"/>
                  </a:cubicBezTo>
                  <a:cubicBezTo>
                    <a:pt x="83" y="132"/>
                    <a:pt x="95" y="131"/>
                    <a:pt x="104" y="130"/>
                  </a:cubicBezTo>
                  <a:cubicBezTo>
                    <a:pt x="106" y="130"/>
                    <a:pt x="107" y="129"/>
                    <a:pt x="107" y="127"/>
                  </a:cubicBezTo>
                  <a:moveTo>
                    <a:pt x="7" y="15"/>
                  </a:moveTo>
                  <a:cubicBezTo>
                    <a:pt x="8" y="14"/>
                    <a:pt x="11" y="12"/>
                    <a:pt x="15" y="11"/>
                  </a:cubicBezTo>
                  <a:cubicBezTo>
                    <a:pt x="27" y="8"/>
                    <a:pt x="48" y="5"/>
                    <a:pt x="72" y="5"/>
                  </a:cubicBezTo>
                  <a:cubicBezTo>
                    <a:pt x="91" y="5"/>
                    <a:pt x="108" y="7"/>
                    <a:pt x="120" y="9"/>
                  </a:cubicBezTo>
                  <a:cubicBezTo>
                    <a:pt x="126" y="10"/>
                    <a:pt x="131" y="12"/>
                    <a:pt x="134" y="13"/>
                  </a:cubicBezTo>
                  <a:cubicBezTo>
                    <a:pt x="136" y="14"/>
                    <a:pt x="137" y="15"/>
                    <a:pt x="137" y="15"/>
                  </a:cubicBezTo>
                  <a:cubicBezTo>
                    <a:pt x="138" y="15"/>
                    <a:pt x="138" y="16"/>
                    <a:pt x="138" y="16"/>
                  </a:cubicBezTo>
                  <a:cubicBezTo>
                    <a:pt x="138" y="16"/>
                    <a:pt x="138" y="16"/>
                    <a:pt x="138" y="16"/>
                  </a:cubicBezTo>
                  <a:cubicBezTo>
                    <a:pt x="138" y="16"/>
                    <a:pt x="138" y="16"/>
                    <a:pt x="137" y="17"/>
                  </a:cubicBezTo>
                  <a:cubicBezTo>
                    <a:pt x="135" y="18"/>
                    <a:pt x="133" y="19"/>
                    <a:pt x="129" y="20"/>
                  </a:cubicBezTo>
                  <a:cubicBezTo>
                    <a:pt x="117" y="24"/>
                    <a:pt x="96" y="26"/>
                    <a:pt x="72" y="26"/>
                  </a:cubicBezTo>
                  <a:cubicBezTo>
                    <a:pt x="53" y="26"/>
                    <a:pt x="36" y="25"/>
                    <a:pt x="24" y="23"/>
                  </a:cubicBezTo>
                  <a:cubicBezTo>
                    <a:pt x="17" y="21"/>
                    <a:pt x="13" y="20"/>
                    <a:pt x="9" y="18"/>
                  </a:cubicBezTo>
                  <a:cubicBezTo>
                    <a:pt x="8" y="18"/>
                    <a:pt x="7" y="17"/>
                    <a:pt x="6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5"/>
                    <a:pt x="7" y="15"/>
                  </a:cubicBezTo>
                  <a:moveTo>
                    <a:pt x="6" y="50"/>
                  </a:moveTo>
                  <a:cubicBezTo>
                    <a:pt x="6" y="49"/>
                    <a:pt x="6" y="49"/>
                    <a:pt x="6" y="49"/>
                  </a:cubicBezTo>
                  <a:cubicBezTo>
                    <a:pt x="6" y="49"/>
                    <a:pt x="6" y="49"/>
                    <a:pt x="6" y="49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7" y="24"/>
                    <a:pt x="9" y="25"/>
                    <a:pt x="12" y="25"/>
                  </a:cubicBezTo>
                  <a:cubicBezTo>
                    <a:pt x="25" y="29"/>
                    <a:pt x="46" y="32"/>
                    <a:pt x="72" y="32"/>
                  </a:cubicBezTo>
                  <a:cubicBezTo>
                    <a:pt x="91" y="32"/>
                    <a:pt x="108" y="30"/>
                    <a:pt x="121" y="28"/>
                  </a:cubicBezTo>
                  <a:cubicBezTo>
                    <a:pt x="127" y="27"/>
                    <a:pt x="132" y="25"/>
                    <a:pt x="136" y="24"/>
                  </a:cubicBezTo>
                  <a:cubicBezTo>
                    <a:pt x="137" y="23"/>
                    <a:pt x="137" y="23"/>
                    <a:pt x="138" y="23"/>
                  </a:cubicBezTo>
                  <a:cubicBezTo>
                    <a:pt x="138" y="41"/>
                    <a:pt x="138" y="41"/>
                    <a:pt x="138" y="41"/>
                  </a:cubicBezTo>
                  <a:cubicBezTo>
                    <a:pt x="138" y="41"/>
                    <a:pt x="137" y="42"/>
                    <a:pt x="136" y="42"/>
                  </a:cubicBezTo>
                  <a:cubicBezTo>
                    <a:pt x="135" y="43"/>
                    <a:pt x="132" y="45"/>
                    <a:pt x="128" y="46"/>
                  </a:cubicBezTo>
                  <a:cubicBezTo>
                    <a:pt x="125" y="47"/>
                    <a:pt x="120" y="48"/>
                    <a:pt x="115" y="49"/>
                  </a:cubicBezTo>
                  <a:cubicBezTo>
                    <a:pt x="113" y="49"/>
                    <a:pt x="112" y="50"/>
                    <a:pt x="112" y="52"/>
                  </a:cubicBezTo>
                  <a:cubicBezTo>
                    <a:pt x="113" y="53"/>
                    <a:pt x="114" y="54"/>
                    <a:pt x="115" y="54"/>
                  </a:cubicBezTo>
                  <a:cubicBezTo>
                    <a:pt x="115" y="54"/>
                    <a:pt x="115" y="54"/>
                    <a:pt x="116" y="54"/>
                  </a:cubicBezTo>
                  <a:cubicBezTo>
                    <a:pt x="123" y="53"/>
                    <a:pt x="130" y="51"/>
                    <a:pt x="135" y="49"/>
                  </a:cubicBezTo>
                  <a:cubicBezTo>
                    <a:pt x="136" y="49"/>
                    <a:pt x="137" y="49"/>
                    <a:pt x="138" y="48"/>
                  </a:cubicBezTo>
                  <a:cubicBezTo>
                    <a:pt x="138" y="49"/>
                    <a:pt x="138" y="49"/>
                    <a:pt x="138" y="49"/>
                  </a:cubicBezTo>
                  <a:cubicBezTo>
                    <a:pt x="138" y="49"/>
                    <a:pt x="138" y="49"/>
                    <a:pt x="137" y="50"/>
                  </a:cubicBezTo>
                  <a:cubicBezTo>
                    <a:pt x="135" y="51"/>
                    <a:pt x="133" y="52"/>
                    <a:pt x="129" y="54"/>
                  </a:cubicBezTo>
                  <a:cubicBezTo>
                    <a:pt x="127" y="54"/>
                    <a:pt x="126" y="54"/>
                    <a:pt x="125" y="55"/>
                  </a:cubicBezTo>
                  <a:cubicBezTo>
                    <a:pt x="125" y="55"/>
                    <a:pt x="125" y="55"/>
                    <a:pt x="124" y="55"/>
                  </a:cubicBezTo>
                  <a:cubicBezTo>
                    <a:pt x="112" y="58"/>
                    <a:pt x="93" y="60"/>
                    <a:pt x="72" y="59"/>
                  </a:cubicBezTo>
                  <a:cubicBezTo>
                    <a:pt x="53" y="60"/>
                    <a:pt x="36" y="58"/>
                    <a:pt x="24" y="56"/>
                  </a:cubicBezTo>
                  <a:cubicBezTo>
                    <a:pt x="22" y="55"/>
                    <a:pt x="20" y="55"/>
                    <a:pt x="19" y="55"/>
                  </a:cubicBezTo>
                  <a:cubicBezTo>
                    <a:pt x="19" y="55"/>
                    <a:pt x="19" y="55"/>
                    <a:pt x="19" y="55"/>
                  </a:cubicBezTo>
                  <a:cubicBezTo>
                    <a:pt x="15" y="54"/>
                    <a:pt x="12" y="53"/>
                    <a:pt x="9" y="52"/>
                  </a:cubicBezTo>
                  <a:cubicBezTo>
                    <a:pt x="8" y="51"/>
                    <a:pt x="7" y="50"/>
                    <a:pt x="6" y="50"/>
                  </a:cubicBezTo>
                  <a:moveTo>
                    <a:pt x="6" y="65"/>
                  </a:moveTo>
                  <a:cubicBezTo>
                    <a:pt x="7" y="64"/>
                    <a:pt x="8" y="63"/>
                    <a:pt x="11" y="63"/>
                  </a:cubicBezTo>
                  <a:cubicBezTo>
                    <a:pt x="13" y="62"/>
                    <a:pt x="15" y="61"/>
                    <a:pt x="18" y="60"/>
                  </a:cubicBezTo>
                  <a:cubicBezTo>
                    <a:pt x="31" y="63"/>
                    <a:pt x="50" y="65"/>
                    <a:pt x="72" y="65"/>
                  </a:cubicBezTo>
                  <a:cubicBezTo>
                    <a:pt x="91" y="65"/>
                    <a:pt x="108" y="64"/>
                    <a:pt x="121" y="61"/>
                  </a:cubicBezTo>
                  <a:cubicBezTo>
                    <a:pt x="122" y="61"/>
                    <a:pt x="124" y="61"/>
                    <a:pt x="125" y="60"/>
                  </a:cubicBezTo>
                  <a:cubicBezTo>
                    <a:pt x="130" y="61"/>
                    <a:pt x="133" y="62"/>
                    <a:pt x="135" y="64"/>
                  </a:cubicBezTo>
                  <a:cubicBezTo>
                    <a:pt x="136" y="64"/>
                    <a:pt x="137" y="65"/>
                    <a:pt x="137" y="65"/>
                  </a:cubicBezTo>
                  <a:cubicBezTo>
                    <a:pt x="138" y="66"/>
                    <a:pt x="138" y="66"/>
                    <a:pt x="138" y="66"/>
                  </a:cubicBezTo>
                  <a:cubicBezTo>
                    <a:pt x="138" y="66"/>
                    <a:pt x="138" y="66"/>
                    <a:pt x="138" y="66"/>
                  </a:cubicBezTo>
                  <a:cubicBezTo>
                    <a:pt x="138" y="66"/>
                    <a:pt x="138" y="66"/>
                    <a:pt x="137" y="67"/>
                  </a:cubicBezTo>
                  <a:cubicBezTo>
                    <a:pt x="135" y="68"/>
                    <a:pt x="133" y="69"/>
                    <a:pt x="129" y="70"/>
                  </a:cubicBezTo>
                  <a:cubicBezTo>
                    <a:pt x="117" y="74"/>
                    <a:pt x="96" y="76"/>
                    <a:pt x="72" y="76"/>
                  </a:cubicBezTo>
                  <a:cubicBezTo>
                    <a:pt x="53" y="76"/>
                    <a:pt x="36" y="75"/>
                    <a:pt x="24" y="73"/>
                  </a:cubicBezTo>
                  <a:cubicBezTo>
                    <a:pt x="17" y="71"/>
                    <a:pt x="13" y="70"/>
                    <a:pt x="9" y="68"/>
                  </a:cubicBezTo>
                  <a:cubicBezTo>
                    <a:pt x="8" y="68"/>
                    <a:pt x="7" y="67"/>
                    <a:pt x="6" y="66"/>
                  </a:cubicBezTo>
                  <a:cubicBezTo>
                    <a:pt x="6" y="66"/>
                    <a:pt x="6" y="66"/>
                    <a:pt x="6" y="66"/>
                  </a:cubicBezTo>
                  <a:cubicBezTo>
                    <a:pt x="6" y="66"/>
                    <a:pt x="6" y="66"/>
                    <a:pt x="6" y="66"/>
                  </a:cubicBezTo>
                  <a:cubicBezTo>
                    <a:pt x="6" y="66"/>
                    <a:pt x="6" y="65"/>
                    <a:pt x="6" y="65"/>
                  </a:cubicBezTo>
                  <a:moveTo>
                    <a:pt x="6" y="100"/>
                  </a:moveTo>
                  <a:cubicBezTo>
                    <a:pt x="6" y="99"/>
                    <a:pt x="6" y="99"/>
                    <a:pt x="6" y="99"/>
                  </a:cubicBezTo>
                  <a:cubicBezTo>
                    <a:pt x="6" y="99"/>
                    <a:pt x="6" y="99"/>
                    <a:pt x="6" y="99"/>
                  </a:cubicBezTo>
                  <a:cubicBezTo>
                    <a:pt x="6" y="73"/>
                    <a:pt x="6" y="73"/>
                    <a:pt x="6" y="73"/>
                  </a:cubicBezTo>
                  <a:cubicBezTo>
                    <a:pt x="7" y="74"/>
                    <a:pt x="9" y="75"/>
                    <a:pt x="12" y="75"/>
                  </a:cubicBezTo>
                  <a:cubicBezTo>
                    <a:pt x="25" y="79"/>
                    <a:pt x="46" y="82"/>
                    <a:pt x="72" y="82"/>
                  </a:cubicBezTo>
                  <a:cubicBezTo>
                    <a:pt x="91" y="82"/>
                    <a:pt x="108" y="80"/>
                    <a:pt x="121" y="78"/>
                  </a:cubicBezTo>
                  <a:cubicBezTo>
                    <a:pt x="127" y="77"/>
                    <a:pt x="132" y="75"/>
                    <a:pt x="136" y="74"/>
                  </a:cubicBezTo>
                  <a:cubicBezTo>
                    <a:pt x="137" y="73"/>
                    <a:pt x="137" y="73"/>
                    <a:pt x="138" y="73"/>
                  </a:cubicBezTo>
                  <a:cubicBezTo>
                    <a:pt x="138" y="91"/>
                    <a:pt x="138" y="91"/>
                    <a:pt x="138" y="91"/>
                  </a:cubicBezTo>
                  <a:cubicBezTo>
                    <a:pt x="138" y="91"/>
                    <a:pt x="138" y="91"/>
                    <a:pt x="138" y="91"/>
                  </a:cubicBezTo>
                  <a:cubicBezTo>
                    <a:pt x="138" y="91"/>
                    <a:pt x="137" y="92"/>
                    <a:pt x="136" y="92"/>
                  </a:cubicBezTo>
                  <a:cubicBezTo>
                    <a:pt x="135" y="93"/>
                    <a:pt x="132" y="95"/>
                    <a:pt x="128" y="96"/>
                  </a:cubicBezTo>
                  <a:cubicBezTo>
                    <a:pt x="125" y="97"/>
                    <a:pt x="120" y="98"/>
                    <a:pt x="115" y="99"/>
                  </a:cubicBezTo>
                  <a:cubicBezTo>
                    <a:pt x="113" y="99"/>
                    <a:pt x="112" y="100"/>
                    <a:pt x="112" y="102"/>
                  </a:cubicBezTo>
                  <a:cubicBezTo>
                    <a:pt x="113" y="103"/>
                    <a:pt x="114" y="104"/>
                    <a:pt x="115" y="104"/>
                  </a:cubicBezTo>
                  <a:cubicBezTo>
                    <a:pt x="115" y="104"/>
                    <a:pt x="115" y="104"/>
                    <a:pt x="116" y="104"/>
                  </a:cubicBezTo>
                  <a:cubicBezTo>
                    <a:pt x="123" y="103"/>
                    <a:pt x="130" y="101"/>
                    <a:pt x="135" y="99"/>
                  </a:cubicBezTo>
                  <a:cubicBezTo>
                    <a:pt x="136" y="99"/>
                    <a:pt x="137" y="99"/>
                    <a:pt x="138" y="98"/>
                  </a:cubicBezTo>
                  <a:cubicBezTo>
                    <a:pt x="138" y="99"/>
                    <a:pt x="138" y="99"/>
                    <a:pt x="138" y="99"/>
                  </a:cubicBezTo>
                  <a:cubicBezTo>
                    <a:pt x="138" y="99"/>
                    <a:pt x="138" y="99"/>
                    <a:pt x="137" y="100"/>
                  </a:cubicBezTo>
                  <a:cubicBezTo>
                    <a:pt x="135" y="101"/>
                    <a:pt x="133" y="102"/>
                    <a:pt x="129" y="104"/>
                  </a:cubicBezTo>
                  <a:cubicBezTo>
                    <a:pt x="117" y="107"/>
                    <a:pt x="96" y="109"/>
                    <a:pt x="72" y="109"/>
                  </a:cubicBezTo>
                  <a:cubicBezTo>
                    <a:pt x="53" y="109"/>
                    <a:pt x="36" y="108"/>
                    <a:pt x="24" y="106"/>
                  </a:cubicBezTo>
                  <a:cubicBezTo>
                    <a:pt x="17" y="104"/>
                    <a:pt x="13" y="103"/>
                    <a:pt x="9" y="102"/>
                  </a:cubicBezTo>
                  <a:cubicBezTo>
                    <a:pt x="8" y="101"/>
                    <a:pt x="7" y="100"/>
                    <a:pt x="6" y="10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</a:pPr>
              <a:endParaRPr lang="en-GB" sz="1700" dirty="0">
                <a:solidFill>
                  <a:prstClr val="black"/>
                </a:solidFill>
                <a:latin typeface="Arial" panose="020B0604020202090204" pitchFamily="34" charset="0"/>
                <a:ea typeface="MS PGothic" pitchFamily="34" charset="-128"/>
              </a:endParaRPr>
            </a:p>
          </p:txBody>
        </p:sp>
        <p:sp>
          <p:nvSpPr>
            <p:cNvPr id="27" name="Freeform 32"/>
            <p:cNvSpPr>
              <a:spLocks noEditPoints="1"/>
            </p:cNvSpPr>
            <p:nvPr/>
          </p:nvSpPr>
          <p:spPr bwMode="auto">
            <a:xfrm>
              <a:off x="7446640" y="6106632"/>
              <a:ext cx="253010" cy="234104"/>
            </a:xfrm>
            <a:custGeom>
              <a:avLst/>
              <a:gdLst>
                <a:gd name="T0" fmla="*/ 107 w 193"/>
                <a:gd name="T1" fmla="*/ 137 h 178"/>
                <a:gd name="T2" fmla="*/ 16 w 193"/>
                <a:gd name="T3" fmla="*/ 131 h 178"/>
                <a:gd name="T4" fmla="*/ 6 w 193"/>
                <a:gd name="T5" fmla="*/ 47 h 178"/>
                <a:gd name="T6" fmla="*/ 9 w 193"/>
                <a:gd name="T7" fmla="*/ 44 h 178"/>
                <a:gd name="T8" fmla="*/ 187 w 193"/>
                <a:gd name="T9" fmla="*/ 45 h 178"/>
                <a:gd name="T10" fmla="*/ 187 w 193"/>
                <a:gd name="T11" fmla="*/ 47 h 178"/>
                <a:gd name="T12" fmla="*/ 185 w 193"/>
                <a:gd name="T13" fmla="*/ 90 h 178"/>
                <a:gd name="T14" fmla="*/ 193 w 193"/>
                <a:gd name="T15" fmla="*/ 48 h 178"/>
                <a:gd name="T16" fmla="*/ 191 w 193"/>
                <a:gd name="T17" fmla="*/ 41 h 178"/>
                <a:gd name="T18" fmla="*/ 182 w 193"/>
                <a:gd name="T19" fmla="*/ 38 h 178"/>
                <a:gd name="T20" fmla="*/ 169 w 193"/>
                <a:gd name="T21" fmla="*/ 16 h 178"/>
                <a:gd name="T22" fmla="*/ 76 w 193"/>
                <a:gd name="T23" fmla="*/ 13 h 178"/>
                <a:gd name="T24" fmla="*/ 24 w 193"/>
                <a:gd name="T25" fmla="*/ 0 h 178"/>
                <a:gd name="T26" fmla="*/ 11 w 193"/>
                <a:gd name="T27" fmla="*/ 38 h 178"/>
                <a:gd name="T28" fmla="*/ 2 w 193"/>
                <a:gd name="T29" fmla="*/ 41 h 178"/>
                <a:gd name="T30" fmla="*/ 0 w 193"/>
                <a:gd name="T31" fmla="*/ 48 h 178"/>
                <a:gd name="T32" fmla="*/ 23 w 193"/>
                <a:gd name="T33" fmla="*/ 142 h 178"/>
                <a:gd name="T34" fmla="*/ 110 w 193"/>
                <a:gd name="T35" fmla="*/ 140 h 178"/>
                <a:gd name="T36" fmla="*/ 17 w 193"/>
                <a:gd name="T37" fmla="*/ 13 h 178"/>
                <a:gd name="T38" fmla="*/ 64 w 193"/>
                <a:gd name="T39" fmla="*/ 6 h 178"/>
                <a:gd name="T40" fmla="*/ 71 w 193"/>
                <a:gd name="T41" fmla="*/ 19 h 178"/>
                <a:gd name="T42" fmla="*/ 74 w 193"/>
                <a:gd name="T43" fmla="*/ 22 h 178"/>
                <a:gd name="T44" fmla="*/ 176 w 193"/>
                <a:gd name="T45" fmla="*/ 29 h 178"/>
                <a:gd name="T46" fmla="*/ 17 w 193"/>
                <a:gd name="T47" fmla="*/ 38 h 178"/>
                <a:gd name="T48" fmla="*/ 131 w 193"/>
                <a:gd name="T49" fmla="*/ 165 h 178"/>
                <a:gd name="T50" fmla="*/ 180 w 193"/>
                <a:gd name="T51" fmla="*/ 168 h 178"/>
                <a:gd name="T52" fmla="*/ 180 w 193"/>
                <a:gd name="T53" fmla="*/ 162 h 178"/>
                <a:gd name="T54" fmla="*/ 131 w 193"/>
                <a:gd name="T55" fmla="*/ 165 h 178"/>
                <a:gd name="T56" fmla="*/ 184 w 193"/>
                <a:gd name="T57" fmla="*/ 126 h 178"/>
                <a:gd name="T58" fmla="*/ 157 w 193"/>
                <a:gd name="T59" fmla="*/ 86 h 178"/>
                <a:gd name="T60" fmla="*/ 130 w 193"/>
                <a:gd name="T61" fmla="*/ 126 h 178"/>
                <a:gd name="T62" fmla="*/ 121 w 193"/>
                <a:gd name="T63" fmla="*/ 129 h 178"/>
                <a:gd name="T64" fmla="*/ 123 w 193"/>
                <a:gd name="T65" fmla="*/ 177 h 178"/>
                <a:gd name="T66" fmla="*/ 191 w 193"/>
                <a:gd name="T67" fmla="*/ 177 h 178"/>
                <a:gd name="T68" fmla="*/ 193 w 193"/>
                <a:gd name="T69" fmla="*/ 129 h 178"/>
                <a:gd name="T70" fmla="*/ 142 w 193"/>
                <a:gd name="T71" fmla="*/ 98 h 178"/>
                <a:gd name="T72" fmla="*/ 172 w 193"/>
                <a:gd name="T73" fmla="*/ 98 h 178"/>
                <a:gd name="T74" fmla="*/ 178 w 193"/>
                <a:gd name="T75" fmla="*/ 126 h 178"/>
                <a:gd name="T76" fmla="*/ 136 w 193"/>
                <a:gd name="T77" fmla="*/ 126 h 178"/>
                <a:gd name="T78" fmla="*/ 142 w 193"/>
                <a:gd name="T79" fmla="*/ 98 h 178"/>
                <a:gd name="T80" fmla="*/ 157 w 193"/>
                <a:gd name="T81" fmla="*/ 172 h 178"/>
                <a:gd name="T82" fmla="*/ 126 w 193"/>
                <a:gd name="T83" fmla="*/ 132 h 178"/>
                <a:gd name="T84" fmla="*/ 188 w 193"/>
                <a:gd name="T85" fmla="*/ 132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93" h="178">
                  <a:moveTo>
                    <a:pt x="107" y="137"/>
                  </a:moveTo>
                  <a:cubicBezTo>
                    <a:pt x="107" y="137"/>
                    <a:pt x="107" y="137"/>
                    <a:pt x="107" y="137"/>
                  </a:cubicBezTo>
                  <a:cubicBezTo>
                    <a:pt x="23" y="137"/>
                    <a:pt x="23" y="137"/>
                    <a:pt x="23" y="137"/>
                  </a:cubicBezTo>
                  <a:cubicBezTo>
                    <a:pt x="19" y="137"/>
                    <a:pt x="16" y="134"/>
                    <a:pt x="16" y="131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6" y="46"/>
                    <a:pt x="6" y="45"/>
                    <a:pt x="6" y="45"/>
                  </a:cubicBezTo>
                  <a:cubicBezTo>
                    <a:pt x="7" y="44"/>
                    <a:pt x="8" y="44"/>
                    <a:pt x="9" y="44"/>
                  </a:cubicBezTo>
                  <a:cubicBezTo>
                    <a:pt x="185" y="44"/>
                    <a:pt x="185" y="44"/>
                    <a:pt x="185" y="44"/>
                  </a:cubicBezTo>
                  <a:cubicBezTo>
                    <a:pt x="185" y="44"/>
                    <a:pt x="186" y="44"/>
                    <a:pt x="187" y="45"/>
                  </a:cubicBezTo>
                  <a:cubicBezTo>
                    <a:pt x="187" y="45"/>
                    <a:pt x="187" y="46"/>
                    <a:pt x="187" y="47"/>
                  </a:cubicBezTo>
                  <a:cubicBezTo>
                    <a:pt x="187" y="47"/>
                    <a:pt x="187" y="47"/>
                    <a:pt x="187" y="47"/>
                  </a:cubicBezTo>
                  <a:cubicBezTo>
                    <a:pt x="183" y="87"/>
                    <a:pt x="183" y="87"/>
                    <a:pt x="183" y="87"/>
                  </a:cubicBezTo>
                  <a:cubicBezTo>
                    <a:pt x="182" y="88"/>
                    <a:pt x="184" y="90"/>
                    <a:pt x="185" y="90"/>
                  </a:cubicBezTo>
                  <a:cubicBezTo>
                    <a:pt x="187" y="90"/>
                    <a:pt x="188" y="89"/>
                    <a:pt x="188" y="88"/>
                  </a:cubicBezTo>
                  <a:cubicBezTo>
                    <a:pt x="193" y="48"/>
                    <a:pt x="193" y="48"/>
                    <a:pt x="193" y="48"/>
                  </a:cubicBezTo>
                  <a:cubicBezTo>
                    <a:pt x="193" y="47"/>
                    <a:pt x="193" y="47"/>
                    <a:pt x="193" y="47"/>
                  </a:cubicBezTo>
                  <a:cubicBezTo>
                    <a:pt x="193" y="45"/>
                    <a:pt x="192" y="43"/>
                    <a:pt x="191" y="41"/>
                  </a:cubicBezTo>
                  <a:cubicBezTo>
                    <a:pt x="189" y="39"/>
                    <a:pt x="187" y="38"/>
                    <a:pt x="185" y="38"/>
                  </a:cubicBezTo>
                  <a:cubicBezTo>
                    <a:pt x="182" y="38"/>
                    <a:pt x="182" y="38"/>
                    <a:pt x="182" y="38"/>
                  </a:cubicBezTo>
                  <a:cubicBezTo>
                    <a:pt x="182" y="29"/>
                    <a:pt x="182" y="29"/>
                    <a:pt x="182" y="29"/>
                  </a:cubicBezTo>
                  <a:cubicBezTo>
                    <a:pt x="182" y="22"/>
                    <a:pt x="176" y="16"/>
                    <a:pt x="169" y="16"/>
                  </a:cubicBezTo>
                  <a:cubicBezTo>
                    <a:pt x="76" y="16"/>
                    <a:pt x="76" y="16"/>
                    <a:pt x="76" y="16"/>
                  </a:cubicBezTo>
                  <a:cubicBezTo>
                    <a:pt x="76" y="13"/>
                    <a:pt x="76" y="13"/>
                    <a:pt x="76" y="13"/>
                  </a:cubicBezTo>
                  <a:cubicBezTo>
                    <a:pt x="76" y="6"/>
                    <a:pt x="71" y="0"/>
                    <a:pt x="64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7" y="0"/>
                    <a:pt x="11" y="6"/>
                    <a:pt x="11" y="13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6" y="38"/>
                    <a:pt x="4" y="39"/>
                    <a:pt x="2" y="41"/>
                  </a:cubicBezTo>
                  <a:cubicBezTo>
                    <a:pt x="1" y="43"/>
                    <a:pt x="0" y="45"/>
                    <a:pt x="0" y="47"/>
                  </a:cubicBezTo>
                  <a:cubicBezTo>
                    <a:pt x="0" y="47"/>
                    <a:pt x="0" y="47"/>
                    <a:pt x="0" y="48"/>
                  </a:cubicBezTo>
                  <a:cubicBezTo>
                    <a:pt x="10" y="131"/>
                    <a:pt x="10" y="131"/>
                    <a:pt x="10" y="131"/>
                  </a:cubicBezTo>
                  <a:cubicBezTo>
                    <a:pt x="11" y="138"/>
                    <a:pt x="16" y="142"/>
                    <a:pt x="23" y="142"/>
                  </a:cubicBezTo>
                  <a:cubicBezTo>
                    <a:pt x="107" y="142"/>
                    <a:pt x="107" y="142"/>
                    <a:pt x="107" y="142"/>
                  </a:cubicBezTo>
                  <a:cubicBezTo>
                    <a:pt x="109" y="142"/>
                    <a:pt x="110" y="141"/>
                    <a:pt x="110" y="140"/>
                  </a:cubicBezTo>
                  <a:cubicBezTo>
                    <a:pt x="110" y="138"/>
                    <a:pt x="109" y="137"/>
                    <a:pt x="107" y="137"/>
                  </a:cubicBezTo>
                  <a:moveTo>
                    <a:pt x="17" y="13"/>
                  </a:moveTo>
                  <a:cubicBezTo>
                    <a:pt x="17" y="9"/>
                    <a:pt x="20" y="6"/>
                    <a:pt x="24" y="6"/>
                  </a:cubicBezTo>
                  <a:cubicBezTo>
                    <a:pt x="64" y="6"/>
                    <a:pt x="64" y="6"/>
                    <a:pt x="64" y="6"/>
                  </a:cubicBezTo>
                  <a:cubicBezTo>
                    <a:pt x="68" y="6"/>
                    <a:pt x="71" y="9"/>
                    <a:pt x="71" y="13"/>
                  </a:cubicBezTo>
                  <a:cubicBezTo>
                    <a:pt x="71" y="19"/>
                    <a:pt x="71" y="19"/>
                    <a:pt x="71" y="19"/>
                  </a:cubicBezTo>
                  <a:cubicBezTo>
                    <a:pt x="71" y="20"/>
                    <a:pt x="71" y="20"/>
                    <a:pt x="72" y="21"/>
                  </a:cubicBezTo>
                  <a:cubicBezTo>
                    <a:pt x="72" y="22"/>
                    <a:pt x="73" y="22"/>
                    <a:pt x="74" y="22"/>
                  </a:cubicBezTo>
                  <a:cubicBezTo>
                    <a:pt x="169" y="22"/>
                    <a:pt x="169" y="22"/>
                    <a:pt x="169" y="22"/>
                  </a:cubicBezTo>
                  <a:cubicBezTo>
                    <a:pt x="173" y="22"/>
                    <a:pt x="176" y="25"/>
                    <a:pt x="176" y="29"/>
                  </a:cubicBezTo>
                  <a:cubicBezTo>
                    <a:pt x="176" y="38"/>
                    <a:pt x="176" y="38"/>
                    <a:pt x="176" y="38"/>
                  </a:cubicBezTo>
                  <a:cubicBezTo>
                    <a:pt x="17" y="38"/>
                    <a:pt x="17" y="38"/>
                    <a:pt x="17" y="38"/>
                  </a:cubicBezTo>
                  <a:lnTo>
                    <a:pt x="17" y="13"/>
                  </a:lnTo>
                  <a:close/>
                  <a:moveTo>
                    <a:pt x="131" y="165"/>
                  </a:moveTo>
                  <a:cubicBezTo>
                    <a:pt x="131" y="167"/>
                    <a:pt x="133" y="168"/>
                    <a:pt x="134" y="168"/>
                  </a:cubicBezTo>
                  <a:cubicBezTo>
                    <a:pt x="180" y="168"/>
                    <a:pt x="180" y="168"/>
                    <a:pt x="180" y="168"/>
                  </a:cubicBezTo>
                  <a:cubicBezTo>
                    <a:pt x="181" y="168"/>
                    <a:pt x="183" y="167"/>
                    <a:pt x="183" y="165"/>
                  </a:cubicBezTo>
                  <a:cubicBezTo>
                    <a:pt x="183" y="164"/>
                    <a:pt x="181" y="162"/>
                    <a:pt x="180" y="162"/>
                  </a:cubicBezTo>
                  <a:cubicBezTo>
                    <a:pt x="134" y="162"/>
                    <a:pt x="134" y="162"/>
                    <a:pt x="134" y="162"/>
                  </a:cubicBezTo>
                  <a:cubicBezTo>
                    <a:pt x="133" y="162"/>
                    <a:pt x="131" y="164"/>
                    <a:pt x="131" y="165"/>
                  </a:cubicBezTo>
                  <a:moveTo>
                    <a:pt x="191" y="127"/>
                  </a:moveTo>
                  <a:cubicBezTo>
                    <a:pt x="188" y="126"/>
                    <a:pt x="186" y="126"/>
                    <a:pt x="184" y="126"/>
                  </a:cubicBezTo>
                  <a:cubicBezTo>
                    <a:pt x="184" y="113"/>
                    <a:pt x="184" y="113"/>
                    <a:pt x="184" y="113"/>
                  </a:cubicBezTo>
                  <a:cubicBezTo>
                    <a:pt x="184" y="98"/>
                    <a:pt x="172" y="86"/>
                    <a:pt x="157" y="86"/>
                  </a:cubicBezTo>
                  <a:cubicBezTo>
                    <a:pt x="142" y="86"/>
                    <a:pt x="130" y="98"/>
                    <a:pt x="130" y="113"/>
                  </a:cubicBezTo>
                  <a:cubicBezTo>
                    <a:pt x="130" y="126"/>
                    <a:pt x="130" y="126"/>
                    <a:pt x="130" y="126"/>
                  </a:cubicBezTo>
                  <a:cubicBezTo>
                    <a:pt x="128" y="126"/>
                    <a:pt x="126" y="126"/>
                    <a:pt x="123" y="127"/>
                  </a:cubicBezTo>
                  <a:cubicBezTo>
                    <a:pt x="122" y="127"/>
                    <a:pt x="121" y="128"/>
                    <a:pt x="121" y="129"/>
                  </a:cubicBezTo>
                  <a:cubicBezTo>
                    <a:pt x="121" y="174"/>
                    <a:pt x="121" y="174"/>
                    <a:pt x="121" y="174"/>
                  </a:cubicBezTo>
                  <a:cubicBezTo>
                    <a:pt x="121" y="176"/>
                    <a:pt x="122" y="177"/>
                    <a:pt x="123" y="177"/>
                  </a:cubicBezTo>
                  <a:cubicBezTo>
                    <a:pt x="134" y="177"/>
                    <a:pt x="145" y="178"/>
                    <a:pt x="157" y="178"/>
                  </a:cubicBezTo>
                  <a:cubicBezTo>
                    <a:pt x="169" y="178"/>
                    <a:pt x="180" y="177"/>
                    <a:pt x="191" y="177"/>
                  </a:cubicBezTo>
                  <a:cubicBezTo>
                    <a:pt x="192" y="177"/>
                    <a:pt x="193" y="176"/>
                    <a:pt x="193" y="174"/>
                  </a:cubicBezTo>
                  <a:cubicBezTo>
                    <a:pt x="193" y="129"/>
                    <a:pt x="193" y="129"/>
                    <a:pt x="193" y="129"/>
                  </a:cubicBezTo>
                  <a:cubicBezTo>
                    <a:pt x="193" y="128"/>
                    <a:pt x="192" y="127"/>
                    <a:pt x="191" y="127"/>
                  </a:cubicBezTo>
                  <a:moveTo>
                    <a:pt x="142" y="98"/>
                  </a:moveTo>
                  <a:cubicBezTo>
                    <a:pt x="146" y="94"/>
                    <a:pt x="151" y="91"/>
                    <a:pt x="157" y="91"/>
                  </a:cubicBezTo>
                  <a:cubicBezTo>
                    <a:pt x="163" y="91"/>
                    <a:pt x="168" y="94"/>
                    <a:pt x="172" y="98"/>
                  </a:cubicBezTo>
                  <a:cubicBezTo>
                    <a:pt x="176" y="102"/>
                    <a:pt x="178" y="107"/>
                    <a:pt x="178" y="113"/>
                  </a:cubicBezTo>
                  <a:cubicBezTo>
                    <a:pt x="178" y="126"/>
                    <a:pt x="178" y="126"/>
                    <a:pt x="178" y="126"/>
                  </a:cubicBezTo>
                  <a:cubicBezTo>
                    <a:pt x="171" y="126"/>
                    <a:pt x="164" y="126"/>
                    <a:pt x="157" y="126"/>
                  </a:cubicBezTo>
                  <a:cubicBezTo>
                    <a:pt x="150" y="126"/>
                    <a:pt x="143" y="126"/>
                    <a:pt x="136" y="126"/>
                  </a:cubicBezTo>
                  <a:cubicBezTo>
                    <a:pt x="136" y="113"/>
                    <a:pt x="136" y="113"/>
                    <a:pt x="136" y="113"/>
                  </a:cubicBezTo>
                  <a:cubicBezTo>
                    <a:pt x="136" y="107"/>
                    <a:pt x="138" y="102"/>
                    <a:pt x="142" y="98"/>
                  </a:cubicBezTo>
                  <a:moveTo>
                    <a:pt x="188" y="172"/>
                  </a:moveTo>
                  <a:cubicBezTo>
                    <a:pt x="178" y="172"/>
                    <a:pt x="168" y="172"/>
                    <a:pt x="157" y="172"/>
                  </a:cubicBezTo>
                  <a:cubicBezTo>
                    <a:pt x="146" y="172"/>
                    <a:pt x="136" y="172"/>
                    <a:pt x="126" y="172"/>
                  </a:cubicBezTo>
                  <a:cubicBezTo>
                    <a:pt x="126" y="132"/>
                    <a:pt x="126" y="132"/>
                    <a:pt x="126" y="132"/>
                  </a:cubicBezTo>
                  <a:cubicBezTo>
                    <a:pt x="136" y="132"/>
                    <a:pt x="146" y="131"/>
                    <a:pt x="157" y="131"/>
                  </a:cubicBezTo>
                  <a:cubicBezTo>
                    <a:pt x="168" y="131"/>
                    <a:pt x="178" y="132"/>
                    <a:pt x="188" y="132"/>
                  </a:cubicBezTo>
                  <a:lnTo>
                    <a:pt x="188" y="17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</a:pPr>
              <a:endParaRPr lang="en-GB" sz="1700" dirty="0">
                <a:solidFill>
                  <a:prstClr val="black"/>
                </a:solidFill>
                <a:latin typeface="Arial" panose="020B0604020202090204" pitchFamily="34" charset="0"/>
                <a:ea typeface="MS PGothic" pitchFamily="34" charset="-128"/>
              </a:endParaRPr>
            </a:p>
          </p:txBody>
        </p:sp>
        <p:sp>
          <p:nvSpPr>
            <p:cNvPr id="28" name="Freeform 33"/>
            <p:cNvSpPr>
              <a:spLocks noEditPoints="1"/>
            </p:cNvSpPr>
            <p:nvPr/>
          </p:nvSpPr>
          <p:spPr bwMode="auto">
            <a:xfrm>
              <a:off x="8541533" y="6071600"/>
              <a:ext cx="252454" cy="259683"/>
            </a:xfrm>
            <a:custGeom>
              <a:avLst/>
              <a:gdLst>
                <a:gd name="T0" fmla="*/ 189 w 192"/>
                <a:gd name="T1" fmla="*/ 112 h 198"/>
                <a:gd name="T2" fmla="*/ 173 w 192"/>
                <a:gd name="T3" fmla="*/ 111 h 198"/>
                <a:gd name="T4" fmla="*/ 125 w 192"/>
                <a:gd name="T5" fmla="*/ 111 h 198"/>
                <a:gd name="T6" fmla="*/ 112 w 192"/>
                <a:gd name="T7" fmla="*/ 110 h 198"/>
                <a:gd name="T8" fmla="*/ 106 w 192"/>
                <a:gd name="T9" fmla="*/ 137 h 198"/>
                <a:gd name="T10" fmla="*/ 123 w 192"/>
                <a:gd name="T11" fmla="*/ 180 h 198"/>
                <a:gd name="T12" fmla="*/ 147 w 192"/>
                <a:gd name="T13" fmla="*/ 197 h 198"/>
                <a:gd name="T14" fmla="*/ 154 w 192"/>
                <a:gd name="T15" fmla="*/ 195 h 198"/>
                <a:gd name="T16" fmla="*/ 192 w 192"/>
                <a:gd name="T17" fmla="*/ 143 h 198"/>
                <a:gd name="T18" fmla="*/ 190 w 192"/>
                <a:gd name="T19" fmla="*/ 114 h 198"/>
                <a:gd name="T20" fmla="*/ 125 w 192"/>
                <a:gd name="T21" fmla="*/ 116 h 198"/>
                <a:gd name="T22" fmla="*/ 177 w 192"/>
                <a:gd name="T23" fmla="*/ 116 h 198"/>
                <a:gd name="T24" fmla="*/ 181 w 192"/>
                <a:gd name="T25" fmla="*/ 163 h 198"/>
                <a:gd name="T26" fmla="*/ 149 w 192"/>
                <a:gd name="T27" fmla="*/ 191 h 198"/>
                <a:gd name="T28" fmla="*/ 129 w 192"/>
                <a:gd name="T29" fmla="*/ 178 h 198"/>
                <a:gd name="T30" fmla="*/ 187 w 192"/>
                <a:gd name="T31" fmla="*/ 141 h 198"/>
                <a:gd name="T32" fmla="*/ 114 w 192"/>
                <a:gd name="T33" fmla="*/ 156 h 198"/>
                <a:gd name="T34" fmla="*/ 187 w 192"/>
                <a:gd name="T35" fmla="*/ 141 h 198"/>
                <a:gd name="T36" fmla="*/ 103 w 192"/>
                <a:gd name="T37" fmla="*/ 166 h 198"/>
                <a:gd name="T38" fmla="*/ 98 w 192"/>
                <a:gd name="T39" fmla="*/ 137 h 198"/>
                <a:gd name="T40" fmla="*/ 91 w 192"/>
                <a:gd name="T41" fmla="*/ 132 h 198"/>
                <a:gd name="T42" fmla="*/ 129 w 192"/>
                <a:gd name="T43" fmla="*/ 101 h 198"/>
                <a:gd name="T44" fmla="*/ 135 w 192"/>
                <a:gd name="T45" fmla="*/ 92 h 198"/>
                <a:gd name="T46" fmla="*/ 173 w 192"/>
                <a:gd name="T47" fmla="*/ 102 h 198"/>
                <a:gd name="T48" fmla="*/ 88 w 192"/>
                <a:gd name="T49" fmla="*/ 0 h 198"/>
                <a:gd name="T50" fmla="*/ 21 w 192"/>
                <a:gd name="T51" fmla="*/ 146 h 198"/>
                <a:gd name="T52" fmla="*/ 110 w 192"/>
                <a:gd name="T53" fmla="*/ 172 h 198"/>
                <a:gd name="T54" fmla="*/ 171 w 192"/>
                <a:gd name="T55" fmla="*/ 86 h 198"/>
                <a:gd name="T56" fmla="*/ 153 w 192"/>
                <a:gd name="T57" fmla="*/ 37 h 198"/>
                <a:gd name="T58" fmla="*/ 127 w 192"/>
                <a:gd name="T59" fmla="*/ 38 h 198"/>
                <a:gd name="T60" fmla="*/ 147 w 192"/>
                <a:gd name="T61" fmla="*/ 30 h 198"/>
                <a:gd name="T62" fmla="*/ 121 w 192"/>
                <a:gd name="T63" fmla="*/ 38 h 198"/>
                <a:gd name="T64" fmla="*/ 91 w 192"/>
                <a:gd name="T65" fmla="*/ 46 h 198"/>
                <a:gd name="T66" fmla="*/ 91 w 192"/>
                <a:gd name="T67" fmla="*/ 86 h 198"/>
                <a:gd name="T68" fmla="*/ 69 w 192"/>
                <a:gd name="T69" fmla="*/ 8 h 198"/>
                <a:gd name="T70" fmla="*/ 30 w 192"/>
                <a:gd name="T71" fmla="*/ 30 h 198"/>
                <a:gd name="T72" fmla="*/ 41 w 192"/>
                <a:gd name="T73" fmla="*/ 86 h 198"/>
                <a:gd name="T74" fmla="*/ 24 w 192"/>
                <a:gd name="T75" fmla="*/ 141 h 198"/>
                <a:gd name="T76" fmla="*/ 48 w 192"/>
                <a:gd name="T77" fmla="*/ 135 h 198"/>
                <a:gd name="T78" fmla="*/ 28 w 192"/>
                <a:gd name="T79" fmla="*/ 145 h 198"/>
                <a:gd name="T80" fmla="*/ 69 w 192"/>
                <a:gd name="T81" fmla="*/ 169 h 198"/>
                <a:gd name="T82" fmla="*/ 73 w 192"/>
                <a:gd name="T83" fmla="*/ 166 h 198"/>
                <a:gd name="T84" fmla="*/ 86 w 192"/>
                <a:gd name="T85" fmla="*/ 172 h 198"/>
                <a:gd name="T86" fmla="*/ 47 w 192"/>
                <a:gd name="T87" fmla="*/ 92 h 198"/>
                <a:gd name="T88" fmla="*/ 86 w 192"/>
                <a:gd name="T89" fmla="*/ 86 h 198"/>
                <a:gd name="T90" fmla="*/ 86 w 192"/>
                <a:gd name="T91" fmla="*/ 46 h 198"/>
                <a:gd name="T92" fmla="*/ 55 w 192"/>
                <a:gd name="T93" fmla="*/ 38 h 198"/>
                <a:gd name="T94" fmla="*/ 86 w 192"/>
                <a:gd name="T95" fmla="*/ 6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92" h="198">
                  <a:moveTo>
                    <a:pt x="190" y="114"/>
                  </a:moveTo>
                  <a:cubicBezTo>
                    <a:pt x="190" y="114"/>
                    <a:pt x="190" y="113"/>
                    <a:pt x="190" y="113"/>
                  </a:cubicBezTo>
                  <a:cubicBezTo>
                    <a:pt x="189" y="113"/>
                    <a:pt x="189" y="112"/>
                    <a:pt x="189" y="112"/>
                  </a:cubicBezTo>
                  <a:cubicBezTo>
                    <a:pt x="189" y="110"/>
                    <a:pt x="188" y="109"/>
                    <a:pt x="186" y="110"/>
                  </a:cubicBezTo>
                  <a:cubicBezTo>
                    <a:pt x="186" y="110"/>
                    <a:pt x="186" y="110"/>
                    <a:pt x="186" y="110"/>
                  </a:cubicBezTo>
                  <a:cubicBezTo>
                    <a:pt x="185" y="110"/>
                    <a:pt x="180" y="111"/>
                    <a:pt x="173" y="111"/>
                  </a:cubicBezTo>
                  <a:cubicBezTo>
                    <a:pt x="166" y="111"/>
                    <a:pt x="157" y="110"/>
                    <a:pt x="150" y="106"/>
                  </a:cubicBezTo>
                  <a:cubicBezTo>
                    <a:pt x="150" y="106"/>
                    <a:pt x="149" y="106"/>
                    <a:pt x="148" y="106"/>
                  </a:cubicBezTo>
                  <a:cubicBezTo>
                    <a:pt x="141" y="110"/>
                    <a:pt x="132" y="111"/>
                    <a:pt x="125" y="111"/>
                  </a:cubicBezTo>
                  <a:cubicBezTo>
                    <a:pt x="121" y="111"/>
                    <a:pt x="118" y="110"/>
                    <a:pt x="116" y="110"/>
                  </a:cubicBezTo>
                  <a:cubicBezTo>
                    <a:pt x="115" y="110"/>
                    <a:pt x="114" y="110"/>
                    <a:pt x="113" y="110"/>
                  </a:cubicBezTo>
                  <a:cubicBezTo>
                    <a:pt x="113" y="110"/>
                    <a:pt x="112" y="110"/>
                    <a:pt x="112" y="110"/>
                  </a:cubicBezTo>
                  <a:cubicBezTo>
                    <a:pt x="112" y="110"/>
                    <a:pt x="112" y="110"/>
                    <a:pt x="112" y="110"/>
                  </a:cubicBezTo>
                  <a:cubicBezTo>
                    <a:pt x="111" y="109"/>
                    <a:pt x="109" y="110"/>
                    <a:pt x="109" y="112"/>
                  </a:cubicBezTo>
                  <a:cubicBezTo>
                    <a:pt x="107" y="121"/>
                    <a:pt x="106" y="130"/>
                    <a:pt x="106" y="137"/>
                  </a:cubicBezTo>
                  <a:cubicBezTo>
                    <a:pt x="106" y="148"/>
                    <a:pt x="108" y="158"/>
                    <a:pt x="112" y="165"/>
                  </a:cubicBezTo>
                  <a:cubicBezTo>
                    <a:pt x="115" y="171"/>
                    <a:pt x="118" y="176"/>
                    <a:pt x="122" y="180"/>
                  </a:cubicBezTo>
                  <a:cubicBezTo>
                    <a:pt x="123" y="180"/>
                    <a:pt x="123" y="180"/>
                    <a:pt x="123" y="180"/>
                  </a:cubicBezTo>
                  <a:cubicBezTo>
                    <a:pt x="126" y="183"/>
                    <a:pt x="129" y="186"/>
                    <a:pt x="132" y="188"/>
                  </a:cubicBezTo>
                  <a:cubicBezTo>
                    <a:pt x="136" y="190"/>
                    <a:pt x="139" y="192"/>
                    <a:pt x="142" y="193"/>
                  </a:cubicBezTo>
                  <a:cubicBezTo>
                    <a:pt x="145" y="195"/>
                    <a:pt x="146" y="196"/>
                    <a:pt x="147" y="197"/>
                  </a:cubicBezTo>
                  <a:cubicBezTo>
                    <a:pt x="147" y="197"/>
                    <a:pt x="148" y="198"/>
                    <a:pt x="149" y="198"/>
                  </a:cubicBezTo>
                  <a:cubicBezTo>
                    <a:pt x="150" y="198"/>
                    <a:pt x="151" y="197"/>
                    <a:pt x="151" y="197"/>
                  </a:cubicBezTo>
                  <a:cubicBezTo>
                    <a:pt x="152" y="196"/>
                    <a:pt x="152" y="196"/>
                    <a:pt x="154" y="195"/>
                  </a:cubicBezTo>
                  <a:cubicBezTo>
                    <a:pt x="156" y="193"/>
                    <a:pt x="160" y="191"/>
                    <a:pt x="164" y="189"/>
                  </a:cubicBezTo>
                  <a:cubicBezTo>
                    <a:pt x="170" y="185"/>
                    <a:pt x="177" y="180"/>
                    <a:pt x="183" y="171"/>
                  </a:cubicBezTo>
                  <a:cubicBezTo>
                    <a:pt x="188" y="164"/>
                    <a:pt x="191" y="155"/>
                    <a:pt x="192" y="143"/>
                  </a:cubicBezTo>
                  <a:cubicBezTo>
                    <a:pt x="192" y="143"/>
                    <a:pt x="192" y="143"/>
                    <a:pt x="192" y="143"/>
                  </a:cubicBezTo>
                  <a:cubicBezTo>
                    <a:pt x="192" y="141"/>
                    <a:pt x="192" y="139"/>
                    <a:pt x="192" y="137"/>
                  </a:cubicBezTo>
                  <a:cubicBezTo>
                    <a:pt x="192" y="130"/>
                    <a:pt x="192" y="122"/>
                    <a:pt x="190" y="114"/>
                  </a:cubicBezTo>
                  <a:moveTo>
                    <a:pt x="111" y="137"/>
                  </a:moveTo>
                  <a:cubicBezTo>
                    <a:pt x="111" y="131"/>
                    <a:pt x="112" y="124"/>
                    <a:pt x="114" y="116"/>
                  </a:cubicBezTo>
                  <a:cubicBezTo>
                    <a:pt x="116" y="116"/>
                    <a:pt x="120" y="116"/>
                    <a:pt x="125" y="116"/>
                  </a:cubicBezTo>
                  <a:cubicBezTo>
                    <a:pt x="132" y="116"/>
                    <a:pt x="141" y="115"/>
                    <a:pt x="149" y="112"/>
                  </a:cubicBezTo>
                  <a:cubicBezTo>
                    <a:pt x="157" y="115"/>
                    <a:pt x="166" y="116"/>
                    <a:pt x="173" y="116"/>
                  </a:cubicBezTo>
                  <a:cubicBezTo>
                    <a:pt x="174" y="116"/>
                    <a:pt x="176" y="116"/>
                    <a:pt x="177" y="116"/>
                  </a:cubicBezTo>
                  <a:cubicBezTo>
                    <a:pt x="113" y="151"/>
                    <a:pt x="113" y="151"/>
                    <a:pt x="113" y="151"/>
                  </a:cubicBezTo>
                  <a:cubicBezTo>
                    <a:pt x="112" y="147"/>
                    <a:pt x="111" y="142"/>
                    <a:pt x="111" y="137"/>
                  </a:cubicBezTo>
                  <a:moveTo>
                    <a:pt x="181" y="163"/>
                  </a:moveTo>
                  <a:cubicBezTo>
                    <a:pt x="177" y="172"/>
                    <a:pt x="169" y="179"/>
                    <a:pt x="163" y="183"/>
                  </a:cubicBezTo>
                  <a:cubicBezTo>
                    <a:pt x="159" y="185"/>
                    <a:pt x="156" y="187"/>
                    <a:pt x="153" y="188"/>
                  </a:cubicBezTo>
                  <a:cubicBezTo>
                    <a:pt x="152" y="189"/>
                    <a:pt x="150" y="190"/>
                    <a:pt x="149" y="191"/>
                  </a:cubicBezTo>
                  <a:cubicBezTo>
                    <a:pt x="148" y="191"/>
                    <a:pt x="148" y="190"/>
                    <a:pt x="147" y="190"/>
                  </a:cubicBezTo>
                  <a:cubicBezTo>
                    <a:pt x="144" y="188"/>
                    <a:pt x="141" y="186"/>
                    <a:pt x="137" y="184"/>
                  </a:cubicBezTo>
                  <a:cubicBezTo>
                    <a:pt x="135" y="182"/>
                    <a:pt x="132" y="181"/>
                    <a:pt x="129" y="178"/>
                  </a:cubicBezTo>
                  <a:cubicBezTo>
                    <a:pt x="186" y="148"/>
                    <a:pt x="186" y="148"/>
                    <a:pt x="186" y="148"/>
                  </a:cubicBezTo>
                  <a:cubicBezTo>
                    <a:pt x="185" y="154"/>
                    <a:pt x="183" y="158"/>
                    <a:pt x="181" y="163"/>
                  </a:cubicBezTo>
                  <a:moveTo>
                    <a:pt x="187" y="141"/>
                  </a:moveTo>
                  <a:cubicBezTo>
                    <a:pt x="125" y="174"/>
                    <a:pt x="125" y="174"/>
                    <a:pt x="125" y="174"/>
                  </a:cubicBezTo>
                  <a:cubicBezTo>
                    <a:pt x="123" y="173"/>
                    <a:pt x="122" y="171"/>
                    <a:pt x="120" y="168"/>
                  </a:cubicBezTo>
                  <a:cubicBezTo>
                    <a:pt x="118" y="165"/>
                    <a:pt x="116" y="161"/>
                    <a:pt x="114" y="156"/>
                  </a:cubicBezTo>
                  <a:cubicBezTo>
                    <a:pt x="185" y="118"/>
                    <a:pt x="185" y="118"/>
                    <a:pt x="185" y="118"/>
                  </a:cubicBezTo>
                  <a:cubicBezTo>
                    <a:pt x="186" y="125"/>
                    <a:pt x="187" y="131"/>
                    <a:pt x="187" y="137"/>
                  </a:cubicBezTo>
                  <a:cubicBezTo>
                    <a:pt x="187" y="138"/>
                    <a:pt x="187" y="140"/>
                    <a:pt x="187" y="141"/>
                  </a:cubicBezTo>
                  <a:moveTo>
                    <a:pt x="107" y="170"/>
                  </a:moveTo>
                  <a:cubicBezTo>
                    <a:pt x="108" y="169"/>
                    <a:pt x="108" y="168"/>
                    <a:pt x="107" y="167"/>
                  </a:cubicBezTo>
                  <a:cubicBezTo>
                    <a:pt x="106" y="166"/>
                    <a:pt x="104" y="165"/>
                    <a:pt x="103" y="166"/>
                  </a:cubicBezTo>
                  <a:cubicBezTo>
                    <a:pt x="99" y="169"/>
                    <a:pt x="95" y="171"/>
                    <a:pt x="91" y="172"/>
                  </a:cubicBezTo>
                  <a:cubicBezTo>
                    <a:pt x="91" y="137"/>
                    <a:pt x="91" y="137"/>
                    <a:pt x="91" y="137"/>
                  </a:cubicBezTo>
                  <a:cubicBezTo>
                    <a:pt x="93" y="137"/>
                    <a:pt x="96" y="137"/>
                    <a:pt x="98" y="137"/>
                  </a:cubicBezTo>
                  <a:cubicBezTo>
                    <a:pt x="100" y="137"/>
                    <a:pt x="101" y="136"/>
                    <a:pt x="101" y="135"/>
                  </a:cubicBezTo>
                  <a:cubicBezTo>
                    <a:pt x="101" y="133"/>
                    <a:pt x="100" y="132"/>
                    <a:pt x="98" y="132"/>
                  </a:cubicBezTo>
                  <a:cubicBezTo>
                    <a:pt x="96" y="132"/>
                    <a:pt x="93" y="132"/>
                    <a:pt x="91" y="132"/>
                  </a:cubicBezTo>
                  <a:cubicBezTo>
                    <a:pt x="91" y="92"/>
                    <a:pt x="91" y="92"/>
                    <a:pt x="91" y="92"/>
                  </a:cubicBezTo>
                  <a:cubicBezTo>
                    <a:pt x="130" y="92"/>
                    <a:pt x="130" y="92"/>
                    <a:pt x="130" y="92"/>
                  </a:cubicBezTo>
                  <a:cubicBezTo>
                    <a:pt x="130" y="95"/>
                    <a:pt x="130" y="98"/>
                    <a:pt x="129" y="101"/>
                  </a:cubicBezTo>
                  <a:cubicBezTo>
                    <a:pt x="129" y="103"/>
                    <a:pt x="130" y="104"/>
                    <a:pt x="132" y="104"/>
                  </a:cubicBezTo>
                  <a:cubicBezTo>
                    <a:pt x="134" y="104"/>
                    <a:pt x="135" y="103"/>
                    <a:pt x="135" y="102"/>
                  </a:cubicBezTo>
                  <a:cubicBezTo>
                    <a:pt x="135" y="98"/>
                    <a:pt x="135" y="95"/>
                    <a:pt x="135" y="92"/>
                  </a:cubicBezTo>
                  <a:cubicBezTo>
                    <a:pt x="171" y="92"/>
                    <a:pt x="171" y="92"/>
                    <a:pt x="171" y="92"/>
                  </a:cubicBezTo>
                  <a:cubicBezTo>
                    <a:pt x="171" y="94"/>
                    <a:pt x="171" y="96"/>
                    <a:pt x="171" y="99"/>
                  </a:cubicBezTo>
                  <a:cubicBezTo>
                    <a:pt x="171" y="100"/>
                    <a:pt x="172" y="102"/>
                    <a:pt x="173" y="102"/>
                  </a:cubicBezTo>
                  <a:cubicBezTo>
                    <a:pt x="175" y="102"/>
                    <a:pt x="176" y="101"/>
                    <a:pt x="176" y="99"/>
                  </a:cubicBezTo>
                  <a:cubicBezTo>
                    <a:pt x="177" y="96"/>
                    <a:pt x="177" y="92"/>
                    <a:pt x="177" y="89"/>
                  </a:cubicBezTo>
                  <a:cubicBezTo>
                    <a:pt x="177" y="40"/>
                    <a:pt x="137" y="0"/>
                    <a:pt x="88" y="0"/>
                  </a:cubicBezTo>
                  <a:cubicBezTo>
                    <a:pt x="39" y="0"/>
                    <a:pt x="0" y="40"/>
                    <a:pt x="0" y="89"/>
                  </a:cubicBezTo>
                  <a:cubicBezTo>
                    <a:pt x="0" y="111"/>
                    <a:pt x="8" y="130"/>
                    <a:pt x="21" y="146"/>
                  </a:cubicBezTo>
                  <a:cubicBezTo>
                    <a:pt x="21" y="146"/>
                    <a:pt x="21" y="146"/>
                    <a:pt x="21" y="146"/>
                  </a:cubicBezTo>
                  <a:cubicBezTo>
                    <a:pt x="37" y="165"/>
                    <a:pt x="61" y="177"/>
                    <a:pt x="88" y="177"/>
                  </a:cubicBezTo>
                  <a:cubicBezTo>
                    <a:pt x="95" y="177"/>
                    <a:pt x="101" y="177"/>
                    <a:pt x="108" y="175"/>
                  </a:cubicBezTo>
                  <a:cubicBezTo>
                    <a:pt x="109" y="175"/>
                    <a:pt x="110" y="174"/>
                    <a:pt x="110" y="172"/>
                  </a:cubicBezTo>
                  <a:cubicBezTo>
                    <a:pt x="109" y="171"/>
                    <a:pt x="108" y="170"/>
                    <a:pt x="107" y="170"/>
                  </a:cubicBezTo>
                  <a:moveTo>
                    <a:pt x="153" y="37"/>
                  </a:moveTo>
                  <a:cubicBezTo>
                    <a:pt x="164" y="51"/>
                    <a:pt x="171" y="68"/>
                    <a:pt x="171" y="86"/>
                  </a:cubicBezTo>
                  <a:cubicBezTo>
                    <a:pt x="135" y="86"/>
                    <a:pt x="135" y="86"/>
                    <a:pt x="135" y="86"/>
                  </a:cubicBezTo>
                  <a:cubicBezTo>
                    <a:pt x="135" y="70"/>
                    <a:pt x="133" y="56"/>
                    <a:pt x="129" y="43"/>
                  </a:cubicBezTo>
                  <a:cubicBezTo>
                    <a:pt x="138" y="41"/>
                    <a:pt x="146" y="39"/>
                    <a:pt x="153" y="37"/>
                  </a:cubicBezTo>
                  <a:moveTo>
                    <a:pt x="147" y="30"/>
                  </a:moveTo>
                  <a:cubicBezTo>
                    <a:pt x="148" y="31"/>
                    <a:pt x="148" y="32"/>
                    <a:pt x="149" y="32"/>
                  </a:cubicBezTo>
                  <a:cubicBezTo>
                    <a:pt x="143" y="35"/>
                    <a:pt x="135" y="36"/>
                    <a:pt x="127" y="38"/>
                  </a:cubicBezTo>
                  <a:cubicBezTo>
                    <a:pt x="125" y="34"/>
                    <a:pt x="124" y="30"/>
                    <a:pt x="122" y="27"/>
                  </a:cubicBezTo>
                  <a:cubicBezTo>
                    <a:pt x="118" y="19"/>
                    <a:pt x="113" y="13"/>
                    <a:pt x="108" y="8"/>
                  </a:cubicBezTo>
                  <a:cubicBezTo>
                    <a:pt x="123" y="12"/>
                    <a:pt x="136" y="20"/>
                    <a:pt x="147" y="30"/>
                  </a:cubicBezTo>
                  <a:moveTo>
                    <a:pt x="91" y="6"/>
                  </a:moveTo>
                  <a:cubicBezTo>
                    <a:pt x="96" y="7"/>
                    <a:pt x="100" y="9"/>
                    <a:pt x="104" y="12"/>
                  </a:cubicBezTo>
                  <a:cubicBezTo>
                    <a:pt x="111" y="18"/>
                    <a:pt x="117" y="27"/>
                    <a:pt x="121" y="38"/>
                  </a:cubicBezTo>
                  <a:cubicBezTo>
                    <a:pt x="112" y="40"/>
                    <a:pt x="102" y="41"/>
                    <a:pt x="91" y="41"/>
                  </a:cubicBezTo>
                  <a:lnTo>
                    <a:pt x="91" y="6"/>
                  </a:lnTo>
                  <a:close/>
                  <a:moveTo>
                    <a:pt x="91" y="46"/>
                  </a:moveTo>
                  <a:cubicBezTo>
                    <a:pt x="102" y="46"/>
                    <a:pt x="113" y="45"/>
                    <a:pt x="123" y="44"/>
                  </a:cubicBezTo>
                  <a:cubicBezTo>
                    <a:pt x="127" y="56"/>
                    <a:pt x="130" y="71"/>
                    <a:pt x="130" y="86"/>
                  </a:cubicBezTo>
                  <a:cubicBezTo>
                    <a:pt x="91" y="86"/>
                    <a:pt x="91" y="86"/>
                    <a:pt x="91" y="86"/>
                  </a:cubicBezTo>
                  <a:lnTo>
                    <a:pt x="91" y="46"/>
                  </a:lnTo>
                  <a:close/>
                  <a:moveTo>
                    <a:pt x="30" y="30"/>
                  </a:moveTo>
                  <a:cubicBezTo>
                    <a:pt x="40" y="20"/>
                    <a:pt x="54" y="12"/>
                    <a:pt x="69" y="8"/>
                  </a:cubicBezTo>
                  <a:cubicBezTo>
                    <a:pt x="61" y="15"/>
                    <a:pt x="55" y="25"/>
                    <a:pt x="50" y="38"/>
                  </a:cubicBezTo>
                  <a:cubicBezTo>
                    <a:pt x="41" y="36"/>
                    <a:pt x="34" y="35"/>
                    <a:pt x="28" y="32"/>
                  </a:cubicBezTo>
                  <a:cubicBezTo>
                    <a:pt x="28" y="32"/>
                    <a:pt x="29" y="31"/>
                    <a:pt x="30" y="30"/>
                  </a:cubicBezTo>
                  <a:moveTo>
                    <a:pt x="24" y="37"/>
                  </a:moveTo>
                  <a:cubicBezTo>
                    <a:pt x="31" y="39"/>
                    <a:pt x="39" y="41"/>
                    <a:pt x="48" y="43"/>
                  </a:cubicBezTo>
                  <a:cubicBezTo>
                    <a:pt x="44" y="56"/>
                    <a:pt x="41" y="70"/>
                    <a:pt x="41" y="86"/>
                  </a:cubicBezTo>
                  <a:cubicBezTo>
                    <a:pt x="5" y="86"/>
                    <a:pt x="5" y="86"/>
                    <a:pt x="5" y="86"/>
                  </a:cubicBezTo>
                  <a:cubicBezTo>
                    <a:pt x="6" y="68"/>
                    <a:pt x="13" y="51"/>
                    <a:pt x="24" y="37"/>
                  </a:cubicBezTo>
                  <a:moveTo>
                    <a:pt x="24" y="141"/>
                  </a:moveTo>
                  <a:cubicBezTo>
                    <a:pt x="13" y="127"/>
                    <a:pt x="6" y="110"/>
                    <a:pt x="5" y="92"/>
                  </a:cubicBezTo>
                  <a:cubicBezTo>
                    <a:pt x="41" y="92"/>
                    <a:pt x="41" y="92"/>
                    <a:pt x="41" y="92"/>
                  </a:cubicBezTo>
                  <a:cubicBezTo>
                    <a:pt x="41" y="107"/>
                    <a:pt x="44" y="122"/>
                    <a:pt x="48" y="135"/>
                  </a:cubicBezTo>
                  <a:cubicBezTo>
                    <a:pt x="39" y="136"/>
                    <a:pt x="31" y="138"/>
                    <a:pt x="24" y="141"/>
                  </a:cubicBezTo>
                  <a:moveTo>
                    <a:pt x="30" y="148"/>
                  </a:moveTo>
                  <a:cubicBezTo>
                    <a:pt x="29" y="147"/>
                    <a:pt x="28" y="146"/>
                    <a:pt x="28" y="145"/>
                  </a:cubicBezTo>
                  <a:cubicBezTo>
                    <a:pt x="34" y="143"/>
                    <a:pt x="41" y="142"/>
                    <a:pt x="50" y="140"/>
                  </a:cubicBezTo>
                  <a:cubicBezTo>
                    <a:pt x="51" y="144"/>
                    <a:pt x="53" y="147"/>
                    <a:pt x="55" y="151"/>
                  </a:cubicBezTo>
                  <a:cubicBezTo>
                    <a:pt x="58" y="158"/>
                    <a:pt x="63" y="165"/>
                    <a:pt x="69" y="169"/>
                  </a:cubicBezTo>
                  <a:cubicBezTo>
                    <a:pt x="54" y="166"/>
                    <a:pt x="40" y="158"/>
                    <a:pt x="30" y="148"/>
                  </a:cubicBezTo>
                  <a:moveTo>
                    <a:pt x="86" y="172"/>
                  </a:moveTo>
                  <a:cubicBezTo>
                    <a:pt x="81" y="171"/>
                    <a:pt x="77" y="169"/>
                    <a:pt x="73" y="166"/>
                  </a:cubicBezTo>
                  <a:cubicBezTo>
                    <a:pt x="66" y="160"/>
                    <a:pt x="60" y="151"/>
                    <a:pt x="55" y="139"/>
                  </a:cubicBezTo>
                  <a:cubicBezTo>
                    <a:pt x="65" y="138"/>
                    <a:pt x="75" y="137"/>
                    <a:pt x="86" y="137"/>
                  </a:cubicBezTo>
                  <a:lnTo>
                    <a:pt x="86" y="172"/>
                  </a:lnTo>
                  <a:close/>
                  <a:moveTo>
                    <a:pt x="86" y="132"/>
                  </a:moveTo>
                  <a:cubicBezTo>
                    <a:pt x="74" y="132"/>
                    <a:pt x="63" y="133"/>
                    <a:pt x="54" y="134"/>
                  </a:cubicBezTo>
                  <a:cubicBezTo>
                    <a:pt x="50" y="122"/>
                    <a:pt x="47" y="107"/>
                    <a:pt x="47" y="92"/>
                  </a:cubicBezTo>
                  <a:cubicBezTo>
                    <a:pt x="86" y="92"/>
                    <a:pt x="86" y="92"/>
                    <a:pt x="86" y="92"/>
                  </a:cubicBezTo>
                  <a:lnTo>
                    <a:pt x="86" y="132"/>
                  </a:lnTo>
                  <a:close/>
                  <a:moveTo>
                    <a:pt x="86" y="86"/>
                  </a:moveTo>
                  <a:cubicBezTo>
                    <a:pt x="47" y="86"/>
                    <a:pt x="47" y="86"/>
                    <a:pt x="47" y="86"/>
                  </a:cubicBezTo>
                  <a:cubicBezTo>
                    <a:pt x="47" y="71"/>
                    <a:pt x="50" y="56"/>
                    <a:pt x="54" y="44"/>
                  </a:cubicBezTo>
                  <a:cubicBezTo>
                    <a:pt x="63" y="45"/>
                    <a:pt x="74" y="46"/>
                    <a:pt x="86" y="46"/>
                  </a:cubicBezTo>
                  <a:lnTo>
                    <a:pt x="86" y="86"/>
                  </a:lnTo>
                  <a:close/>
                  <a:moveTo>
                    <a:pt x="86" y="41"/>
                  </a:moveTo>
                  <a:cubicBezTo>
                    <a:pt x="75" y="41"/>
                    <a:pt x="65" y="40"/>
                    <a:pt x="55" y="38"/>
                  </a:cubicBezTo>
                  <a:cubicBezTo>
                    <a:pt x="57" y="35"/>
                    <a:pt x="58" y="32"/>
                    <a:pt x="59" y="30"/>
                  </a:cubicBezTo>
                  <a:cubicBezTo>
                    <a:pt x="63" y="22"/>
                    <a:pt x="68" y="16"/>
                    <a:pt x="73" y="12"/>
                  </a:cubicBezTo>
                  <a:cubicBezTo>
                    <a:pt x="77" y="9"/>
                    <a:pt x="81" y="7"/>
                    <a:pt x="86" y="6"/>
                  </a:cubicBezTo>
                  <a:lnTo>
                    <a:pt x="86" y="4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</a:pPr>
              <a:endParaRPr lang="en-GB" sz="1700" dirty="0">
                <a:solidFill>
                  <a:prstClr val="black"/>
                </a:solidFill>
                <a:latin typeface="Arial" panose="020B0604020202090204" pitchFamily="34" charset="0"/>
                <a:ea typeface="MS PGothic" pitchFamily="34" charset="-128"/>
              </a:endParaRPr>
            </a:p>
          </p:txBody>
        </p:sp>
        <p:sp>
          <p:nvSpPr>
            <p:cNvPr id="29" name="Freeform 34"/>
            <p:cNvSpPr>
              <a:spLocks noEditPoints="1"/>
            </p:cNvSpPr>
            <p:nvPr/>
          </p:nvSpPr>
          <p:spPr bwMode="auto">
            <a:xfrm>
              <a:off x="8252935" y="6059922"/>
              <a:ext cx="186282" cy="283038"/>
            </a:xfrm>
            <a:custGeom>
              <a:avLst/>
              <a:gdLst>
                <a:gd name="T0" fmla="*/ 118 w 142"/>
                <a:gd name="T1" fmla="*/ 47 h 216"/>
                <a:gd name="T2" fmla="*/ 24 w 142"/>
                <a:gd name="T3" fmla="*/ 47 h 216"/>
                <a:gd name="T4" fmla="*/ 0 w 142"/>
                <a:gd name="T5" fmla="*/ 145 h 216"/>
                <a:gd name="T6" fmla="*/ 142 w 142"/>
                <a:gd name="T7" fmla="*/ 145 h 216"/>
                <a:gd name="T8" fmla="*/ 42 w 142"/>
                <a:gd name="T9" fmla="*/ 17 h 216"/>
                <a:gd name="T10" fmla="*/ 100 w 142"/>
                <a:gd name="T11" fmla="*/ 17 h 216"/>
                <a:gd name="T12" fmla="*/ 113 w 142"/>
                <a:gd name="T13" fmla="*/ 88 h 216"/>
                <a:gd name="T14" fmla="*/ 30 w 142"/>
                <a:gd name="T15" fmla="*/ 88 h 216"/>
                <a:gd name="T16" fmla="*/ 42 w 142"/>
                <a:gd name="T17" fmla="*/ 17 h 216"/>
                <a:gd name="T18" fmla="*/ 71 w 142"/>
                <a:gd name="T19" fmla="*/ 211 h 216"/>
                <a:gd name="T20" fmla="*/ 6 w 142"/>
                <a:gd name="T21" fmla="*/ 145 h 216"/>
                <a:gd name="T22" fmla="*/ 71 w 142"/>
                <a:gd name="T23" fmla="*/ 80 h 216"/>
                <a:gd name="T24" fmla="*/ 137 w 142"/>
                <a:gd name="T25" fmla="*/ 145 h 216"/>
                <a:gd name="T26" fmla="*/ 93 w 142"/>
                <a:gd name="T27" fmla="*/ 104 h 216"/>
                <a:gd name="T28" fmla="*/ 54 w 142"/>
                <a:gd name="T29" fmla="*/ 106 h 216"/>
                <a:gd name="T30" fmla="*/ 29 w 142"/>
                <a:gd name="T31" fmla="*/ 147 h 216"/>
                <a:gd name="T32" fmla="*/ 69 w 142"/>
                <a:gd name="T33" fmla="*/ 189 h 216"/>
                <a:gd name="T34" fmla="*/ 92 w 142"/>
                <a:gd name="T35" fmla="*/ 180 h 216"/>
                <a:gd name="T36" fmla="*/ 69 w 142"/>
                <a:gd name="T37" fmla="*/ 184 h 216"/>
                <a:gd name="T38" fmla="*/ 35 w 142"/>
                <a:gd name="T39" fmla="*/ 147 h 216"/>
                <a:gd name="T40" fmla="*/ 57 w 142"/>
                <a:gd name="T41" fmla="*/ 111 h 216"/>
                <a:gd name="T42" fmla="*/ 91 w 142"/>
                <a:gd name="T43" fmla="*/ 109 h 216"/>
                <a:gd name="T44" fmla="*/ 106 w 142"/>
                <a:gd name="T45" fmla="*/ 138 h 216"/>
                <a:gd name="T46" fmla="*/ 91 w 142"/>
                <a:gd name="T47" fmla="*/ 163 h 216"/>
                <a:gd name="T48" fmla="*/ 88 w 142"/>
                <a:gd name="T49" fmla="*/ 162 h 216"/>
                <a:gd name="T50" fmla="*/ 86 w 142"/>
                <a:gd name="T51" fmla="*/ 156 h 216"/>
                <a:gd name="T52" fmla="*/ 90 w 142"/>
                <a:gd name="T53" fmla="*/ 124 h 216"/>
                <a:gd name="T54" fmla="*/ 58 w 142"/>
                <a:gd name="T55" fmla="*/ 131 h 216"/>
                <a:gd name="T56" fmla="*/ 54 w 142"/>
                <a:gd name="T57" fmla="*/ 163 h 216"/>
                <a:gd name="T58" fmla="*/ 81 w 142"/>
                <a:gd name="T59" fmla="*/ 158 h 216"/>
                <a:gd name="T60" fmla="*/ 86 w 142"/>
                <a:gd name="T61" fmla="*/ 167 h 216"/>
                <a:gd name="T62" fmla="*/ 91 w 142"/>
                <a:gd name="T63" fmla="*/ 168 h 216"/>
                <a:gd name="T64" fmla="*/ 112 w 142"/>
                <a:gd name="T65" fmla="*/ 138 h 216"/>
                <a:gd name="T66" fmla="*/ 93 w 142"/>
                <a:gd name="T67" fmla="*/ 104 h 216"/>
                <a:gd name="T68" fmla="*/ 82 w 142"/>
                <a:gd name="T69" fmla="*/ 144 h 216"/>
                <a:gd name="T70" fmla="*/ 58 w 142"/>
                <a:gd name="T71" fmla="*/ 160 h 216"/>
                <a:gd name="T72" fmla="*/ 62 w 142"/>
                <a:gd name="T73" fmla="*/ 135 h 216"/>
                <a:gd name="T74" fmla="*/ 86 w 142"/>
                <a:gd name="T75" fmla="*/ 129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42" h="216">
                  <a:moveTo>
                    <a:pt x="118" y="92"/>
                  </a:moveTo>
                  <a:cubicBezTo>
                    <a:pt x="118" y="47"/>
                    <a:pt x="118" y="47"/>
                    <a:pt x="118" y="47"/>
                  </a:cubicBezTo>
                  <a:cubicBezTo>
                    <a:pt x="118" y="21"/>
                    <a:pt x="97" y="0"/>
                    <a:pt x="71" y="0"/>
                  </a:cubicBezTo>
                  <a:cubicBezTo>
                    <a:pt x="45" y="0"/>
                    <a:pt x="24" y="21"/>
                    <a:pt x="24" y="47"/>
                  </a:cubicBezTo>
                  <a:cubicBezTo>
                    <a:pt x="24" y="92"/>
                    <a:pt x="24" y="92"/>
                    <a:pt x="24" y="92"/>
                  </a:cubicBezTo>
                  <a:cubicBezTo>
                    <a:pt x="10" y="105"/>
                    <a:pt x="0" y="124"/>
                    <a:pt x="0" y="145"/>
                  </a:cubicBezTo>
                  <a:cubicBezTo>
                    <a:pt x="0" y="184"/>
                    <a:pt x="32" y="216"/>
                    <a:pt x="71" y="216"/>
                  </a:cubicBezTo>
                  <a:cubicBezTo>
                    <a:pt x="110" y="216"/>
                    <a:pt x="142" y="184"/>
                    <a:pt x="142" y="145"/>
                  </a:cubicBezTo>
                  <a:cubicBezTo>
                    <a:pt x="142" y="124"/>
                    <a:pt x="133" y="105"/>
                    <a:pt x="118" y="92"/>
                  </a:cubicBezTo>
                  <a:moveTo>
                    <a:pt x="42" y="17"/>
                  </a:moveTo>
                  <a:cubicBezTo>
                    <a:pt x="49" y="10"/>
                    <a:pt x="60" y="5"/>
                    <a:pt x="71" y="5"/>
                  </a:cubicBezTo>
                  <a:cubicBezTo>
                    <a:pt x="83" y="5"/>
                    <a:pt x="93" y="10"/>
                    <a:pt x="100" y="17"/>
                  </a:cubicBezTo>
                  <a:cubicBezTo>
                    <a:pt x="108" y="25"/>
                    <a:pt x="113" y="35"/>
                    <a:pt x="113" y="47"/>
                  </a:cubicBezTo>
                  <a:cubicBezTo>
                    <a:pt x="113" y="88"/>
                    <a:pt x="113" y="88"/>
                    <a:pt x="113" y="88"/>
                  </a:cubicBezTo>
                  <a:cubicBezTo>
                    <a:pt x="101" y="79"/>
                    <a:pt x="87" y="74"/>
                    <a:pt x="71" y="74"/>
                  </a:cubicBezTo>
                  <a:cubicBezTo>
                    <a:pt x="56" y="74"/>
                    <a:pt x="42" y="79"/>
                    <a:pt x="30" y="88"/>
                  </a:cubicBezTo>
                  <a:cubicBezTo>
                    <a:pt x="30" y="47"/>
                    <a:pt x="30" y="47"/>
                    <a:pt x="30" y="47"/>
                  </a:cubicBezTo>
                  <a:cubicBezTo>
                    <a:pt x="30" y="35"/>
                    <a:pt x="34" y="25"/>
                    <a:pt x="42" y="17"/>
                  </a:cubicBezTo>
                  <a:moveTo>
                    <a:pt x="117" y="192"/>
                  </a:moveTo>
                  <a:cubicBezTo>
                    <a:pt x="106" y="203"/>
                    <a:pt x="89" y="211"/>
                    <a:pt x="71" y="211"/>
                  </a:cubicBezTo>
                  <a:cubicBezTo>
                    <a:pt x="53" y="211"/>
                    <a:pt x="37" y="203"/>
                    <a:pt x="25" y="192"/>
                  </a:cubicBezTo>
                  <a:cubicBezTo>
                    <a:pt x="13" y="180"/>
                    <a:pt x="6" y="163"/>
                    <a:pt x="6" y="145"/>
                  </a:cubicBezTo>
                  <a:cubicBezTo>
                    <a:pt x="6" y="127"/>
                    <a:pt x="13" y="111"/>
                    <a:pt x="25" y="99"/>
                  </a:cubicBezTo>
                  <a:cubicBezTo>
                    <a:pt x="37" y="87"/>
                    <a:pt x="53" y="80"/>
                    <a:pt x="71" y="80"/>
                  </a:cubicBezTo>
                  <a:cubicBezTo>
                    <a:pt x="89" y="80"/>
                    <a:pt x="106" y="87"/>
                    <a:pt x="117" y="99"/>
                  </a:cubicBezTo>
                  <a:cubicBezTo>
                    <a:pt x="129" y="111"/>
                    <a:pt x="137" y="127"/>
                    <a:pt x="137" y="145"/>
                  </a:cubicBezTo>
                  <a:cubicBezTo>
                    <a:pt x="137" y="163"/>
                    <a:pt x="129" y="180"/>
                    <a:pt x="117" y="192"/>
                  </a:cubicBezTo>
                  <a:moveTo>
                    <a:pt x="93" y="104"/>
                  </a:moveTo>
                  <a:cubicBezTo>
                    <a:pt x="88" y="102"/>
                    <a:pt x="82" y="101"/>
                    <a:pt x="76" y="101"/>
                  </a:cubicBezTo>
                  <a:cubicBezTo>
                    <a:pt x="69" y="101"/>
                    <a:pt x="61" y="102"/>
                    <a:pt x="54" y="106"/>
                  </a:cubicBezTo>
                  <a:cubicBezTo>
                    <a:pt x="47" y="109"/>
                    <a:pt x="41" y="114"/>
                    <a:pt x="37" y="120"/>
                  </a:cubicBezTo>
                  <a:cubicBezTo>
                    <a:pt x="31" y="128"/>
                    <a:pt x="29" y="138"/>
                    <a:pt x="29" y="147"/>
                  </a:cubicBezTo>
                  <a:cubicBezTo>
                    <a:pt x="29" y="161"/>
                    <a:pt x="34" y="174"/>
                    <a:pt x="43" y="181"/>
                  </a:cubicBezTo>
                  <a:cubicBezTo>
                    <a:pt x="50" y="187"/>
                    <a:pt x="60" y="189"/>
                    <a:pt x="69" y="189"/>
                  </a:cubicBezTo>
                  <a:cubicBezTo>
                    <a:pt x="77" y="189"/>
                    <a:pt x="85" y="187"/>
                    <a:pt x="91" y="184"/>
                  </a:cubicBezTo>
                  <a:cubicBezTo>
                    <a:pt x="92" y="183"/>
                    <a:pt x="92" y="182"/>
                    <a:pt x="92" y="180"/>
                  </a:cubicBezTo>
                  <a:cubicBezTo>
                    <a:pt x="91" y="179"/>
                    <a:pt x="89" y="179"/>
                    <a:pt x="88" y="179"/>
                  </a:cubicBezTo>
                  <a:cubicBezTo>
                    <a:pt x="84" y="182"/>
                    <a:pt x="76" y="184"/>
                    <a:pt x="69" y="184"/>
                  </a:cubicBezTo>
                  <a:cubicBezTo>
                    <a:pt x="60" y="184"/>
                    <a:pt x="52" y="182"/>
                    <a:pt x="46" y="177"/>
                  </a:cubicBezTo>
                  <a:cubicBezTo>
                    <a:pt x="40" y="171"/>
                    <a:pt x="35" y="160"/>
                    <a:pt x="35" y="147"/>
                  </a:cubicBezTo>
                  <a:cubicBezTo>
                    <a:pt x="35" y="139"/>
                    <a:pt x="37" y="130"/>
                    <a:pt x="42" y="123"/>
                  </a:cubicBezTo>
                  <a:cubicBezTo>
                    <a:pt x="45" y="118"/>
                    <a:pt x="51" y="114"/>
                    <a:pt x="57" y="111"/>
                  </a:cubicBezTo>
                  <a:cubicBezTo>
                    <a:pt x="63" y="108"/>
                    <a:pt x="69" y="106"/>
                    <a:pt x="76" y="106"/>
                  </a:cubicBezTo>
                  <a:cubicBezTo>
                    <a:pt x="81" y="106"/>
                    <a:pt x="86" y="107"/>
                    <a:pt x="91" y="109"/>
                  </a:cubicBezTo>
                  <a:cubicBezTo>
                    <a:pt x="95" y="112"/>
                    <a:pt x="99" y="115"/>
                    <a:pt x="101" y="120"/>
                  </a:cubicBezTo>
                  <a:cubicBezTo>
                    <a:pt x="105" y="126"/>
                    <a:pt x="106" y="133"/>
                    <a:pt x="106" y="138"/>
                  </a:cubicBezTo>
                  <a:cubicBezTo>
                    <a:pt x="106" y="145"/>
                    <a:pt x="104" y="151"/>
                    <a:pt x="101" y="156"/>
                  </a:cubicBezTo>
                  <a:cubicBezTo>
                    <a:pt x="98" y="160"/>
                    <a:pt x="94" y="162"/>
                    <a:pt x="91" y="163"/>
                  </a:cubicBezTo>
                  <a:cubicBezTo>
                    <a:pt x="91" y="163"/>
                    <a:pt x="90" y="163"/>
                    <a:pt x="90" y="163"/>
                  </a:cubicBezTo>
                  <a:cubicBezTo>
                    <a:pt x="89" y="163"/>
                    <a:pt x="89" y="162"/>
                    <a:pt x="88" y="162"/>
                  </a:cubicBezTo>
                  <a:cubicBezTo>
                    <a:pt x="88" y="162"/>
                    <a:pt x="87" y="161"/>
                    <a:pt x="87" y="160"/>
                  </a:cubicBezTo>
                  <a:cubicBezTo>
                    <a:pt x="87" y="159"/>
                    <a:pt x="86" y="158"/>
                    <a:pt x="86" y="156"/>
                  </a:cubicBezTo>
                  <a:cubicBezTo>
                    <a:pt x="86" y="149"/>
                    <a:pt x="89" y="137"/>
                    <a:pt x="92" y="127"/>
                  </a:cubicBezTo>
                  <a:cubicBezTo>
                    <a:pt x="92" y="126"/>
                    <a:pt x="91" y="124"/>
                    <a:pt x="90" y="124"/>
                  </a:cubicBezTo>
                  <a:cubicBezTo>
                    <a:pt x="86" y="123"/>
                    <a:pt x="83" y="122"/>
                    <a:pt x="79" y="122"/>
                  </a:cubicBezTo>
                  <a:cubicBezTo>
                    <a:pt x="71" y="122"/>
                    <a:pt x="63" y="126"/>
                    <a:pt x="58" y="131"/>
                  </a:cubicBezTo>
                  <a:cubicBezTo>
                    <a:pt x="53" y="137"/>
                    <a:pt x="50" y="144"/>
                    <a:pt x="50" y="153"/>
                  </a:cubicBezTo>
                  <a:cubicBezTo>
                    <a:pt x="50" y="157"/>
                    <a:pt x="51" y="161"/>
                    <a:pt x="54" y="163"/>
                  </a:cubicBezTo>
                  <a:cubicBezTo>
                    <a:pt x="56" y="166"/>
                    <a:pt x="60" y="167"/>
                    <a:pt x="63" y="167"/>
                  </a:cubicBezTo>
                  <a:cubicBezTo>
                    <a:pt x="69" y="167"/>
                    <a:pt x="76" y="164"/>
                    <a:pt x="81" y="158"/>
                  </a:cubicBezTo>
                  <a:cubicBezTo>
                    <a:pt x="81" y="160"/>
                    <a:pt x="82" y="162"/>
                    <a:pt x="83" y="164"/>
                  </a:cubicBezTo>
                  <a:cubicBezTo>
                    <a:pt x="83" y="165"/>
                    <a:pt x="84" y="166"/>
                    <a:pt x="86" y="167"/>
                  </a:cubicBezTo>
                  <a:cubicBezTo>
                    <a:pt x="87" y="168"/>
                    <a:pt x="89" y="168"/>
                    <a:pt x="90" y="168"/>
                  </a:cubicBezTo>
                  <a:cubicBezTo>
                    <a:pt x="91" y="168"/>
                    <a:pt x="91" y="168"/>
                    <a:pt x="91" y="168"/>
                  </a:cubicBezTo>
                  <a:cubicBezTo>
                    <a:pt x="97" y="168"/>
                    <a:pt x="102" y="164"/>
                    <a:pt x="106" y="159"/>
                  </a:cubicBezTo>
                  <a:cubicBezTo>
                    <a:pt x="109" y="154"/>
                    <a:pt x="112" y="147"/>
                    <a:pt x="112" y="138"/>
                  </a:cubicBezTo>
                  <a:cubicBezTo>
                    <a:pt x="112" y="132"/>
                    <a:pt x="110" y="125"/>
                    <a:pt x="106" y="117"/>
                  </a:cubicBezTo>
                  <a:cubicBezTo>
                    <a:pt x="103" y="111"/>
                    <a:pt x="98" y="107"/>
                    <a:pt x="93" y="104"/>
                  </a:cubicBezTo>
                  <a:moveTo>
                    <a:pt x="82" y="144"/>
                  </a:moveTo>
                  <a:cubicBezTo>
                    <a:pt x="82" y="144"/>
                    <a:pt x="82" y="144"/>
                    <a:pt x="82" y="144"/>
                  </a:cubicBezTo>
                  <a:cubicBezTo>
                    <a:pt x="78" y="156"/>
                    <a:pt x="70" y="162"/>
                    <a:pt x="63" y="162"/>
                  </a:cubicBezTo>
                  <a:cubicBezTo>
                    <a:pt x="61" y="162"/>
                    <a:pt x="59" y="161"/>
                    <a:pt x="58" y="160"/>
                  </a:cubicBezTo>
                  <a:cubicBezTo>
                    <a:pt x="56" y="158"/>
                    <a:pt x="55" y="156"/>
                    <a:pt x="55" y="153"/>
                  </a:cubicBezTo>
                  <a:cubicBezTo>
                    <a:pt x="55" y="146"/>
                    <a:pt x="58" y="139"/>
                    <a:pt x="62" y="135"/>
                  </a:cubicBezTo>
                  <a:cubicBezTo>
                    <a:pt x="66" y="131"/>
                    <a:pt x="72" y="128"/>
                    <a:pt x="79" y="128"/>
                  </a:cubicBezTo>
                  <a:cubicBezTo>
                    <a:pt x="81" y="128"/>
                    <a:pt x="83" y="128"/>
                    <a:pt x="86" y="129"/>
                  </a:cubicBezTo>
                  <a:cubicBezTo>
                    <a:pt x="85" y="134"/>
                    <a:pt x="83" y="139"/>
                    <a:pt x="82" y="14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</a:pPr>
              <a:endParaRPr lang="en-GB" sz="1700" dirty="0">
                <a:solidFill>
                  <a:prstClr val="black"/>
                </a:solidFill>
                <a:latin typeface="Arial" panose="020B0604020202090204" pitchFamily="34" charset="0"/>
                <a:ea typeface="MS PGothic" pitchFamily="34" charset="-128"/>
              </a:endParaRPr>
            </a:p>
          </p:txBody>
        </p:sp>
        <p:sp>
          <p:nvSpPr>
            <p:cNvPr id="30" name="Freeform 35"/>
            <p:cNvSpPr>
              <a:spLocks noEditPoints="1"/>
            </p:cNvSpPr>
            <p:nvPr/>
          </p:nvSpPr>
          <p:spPr bwMode="auto">
            <a:xfrm>
              <a:off x="7904838" y="6082165"/>
              <a:ext cx="185170" cy="262463"/>
            </a:xfrm>
            <a:custGeom>
              <a:avLst/>
              <a:gdLst>
                <a:gd name="T0" fmla="*/ 112 w 141"/>
                <a:gd name="T1" fmla="*/ 139 h 200"/>
                <a:gd name="T2" fmla="*/ 126 w 141"/>
                <a:gd name="T3" fmla="*/ 126 h 200"/>
                <a:gd name="T4" fmla="*/ 116 w 141"/>
                <a:gd name="T5" fmla="*/ 135 h 200"/>
                <a:gd name="T6" fmla="*/ 122 w 141"/>
                <a:gd name="T7" fmla="*/ 130 h 200"/>
                <a:gd name="T8" fmla="*/ 135 w 141"/>
                <a:gd name="T9" fmla="*/ 117 h 200"/>
                <a:gd name="T10" fmla="*/ 87 w 141"/>
                <a:gd name="T11" fmla="*/ 119 h 200"/>
                <a:gd name="T12" fmla="*/ 84 w 141"/>
                <a:gd name="T13" fmla="*/ 148 h 200"/>
                <a:gd name="T14" fmla="*/ 58 w 141"/>
                <a:gd name="T15" fmla="*/ 192 h 200"/>
                <a:gd name="T16" fmla="*/ 74 w 141"/>
                <a:gd name="T17" fmla="*/ 199 h 200"/>
                <a:gd name="T18" fmla="*/ 83 w 141"/>
                <a:gd name="T19" fmla="*/ 179 h 200"/>
                <a:gd name="T20" fmla="*/ 94 w 141"/>
                <a:gd name="T21" fmla="*/ 179 h 200"/>
                <a:gd name="T22" fmla="*/ 102 w 141"/>
                <a:gd name="T23" fmla="*/ 167 h 200"/>
                <a:gd name="T24" fmla="*/ 119 w 141"/>
                <a:gd name="T25" fmla="*/ 170 h 200"/>
                <a:gd name="T26" fmla="*/ 138 w 141"/>
                <a:gd name="T27" fmla="*/ 143 h 200"/>
                <a:gd name="T28" fmla="*/ 93 w 141"/>
                <a:gd name="T29" fmla="*/ 169 h 200"/>
                <a:gd name="T30" fmla="*/ 88 w 141"/>
                <a:gd name="T31" fmla="*/ 175 h 200"/>
                <a:gd name="T32" fmla="*/ 72 w 141"/>
                <a:gd name="T33" fmla="*/ 185 h 200"/>
                <a:gd name="T34" fmla="*/ 59 w 141"/>
                <a:gd name="T35" fmla="*/ 182 h 200"/>
                <a:gd name="T36" fmla="*/ 132 w 141"/>
                <a:gd name="T37" fmla="*/ 144 h 200"/>
                <a:gd name="T38" fmla="*/ 108 w 141"/>
                <a:gd name="T39" fmla="*/ 160 h 200"/>
                <a:gd name="T40" fmla="*/ 91 w 141"/>
                <a:gd name="T41" fmla="*/ 148 h 200"/>
                <a:gd name="T42" fmla="*/ 87 w 141"/>
                <a:gd name="T43" fmla="*/ 133 h 200"/>
                <a:gd name="T44" fmla="*/ 111 w 141"/>
                <a:gd name="T45" fmla="*/ 119 h 200"/>
                <a:gd name="T46" fmla="*/ 136 w 141"/>
                <a:gd name="T47" fmla="*/ 132 h 200"/>
                <a:gd name="T48" fmla="*/ 54 w 141"/>
                <a:gd name="T49" fmla="*/ 171 h 200"/>
                <a:gd name="T50" fmla="*/ 6 w 141"/>
                <a:gd name="T51" fmla="*/ 153 h 200"/>
                <a:gd name="T52" fmla="*/ 96 w 141"/>
                <a:gd name="T53" fmla="*/ 109 h 200"/>
                <a:gd name="T54" fmla="*/ 96 w 141"/>
                <a:gd name="T55" fmla="*/ 40 h 200"/>
                <a:gd name="T56" fmla="*/ 81 w 141"/>
                <a:gd name="T57" fmla="*/ 0 h 200"/>
                <a:gd name="T58" fmla="*/ 15 w 141"/>
                <a:gd name="T59" fmla="*/ 40 h 200"/>
                <a:gd name="T60" fmla="*/ 0 w 141"/>
                <a:gd name="T61" fmla="*/ 153 h 200"/>
                <a:gd name="T62" fmla="*/ 54 w 141"/>
                <a:gd name="T63" fmla="*/ 171 h 200"/>
                <a:gd name="T64" fmla="*/ 36 w 141"/>
                <a:gd name="T65" fmla="*/ 24 h 200"/>
                <a:gd name="T66" fmla="*/ 63 w 141"/>
                <a:gd name="T67" fmla="*/ 24 h 200"/>
                <a:gd name="T68" fmla="*/ 78 w 141"/>
                <a:gd name="T69" fmla="*/ 6 h 200"/>
                <a:gd name="T70" fmla="*/ 71 w 141"/>
                <a:gd name="T71" fmla="*/ 19 h 200"/>
                <a:gd name="T72" fmla="*/ 57 w 141"/>
                <a:gd name="T73" fmla="*/ 21 h 200"/>
                <a:gd name="T74" fmla="*/ 41 w 141"/>
                <a:gd name="T75" fmla="*/ 19 h 200"/>
                <a:gd name="T76" fmla="*/ 27 w 141"/>
                <a:gd name="T77" fmla="*/ 21 h 200"/>
                <a:gd name="T78" fmla="*/ 65 w 141"/>
                <a:gd name="T79" fmla="*/ 98 h 200"/>
                <a:gd name="T80" fmla="*/ 61 w 141"/>
                <a:gd name="T81" fmla="*/ 84 h 200"/>
                <a:gd name="T82" fmla="*/ 49 w 141"/>
                <a:gd name="T83" fmla="*/ 73 h 200"/>
                <a:gd name="T84" fmla="*/ 47 w 141"/>
                <a:gd name="T85" fmla="*/ 110 h 200"/>
                <a:gd name="T86" fmla="*/ 32 w 141"/>
                <a:gd name="T87" fmla="*/ 93 h 200"/>
                <a:gd name="T88" fmla="*/ 47 w 141"/>
                <a:gd name="T89" fmla="*/ 119 h 200"/>
                <a:gd name="T90" fmla="*/ 52 w 141"/>
                <a:gd name="T91" fmla="*/ 119 h 200"/>
                <a:gd name="T92" fmla="*/ 49 w 141"/>
                <a:gd name="T93" fmla="*/ 136 h 200"/>
                <a:gd name="T94" fmla="*/ 55 w 141"/>
                <a:gd name="T95" fmla="*/ 13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41" h="200">
                  <a:moveTo>
                    <a:pt x="119" y="123"/>
                  </a:moveTo>
                  <a:cubicBezTo>
                    <a:pt x="117" y="123"/>
                    <a:pt x="114" y="124"/>
                    <a:pt x="112" y="126"/>
                  </a:cubicBezTo>
                  <a:cubicBezTo>
                    <a:pt x="110" y="128"/>
                    <a:pt x="109" y="130"/>
                    <a:pt x="109" y="132"/>
                  </a:cubicBezTo>
                  <a:cubicBezTo>
                    <a:pt x="109" y="135"/>
                    <a:pt x="110" y="137"/>
                    <a:pt x="112" y="139"/>
                  </a:cubicBezTo>
                  <a:cubicBezTo>
                    <a:pt x="114" y="141"/>
                    <a:pt x="117" y="142"/>
                    <a:pt x="119" y="142"/>
                  </a:cubicBezTo>
                  <a:cubicBezTo>
                    <a:pt x="121" y="142"/>
                    <a:pt x="124" y="141"/>
                    <a:pt x="126" y="139"/>
                  </a:cubicBezTo>
                  <a:cubicBezTo>
                    <a:pt x="128" y="137"/>
                    <a:pt x="129" y="135"/>
                    <a:pt x="129" y="132"/>
                  </a:cubicBezTo>
                  <a:cubicBezTo>
                    <a:pt x="129" y="130"/>
                    <a:pt x="128" y="128"/>
                    <a:pt x="126" y="126"/>
                  </a:cubicBezTo>
                  <a:cubicBezTo>
                    <a:pt x="124" y="124"/>
                    <a:pt x="121" y="123"/>
                    <a:pt x="119" y="123"/>
                  </a:cubicBezTo>
                  <a:moveTo>
                    <a:pt x="122" y="135"/>
                  </a:moveTo>
                  <a:cubicBezTo>
                    <a:pt x="121" y="136"/>
                    <a:pt x="120" y="136"/>
                    <a:pt x="119" y="136"/>
                  </a:cubicBezTo>
                  <a:cubicBezTo>
                    <a:pt x="118" y="136"/>
                    <a:pt x="117" y="136"/>
                    <a:pt x="116" y="135"/>
                  </a:cubicBezTo>
                  <a:cubicBezTo>
                    <a:pt x="115" y="134"/>
                    <a:pt x="115" y="133"/>
                    <a:pt x="115" y="132"/>
                  </a:cubicBezTo>
                  <a:cubicBezTo>
                    <a:pt x="115" y="131"/>
                    <a:pt x="115" y="130"/>
                    <a:pt x="116" y="130"/>
                  </a:cubicBezTo>
                  <a:cubicBezTo>
                    <a:pt x="117" y="129"/>
                    <a:pt x="118" y="128"/>
                    <a:pt x="119" y="128"/>
                  </a:cubicBezTo>
                  <a:cubicBezTo>
                    <a:pt x="120" y="128"/>
                    <a:pt x="121" y="129"/>
                    <a:pt x="122" y="130"/>
                  </a:cubicBezTo>
                  <a:cubicBezTo>
                    <a:pt x="123" y="130"/>
                    <a:pt x="123" y="131"/>
                    <a:pt x="123" y="132"/>
                  </a:cubicBezTo>
                  <a:cubicBezTo>
                    <a:pt x="123" y="133"/>
                    <a:pt x="123" y="134"/>
                    <a:pt x="122" y="135"/>
                  </a:cubicBezTo>
                  <a:moveTo>
                    <a:pt x="141" y="132"/>
                  </a:moveTo>
                  <a:cubicBezTo>
                    <a:pt x="141" y="127"/>
                    <a:pt x="139" y="121"/>
                    <a:pt x="135" y="117"/>
                  </a:cubicBezTo>
                  <a:cubicBezTo>
                    <a:pt x="130" y="112"/>
                    <a:pt x="125" y="110"/>
                    <a:pt x="119" y="110"/>
                  </a:cubicBezTo>
                  <a:cubicBezTo>
                    <a:pt x="116" y="110"/>
                    <a:pt x="112" y="111"/>
                    <a:pt x="109" y="114"/>
                  </a:cubicBezTo>
                  <a:cubicBezTo>
                    <a:pt x="106" y="113"/>
                    <a:pt x="104" y="113"/>
                    <a:pt x="102" y="113"/>
                  </a:cubicBezTo>
                  <a:cubicBezTo>
                    <a:pt x="96" y="113"/>
                    <a:pt x="91" y="115"/>
                    <a:pt x="87" y="119"/>
                  </a:cubicBezTo>
                  <a:cubicBezTo>
                    <a:pt x="83" y="123"/>
                    <a:pt x="81" y="128"/>
                    <a:pt x="81" y="133"/>
                  </a:cubicBezTo>
                  <a:cubicBezTo>
                    <a:pt x="81" y="137"/>
                    <a:pt x="83" y="141"/>
                    <a:pt x="86" y="145"/>
                  </a:cubicBezTo>
                  <a:cubicBezTo>
                    <a:pt x="85" y="146"/>
                    <a:pt x="85" y="146"/>
                    <a:pt x="85" y="146"/>
                  </a:cubicBezTo>
                  <a:cubicBezTo>
                    <a:pt x="84" y="146"/>
                    <a:pt x="84" y="147"/>
                    <a:pt x="84" y="148"/>
                  </a:cubicBezTo>
                  <a:cubicBezTo>
                    <a:pt x="84" y="148"/>
                    <a:pt x="84" y="149"/>
                    <a:pt x="84" y="149"/>
                  </a:cubicBezTo>
                  <a:cubicBezTo>
                    <a:pt x="54" y="180"/>
                    <a:pt x="54" y="180"/>
                    <a:pt x="54" y="180"/>
                  </a:cubicBezTo>
                  <a:cubicBezTo>
                    <a:pt x="53" y="181"/>
                    <a:pt x="52" y="182"/>
                    <a:pt x="53" y="183"/>
                  </a:cubicBezTo>
                  <a:cubicBezTo>
                    <a:pt x="58" y="192"/>
                    <a:pt x="58" y="192"/>
                    <a:pt x="58" y="192"/>
                  </a:cubicBezTo>
                  <a:cubicBezTo>
                    <a:pt x="58" y="193"/>
                    <a:pt x="58" y="193"/>
                    <a:pt x="59" y="194"/>
                  </a:cubicBezTo>
                  <a:cubicBezTo>
                    <a:pt x="71" y="200"/>
                    <a:pt x="71" y="200"/>
                    <a:pt x="71" y="200"/>
                  </a:cubicBezTo>
                  <a:cubicBezTo>
                    <a:pt x="71" y="200"/>
                    <a:pt x="72" y="200"/>
                    <a:pt x="72" y="200"/>
                  </a:cubicBezTo>
                  <a:cubicBezTo>
                    <a:pt x="73" y="200"/>
                    <a:pt x="73" y="200"/>
                    <a:pt x="74" y="199"/>
                  </a:cubicBezTo>
                  <a:cubicBezTo>
                    <a:pt x="81" y="192"/>
                    <a:pt x="81" y="192"/>
                    <a:pt x="81" y="192"/>
                  </a:cubicBezTo>
                  <a:cubicBezTo>
                    <a:pt x="82" y="191"/>
                    <a:pt x="82" y="190"/>
                    <a:pt x="81" y="189"/>
                  </a:cubicBezTo>
                  <a:cubicBezTo>
                    <a:pt x="78" y="184"/>
                    <a:pt x="78" y="184"/>
                    <a:pt x="78" y="184"/>
                  </a:cubicBezTo>
                  <a:cubicBezTo>
                    <a:pt x="83" y="179"/>
                    <a:pt x="83" y="179"/>
                    <a:pt x="83" y="179"/>
                  </a:cubicBezTo>
                  <a:cubicBezTo>
                    <a:pt x="87" y="180"/>
                    <a:pt x="87" y="180"/>
                    <a:pt x="87" y="180"/>
                  </a:cubicBezTo>
                  <a:cubicBezTo>
                    <a:pt x="88" y="180"/>
                    <a:pt x="88" y="180"/>
                    <a:pt x="89" y="180"/>
                  </a:cubicBezTo>
                  <a:cubicBezTo>
                    <a:pt x="93" y="179"/>
                    <a:pt x="93" y="179"/>
                    <a:pt x="93" y="179"/>
                  </a:cubicBezTo>
                  <a:cubicBezTo>
                    <a:pt x="94" y="179"/>
                    <a:pt x="94" y="179"/>
                    <a:pt x="94" y="179"/>
                  </a:cubicBezTo>
                  <a:cubicBezTo>
                    <a:pt x="98" y="175"/>
                    <a:pt x="98" y="175"/>
                    <a:pt x="98" y="175"/>
                  </a:cubicBezTo>
                  <a:cubicBezTo>
                    <a:pt x="99" y="174"/>
                    <a:pt x="99" y="173"/>
                    <a:pt x="99" y="173"/>
                  </a:cubicBezTo>
                  <a:cubicBezTo>
                    <a:pt x="99" y="172"/>
                    <a:pt x="99" y="171"/>
                    <a:pt x="99" y="171"/>
                  </a:cubicBezTo>
                  <a:cubicBezTo>
                    <a:pt x="102" y="167"/>
                    <a:pt x="102" y="167"/>
                    <a:pt x="102" y="167"/>
                  </a:cubicBezTo>
                  <a:cubicBezTo>
                    <a:pt x="103" y="167"/>
                    <a:pt x="103" y="168"/>
                    <a:pt x="104" y="168"/>
                  </a:cubicBezTo>
                  <a:cubicBezTo>
                    <a:pt x="104" y="168"/>
                    <a:pt x="105" y="167"/>
                    <a:pt x="106" y="167"/>
                  </a:cubicBezTo>
                  <a:cubicBezTo>
                    <a:pt x="106" y="166"/>
                    <a:pt x="106" y="166"/>
                    <a:pt x="106" y="166"/>
                  </a:cubicBezTo>
                  <a:cubicBezTo>
                    <a:pt x="110" y="169"/>
                    <a:pt x="114" y="170"/>
                    <a:pt x="119" y="170"/>
                  </a:cubicBezTo>
                  <a:cubicBezTo>
                    <a:pt x="119" y="170"/>
                    <a:pt x="119" y="170"/>
                    <a:pt x="119" y="170"/>
                  </a:cubicBezTo>
                  <a:cubicBezTo>
                    <a:pt x="124" y="170"/>
                    <a:pt x="129" y="168"/>
                    <a:pt x="133" y="164"/>
                  </a:cubicBezTo>
                  <a:cubicBezTo>
                    <a:pt x="137" y="160"/>
                    <a:pt x="139" y="155"/>
                    <a:pt x="139" y="150"/>
                  </a:cubicBezTo>
                  <a:cubicBezTo>
                    <a:pt x="139" y="147"/>
                    <a:pt x="138" y="145"/>
                    <a:pt x="138" y="143"/>
                  </a:cubicBezTo>
                  <a:cubicBezTo>
                    <a:pt x="140" y="140"/>
                    <a:pt x="141" y="136"/>
                    <a:pt x="141" y="132"/>
                  </a:cubicBezTo>
                  <a:moveTo>
                    <a:pt x="109" y="117"/>
                  </a:moveTo>
                  <a:cubicBezTo>
                    <a:pt x="109" y="117"/>
                    <a:pt x="109" y="117"/>
                    <a:pt x="109" y="117"/>
                  </a:cubicBezTo>
                  <a:close/>
                  <a:moveTo>
                    <a:pt x="93" y="169"/>
                  </a:moveTo>
                  <a:cubicBezTo>
                    <a:pt x="92" y="169"/>
                    <a:pt x="92" y="170"/>
                    <a:pt x="92" y="171"/>
                  </a:cubicBezTo>
                  <a:cubicBezTo>
                    <a:pt x="92" y="171"/>
                    <a:pt x="92" y="172"/>
                    <a:pt x="93" y="173"/>
                  </a:cubicBezTo>
                  <a:cubicBezTo>
                    <a:pt x="91" y="174"/>
                    <a:pt x="91" y="174"/>
                    <a:pt x="91" y="174"/>
                  </a:cubicBezTo>
                  <a:cubicBezTo>
                    <a:pt x="88" y="175"/>
                    <a:pt x="88" y="175"/>
                    <a:pt x="88" y="175"/>
                  </a:cubicBezTo>
                  <a:cubicBezTo>
                    <a:pt x="83" y="173"/>
                    <a:pt x="83" y="173"/>
                    <a:pt x="83" y="173"/>
                  </a:cubicBezTo>
                  <a:cubicBezTo>
                    <a:pt x="82" y="173"/>
                    <a:pt x="81" y="173"/>
                    <a:pt x="80" y="174"/>
                  </a:cubicBezTo>
                  <a:cubicBezTo>
                    <a:pt x="72" y="181"/>
                    <a:pt x="72" y="181"/>
                    <a:pt x="72" y="181"/>
                  </a:cubicBezTo>
                  <a:cubicBezTo>
                    <a:pt x="71" y="182"/>
                    <a:pt x="71" y="184"/>
                    <a:pt x="72" y="185"/>
                  </a:cubicBezTo>
                  <a:cubicBezTo>
                    <a:pt x="75" y="190"/>
                    <a:pt x="75" y="190"/>
                    <a:pt x="75" y="190"/>
                  </a:cubicBezTo>
                  <a:cubicBezTo>
                    <a:pt x="71" y="194"/>
                    <a:pt x="71" y="194"/>
                    <a:pt x="71" y="194"/>
                  </a:cubicBezTo>
                  <a:cubicBezTo>
                    <a:pt x="62" y="189"/>
                    <a:pt x="62" y="189"/>
                    <a:pt x="62" y="189"/>
                  </a:cubicBezTo>
                  <a:cubicBezTo>
                    <a:pt x="59" y="182"/>
                    <a:pt x="59" y="182"/>
                    <a:pt x="59" y="182"/>
                  </a:cubicBezTo>
                  <a:cubicBezTo>
                    <a:pt x="88" y="153"/>
                    <a:pt x="88" y="153"/>
                    <a:pt x="88" y="153"/>
                  </a:cubicBezTo>
                  <a:cubicBezTo>
                    <a:pt x="98" y="163"/>
                    <a:pt x="98" y="163"/>
                    <a:pt x="98" y="163"/>
                  </a:cubicBezTo>
                  <a:lnTo>
                    <a:pt x="93" y="169"/>
                  </a:lnTo>
                  <a:close/>
                  <a:moveTo>
                    <a:pt x="132" y="144"/>
                  </a:moveTo>
                  <a:cubicBezTo>
                    <a:pt x="133" y="145"/>
                    <a:pt x="133" y="148"/>
                    <a:pt x="133" y="150"/>
                  </a:cubicBezTo>
                  <a:cubicBezTo>
                    <a:pt x="133" y="154"/>
                    <a:pt x="132" y="157"/>
                    <a:pt x="129" y="160"/>
                  </a:cubicBezTo>
                  <a:cubicBezTo>
                    <a:pt x="126" y="163"/>
                    <a:pt x="122" y="164"/>
                    <a:pt x="119" y="164"/>
                  </a:cubicBezTo>
                  <a:cubicBezTo>
                    <a:pt x="115" y="164"/>
                    <a:pt x="111" y="163"/>
                    <a:pt x="108" y="160"/>
                  </a:cubicBezTo>
                  <a:cubicBezTo>
                    <a:pt x="108" y="160"/>
                    <a:pt x="107" y="159"/>
                    <a:pt x="106" y="159"/>
                  </a:cubicBezTo>
                  <a:cubicBezTo>
                    <a:pt x="106" y="159"/>
                    <a:pt x="105" y="160"/>
                    <a:pt x="104" y="160"/>
                  </a:cubicBezTo>
                  <a:cubicBezTo>
                    <a:pt x="104" y="161"/>
                    <a:pt x="104" y="161"/>
                    <a:pt x="104" y="161"/>
                  </a:cubicBezTo>
                  <a:cubicBezTo>
                    <a:pt x="91" y="148"/>
                    <a:pt x="91" y="148"/>
                    <a:pt x="91" y="148"/>
                  </a:cubicBezTo>
                  <a:cubicBezTo>
                    <a:pt x="91" y="147"/>
                    <a:pt x="91" y="147"/>
                    <a:pt x="91" y="147"/>
                  </a:cubicBezTo>
                  <a:cubicBezTo>
                    <a:pt x="92" y="147"/>
                    <a:pt x="92" y="146"/>
                    <a:pt x="92" y="145"/>
                  </a:cubicBezTo>
                  <a:cubicBezTo>
                    <a:pt x="92" y="144"/>
                    <a:pt x="92" y="144"/>
                    <a:pt x="91" y="143"/>
                  </a:cubicBezTo>
                  <a:cubicBezTo>
                    <a:pt x="88" y="140"/>
                    <a:pt x="87" y="137"/>
                    <a:pt x="87" y="133"/>
                  </a:cubicBezTo>
                  <a:cubicBezTo>
                    <a:pt x="87" y="129"/>
                    <a:pt x="88" y="125"/>
                    <a:pt x="91" y="123"/>
                  </a:cubicBezTo>
                  <a:cubicBezTo>
                    <a:pt x="94" y="120"/>
                    <a:pt x="98" y="118"/>
                    <a:pt x="102" y="118"/>
                  </a:cubicBezTo>
                  <a:cubicBezTo>
                    <a:pt x="104" y="118"/>
                    <a:pt x="106" y="119"/>
                    <a:pt x="108" y="120"/>
                  </a:cubicBezTo>
                  <a:cubicBezTo>
                    <a:pt x="109" y="120"/>
                    <a:pt x="110" y="120"/>
                    <a:pt x="111" y="119"/>
                  </a:cubicBezTo>
                  <a:cubicBezTo>
                    <a:pt x="111" y="119"/>
                    <a:pt x="111" y="119"/>
                    <a:pt x="111" y="119"/>
                  </a:cubicBezTo>
                  <a:cubicBezTo>
                    <a:pt x="113" y="117"/>
                    <a:pt x="116" y="116"/>
                    <a:pt x="119" y="116"/>
                  </a:cubicBezTo>
                  <a:cubicBezTo>
                    <a:pt x="123" y="116"/>
                    <a:pt x="127" y="117"/>
                    <a:pt x="131" y="121"/>
                  </a:cubicBezTo>
                  <a:cubicBezTo>
                    <a:pt x="134" y="124"/>
                    <a:pt x="136" y="128"/>
                    <a:pt x="136" y="132"/>
                  </a:cubicBezTo>
                  <a:cubicBezTo>
                    <a:pt x="136" y="135"/>
                    <a:pt x="135" y="138"/>
                    <a:pt x="133" y="140"/>
                  </a:cubicBezTo>
                  <a:cubicBezTo>
                    <a:pt x="133" y="140"/>
                    <a:pt x="132" y="140"/>
                    <a:pt x="132" y="140"/>
                  </a:cubicBezTo>
                  <a:cubicBezTo>
                    <a:pt x="131" y="141"/>
                    <a:pt x="131" y="142"/>
                    <a:pt x="132" y="144"/>
                  </a:cubicBezTo>
                  <a:moveTo>
                    <a:pt x="54" y="171"/>
                  </a:moveTo>
                  <a:cubicBezTo>
                    <a:pt x="54" y="170"/>
                    <a:pt x="53" y="169"/>
                    <a:pt x="51" y="169"/>
                  </a:cubicBezTo>
                  <a:cubicBezTo>
                    <a:pt x="51" y="169"/>
                    <a:pt x="50" y="169"/>
                    <a:pt x="49" y="169"/>
                  </a:cubicBezTo>
                  <a:cubicBezTo>
                    <a:pt x="37" y="169"/>
                    <a:pt x="25" y="167"/>
                    <a:pt x="14" y="164"/>
                  </a:cubicBezTo>
                  <a:cubicBezTo>
                    <a:pt x="9" y="162"/>
                    <a:pt x="6" y="158"/>
                    <a:pt x="6" y="153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93" y="45"/>
                    <a:pt x="93" y="45"/>
                    <a:pt x="93" y="45"/>
                  </a:cubicBezTo>
                  <a:cubicBezTo>
                    <a:pt x="93" y="106"/>
                    <a:pt x="93" y="106"/>
                    <a:pt x="93" y="106"/>
                  </a:cubicBezTo>
                  <a:cubicBezTo>
                    <a:pt x="93" y="108"/>
                    <a:pt x="94" y="109"/>
                    <a:pt x="96" y="109"/>
                  </a:cubicBezTo>
                  <a:cubicBezTo>
                    <a:pt x="97" y="109"/>
                    <a:pt x="99" y="108"/>
                    <a:pt x="99" y="106"/>
                  </a:cubicBezTo>
                  <a:cubicBezTo>
                    <a:pt x="99" y="43"/>
                    <a:pt x="99" y="43"/>
                    <a:pt x="99" y="43"/>
                  </a:cubicBezTo>
                  <a:cubicBezTo>
                    <a:pt x="99" y="42"/>
                    <a:pt x="98" y="41"/>
                    <a:pt x="98" y="41"/>
                  </a:cubicBezTo>
                  <a:cubicBezTo>
                    <a:pt x="97" y="40"/>
                    <a:pt x="97" y="40"/>
                    <a:pt x="96" y="40"/>
                  </a:cubicBezTo>
                  <a:cubicBezTo>
                    <a:pt x="84" y="40"/>
                    <a:pt x="84" y="40"/>
                    <a:pt x="84" y="40"/>
                  </a:cubicBezTo>
                  <a:cubicBezTo>
                    <a:pt x="84" y="3"/>
                    <a:pt x="84" y="3"/>
                    <a:pt x="84" y="3"/>
                  </a:cubicBezTo>
                  <a:cubicBezTo>
                    <a:pt x="84" y="2"/>
                    <a:pt x="84" y="1"/>
                    <a:pt x="83" y="1"/>
                  </a:cubicBezTo>
                  <a:cubicBezTo>
                    <a:pt x="83" y="0"/>
                    <a:pt x="82" y="0"/>
                    <a:pt x="81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7" y="0"/>
                    <a:pt x="16" y="0"/>
                    <a:pt x="16" y="1"/>
                  </a:cubicBezTo>
                  <a:cubicBezTo>
                    <a:pt x="15" y="1"/>
                    <a:pt x="15" y="2"/>
                    <a:pt x="15" y="3"/>
                  </a:cubicBezTo>
                  <a:cubicBezTo>
                    <a:pt x="15" y="40"/>
                    <a:pt x="15" y="40"/>
                    <a:pt x="15" y="40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2" y="40"/>
                    <a:pt x="1" y="40"/>
                    <a:pt x="1" y="41"/>
                  </a:cubicBezTo>
                  <a:cubicBezTo>
                    <a:pt x="0" y="41"/>
                    <a:pt x="0" y="42"/>
                    <a:pt x="0" y="43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0" y="160"/>
                    <a:pt x="5" y="167"/>
                    <a:pt x="12" y="169"/>
                  </a:cubicBezTo>
                  <a:cubicBezTo>
                    <a:pt x="24" y="172"/>
                    <a:pt x="36" y="174"/>
                    <a:pt x="49" y="174"/>
                  </a:cubicBezTo>
                  <a:cubicBezTo>
                    <a:pt x="50" y="174"/>
                    <a:pt x="51" y="174"/>
                    <a:pt x="51" y="174"/>
                  </a:cubicBezTo>
                  <a:cubicBezTo>
                    <a:pt x="53" y="174"/>
                    <a:pt x="54" y="173"/>
                    <a:pt x="54" y="171"/>
                  </a:cubicBezTo>
                  <a:moveTo>
                    <a:pt x="36" y="40"/>
                  </a:moveTo>
                  <a:cubicBezTo>
                    <a:pt x="32" y="40"/>
                    <a:pt x="32" y="40"/>
                    <a:pt x="32" y="40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6" y="24"/>
                    <a:pt x="36" y="24"/>
                    <a:pt x="36" y="24"/>
                  </a:cubicBezTo>
                  <a:lnTo>
                    <a:pt x="36" y="40"/>
                  </a:lnTo>
                  <a:close/>
                  <a:moveTo>
                    <a:pt x="66" y="40"/>
                  </a:moveTo>
                  <a:cubicBezTo>
                    <a:pt x="63" y="40"/>
                    <a:pt x="63" y="40"/>
                    <a:pt x="63" y="40"/>
                  </a:cubicBezTo>
                  <a:cubicBezTo>
                    <a:pt x="63" y="24"/>
                    <a:pt x="63" y="24"/>
                    <a:pt x="63" y="24"/>
                  </a:cubicBezTo>
                  <a:cubicBezTo>
                    <a:pt x="66" y="24"/>
                    <a:pt x="66" y="24"/>
                    <a:pt x="66" y="24"/>
                  </a:cubicBezTo>
                  <a:lnTo>
                    <a:pt x="66" y="40"/>
                  </a:lnTo>
                  <a:close/>
                  <a:moveTo>
                    <a:pt x="20" y="6"/>
                  </a:moveTo>
                  <a:cubicBezTo>
                    <a:pt x="78" y="6"/>
                    <a:pt x="78" y="6"/>
                    <a:pt x="78" y="6"/>
                  </a:cubicBezTo>
                  <a:cubicBezTo>
                    <a:pt x="78" y="40"/>
                    <a:pt x="78" y="40"/>
                    <a:pt x="78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21"/>
                    <a:pt x="72" y="21"/>
                    <a:pt x="72" y="21"/>
                  </a:cubicBezTo>
                  <a:cubicBezTo>
                    <a:pt x="72" y="20"/>
                    <a:pt x="72" y="19"/>
                    <a:pt x="71" y="19"/>
                  </a:cubicBezTo>
                  <a:cubicBezTo>
                    <a:pt x="71" y="18"/>
                    <a:pt x="70" y="18"/>
                    <a:pt x="69" y="18"/>
                  </a:cubicBezTo>
                  <a:cubicBezTo>
                    <a:pt x="60" y="18"/>
                    <a:pt x="60" y="18"/>
                    <a:pt x="60" y="18"/>
                  </a:cubicBezTo>
                  <a:cubicBezTo>
                    <a:pt x="59" y="18"/>
                    <a:pt x="59" y="18"/>
                    <a:pt x="58" y="19"/>
                  </a:cubicBezTo>
                  <a:cubicBezTo>
                    <a:pt x="57" y="19"/>
                    <a:pt x="57" y="20"/>
                    <a:pt x="57" y="21"/>
                  </a:cubicBezTo>
                  <a:cubicBezTo>
                    <a:pt x="57" y="40"/>
                    <a:pt x="57" y="40"/>
                    <a:pt x="57" y="40"/>
                  </a:cubicBezTo>
                  <a:cubicBezTo>
                    <a:pt x="42" y="40"/>
                    <a:pt x="42" y="40"/>
                    <a:pt x="42" y="40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0"/>
                    <a:pt x="41" y="19"/>
                    <a:pt x="41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29" y="18"/>
                    <a:pt x="28" y="18"/>
                    <a:pt x="28" y="19"/>
                  </a:cubicBezTo>
                  <a:cubicBezTo>
                    <a:pt x="27" y="19"/>
                    <a:pt x="27" y="20"/>
                    <a:pt x="27" y="21"/>
                  </a:cubicBezTo>
                  <a:cubicBezTo>
                    <a:pt x="27" y="40"/>
                    <a:pt x="27" y="40"/>
                    <a:pt x="27" y="40"/>
                  </a:cubicBezTo>
                  <a:cubicBezTo>
                    <a:pt x="20" y="40"/>
                    <a:pt x="20" y="40"/>
                    <a:pt x="20" y="40"/>
                  </a:cubicBezTo>
                  <a:lnTo>
                    <a:pt x="20" y="6"/>
                  </a:lnTo>
                  <a:close/>
                  <a:moveTo>
                    <a:pt x="65" y="98"/>
                  </a:moveTo>
                  <a:cubicBezTo>
                    <a:pt x="66" y="98"/>
                    <a:pt x="66" y="97"/>
                    <a:pt x="66" y="96"/>
                  </a:cubicBezTo>
                  <a:cubicBezTo>
                    <a:pt x="66" y="84"/>
                    <a:pt x="66" y="84"/>
                    <a:pt x="66" y="84"/>
                  </a:cubicBezTo>
                  <a:cubicBezTo>
                    <a:pt x="66" y="82"/>
                    <a:pt x="65" y="81"/>
                    <a:pt x="64" y="81"/>
                  </a:cubicBezTo>
                  <a:cubicBezTo>
                    <a:pt x="62" y="81"/>
                    <a:pt x="61" y="82"/>
                    <a:pt x="61" y="84"/>
                  </a:cubicBezTo>
                  <a:cubicBezTo>
                    <a:pt x="61" y="95"/>
                    <a:pt x="61" y="95"/>
                    <a:pt x="61" y="95"/>
                  </a:cubicBezTo>
                  <a:cubicBezTo>
                    <a:pt x="52" y="100"/>
                    <a:pt x="52" y="100"/>
                    <a:pt x="52" y="100"/>
                  </a:cubicBezTo>
                  <a:cubicBezTo>
                    <a:pt x="52" y="76"/>
                    <a:pt x="52" y="76"/>
                    <a:pt x="52" y="76"/>
                  </a:cubicBezTo>
                  <a:cubicBezTo>
                    <a:pt x="52" y="74"/>
                    <a:pt x="51" y="73"/>
                    <a:pt x="49" y="73"/>
                  </a:cubicBezTo>
                  <a:cubicBezTo>
                    <a:pt x="48" y="73"/>
                    <a:pt x="47" y="74"/>
                    <a:pt x="47" y="76"/>
                  </a:cubicBezTo>
                  <a:cubicBezTo>
                    <a:pt x="47" y="106"/>
                    <a:pt x="47" y="106"/>
                    <a:pt x="47" y="106"/>
                  </a:cubicBezTo>
                  <a:cubicBezTo>
                    <a:pt x="47" y="106"/>
                    <a:pt x="47" y="106"/>
                    <a:pt x="47" y="106"/>
                  </a:cubicBezTo>
                  <a:cubicBezTo>
                    <a:pt x="47" y="110"/>
                    <a:pt x="47" y="110"/>
                    <a:pt x="47" y="110"/>
                  </a:cubicBezTo>
                  <a:cubicBezTo>
                    <a:pt x="38" y="104"/>
                    <a:pt x="38" y="104"/>
                    <a:pt x="38" y="104"/>
                  </a:cubicBezTo>
                  <a:cubicBezTo>
                    <a:pt x="38" y="93"/>
                    <a:pt x="38" y="93"/>
                    <a:pt x="38" y="93"/>
                  </a:cubicBezTo>
                  <a:cubicBezTo>
                    <a:pt x="38" y="92"/>
                    <a:pt x="37" y="91"/>
                    <a:pt x="35" y="91"/>
                  </a:cubicBezTo>
                  <a:cubicBezTo>
                    <a:pt x="34" y="91"/>
                    <a:pt x="32" y="92"/>
                    <a:pt x="32" y="93"/>
                  </a:cubicBezTo>
                  <a:cubicBezTo>
                    <a:pt x="32" y="106"/>
                    <a:pt x="32" y="106"/>
                    <a:pt x="32" y="106"/>
                  </a:cubicBezTo>
                  <a:cubicBezTo>
                    <a:pt x="32" y="107"/>
                    <a:pt x="33" y="108"/>
                    <a:pt x="34" y="108"/>
                  </a:cubicBezTo>
                  <a:cubicBezTo>
                    <a:pt x="47" y="117"/>
                    <a:pt x="47" y="117"/>
                    <a:pt x="47" y="117"/>
                  </a:cubicBezTo>
                  <a:cubicBezTo>
                    <a:pt x="47" y="119"/>
                    <a:pt x="47" y="119"/>
                    <a:pt x="47" y="119"/>
                  </a:cubicBezTo>
                  <a:cubicBezTo>
                    <a:pt x="42" y="120"/>
                    <a:pt x="38" y="124"/>
                    <a:pt x="38" y="130"/>
                  </a:cubicBezTo>
                  <a:cubicBezTo>
                    <a:pt x="38" y="136"/>
                    <a:pt x="43" y="141"/>
                    <a:pt x="49" y="141"/>
                  </a:cubicBezTo>
                  <a:cubicBezTo>
                    <a:pt x="56" y="141"/>
                    <a:pt x="61" y="136"/>
                    <a:pt x="61" y="130"/>
                  </a:cubicBezTo>
                  <a:cubicBezTo>
                    <a:pt x="61" y="124"/>
                    <a:pt x="57" y="120"/>
                    <a:pt x="52" y="119"/>
                  </a:cubicBezTo>
                  <a:cubicBezTo>
                    <a:pt x="52" y="107"/>
                    <a:pt x="52" y="107"/>
                    <a:pt x="52" y="107"/>
                  </a:cubicBezTo>
                  <a:lnTo>
                    <a:pt x="65" y="98"/>
                  </a:lnTo>
                  <a:close/>
                  <a:moveTo>
                    <a:pt x="55" y="130"/>
                  </a:moveTo>
                  <a:cubicBezTo>
                    <a:pt x="55" y="133"/>
                    <a:pt x="53" y="136"/>
                    <a:pt x="49" y="136"/>
                  </a:cubicBezTo>
                  <a:cubicBezTo>
                    <a:pt x="46" y="136"/>
                    <a:pt x="44" y="133"/>
                    <a:pt x="44" y="130"/>
                  </a:cubicBezTo>
                  <a:cubicBezTo>
                    <a:pt x="44" y="127"/>
                    <a:pt x="46" y="124"/>
                    <a:pt x="49" y="124"/>
                  </a:cubicBezTo>
                  <a:cubicBezTo>
                    <a:pt x="49" y="124"/>
                    <a:pt x="49" y="124"/>
                    <a:pt x="49" y="124"/>
                  </a:cubicBezTo>
                  <a:cubicBezTo>
                    <a:pt x="53" y="124"/>
                    <a:pt x="55" y="127"/>
                    <a:pt x="55" y="13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</a:pPr>
              <a:endParaRPr lang="en-GB" sz="1700" dirty="0">
                <a:solidFill>
                  <a:prstClr val="black"/>
                </a:solidFill>
                <a:latin typeface="Arial" panose="020B0604020202090204" pitchFamily="34" charset="0"/>
                <a:ea typeface="MS PGothic" pitchFamily="34" charset="-128"/>
              </a:endParaRPr>
            </a:p>
          </p:txBody>
        </p:sp>
        <p:sp>
          <p:nvSpPr>
            <p:cNvPr id="31" name="Freeform 36"/>
            <p:cNvSpPr>
              <a:spLocks noEditPoints="1"/>
            </p:cNvSpPr>
            <p:nvPr/>
          </p:nvSpPr>
          <p:spPr bwMode="auto">
            <a:xfrm>
              <a:off x="7047385" y="6098847"/>
              <a:ext cx="271360" cy="198516"/>
            </a:xfrm>
            <a:custGeom>
              <a:avLst/>
              <a:gdLst>
                <a:gd name="T0" fmla="*/ 126 w 207"/>
                <a:gd name="T1" fmla="*/ 43 h 151"/>
                <a:gd name="T2" fmla="*/ 80 w 207"/>
                <a:gd name="T3" fmla="*/ 23 h 151"/>
                <a:gd name="T4" fmla="*/ 103 w 207"/>
                <a:gd name="T5" fmla="*/ 102 h 151"/>
                <a:gd name="T6" fmla="*/ 103 w 207"/>
                <a:gd name="T7" fmla="*/ 6 h 151"/>
                <a:gd name="T8" fmla="*/ 121 w 207"/>
                <a:gd name="T9" fmla="*/ 39 h 151"/>
                <a:gd name="T10" fmla="*/ 86 w 207"/>
                <a:gd name="T11" fmla="*/ 23 h 151"/>
                <a:gd name="T12" fmla="*/ 123 w 207"/>
                <a:gd name="T13" fmla="*/ 48 h 151"/>
                <a:gd name="T14" fmla="*/ 103 w 207"/>
                <a:gd name="T15" fmla="*/ 96 h 151"/>
                <a:gd name="T16" fmla="*/ 83 w 207"/>
                <a:gd name="T17" fmla="*/ 48 h 151"/>
                <a:gd name="T18" fmla="*/ 88 w 207"/>
                <a:gd name="T19" fmla="*/ 80 h 151"/>
                <a:gd name="T20" fmla="*/ 100 w 207"/>
                <a:gd name="T21" fmla="*/ 87 h 151"/>
                <a:gd name="T22" fmla="*/ 106 w 207"/>
                <a:gd name="T23" fmla="*/ 82 h 151"/>
                <a:gd name="T24" fmla="*/ 119 w 207"/>
                <a:gd name="T25" fmla="*/ 80 h 151"/>
                <a:gd name="T26" fmla="*/ 117 w 207"/>
                <a:gd name="T27" fmla="*/ 72 h 151"/>
                <a:gd name="T28" fmla="*/ 121 w 207"/>
                <a:gd name="T29" fmla="*/ 61 h 151"/>
                <a:gd name="T30" fmla="*/ 114 w 207"/>
                <a:gd name="T31" fmla="*/ 59 h 151"/>
                <a:gd name="T32" fmla="*/ 103 w 207"/>
                <a:gd name="T33" fmla="*/ 46 h 151"/>
                <a:gd name="T34" fmla="*/ 93 w 207"/>
                <a:gd name="T35" fmla="*/ 59 h 151"/>
                <a:gd name="T36" fmla="*/ 86 w 207"/>
                <a:gd name="T37" fmla="*/ 61 h 151"/>
                <a:gd name="T38" fmla="*/ 90 w 207"/>
                <a:gd name="T39" fmla="*/ 72 h 151"/>
                <a:gd name="T40" fmla="*/ 103 w 207"/>
                <a:gd name="T41" fmla="*/ 59 h 151"/>
                <a:gd name="T42" fmla="*/ 95 w 207"/>
                <a:gd name="T43" fmla="*/ 68 h 151"/>
                <a:gd name="T44" fmla="*/ 185 w 207"/>
                <a:gd name="T45" fmla="*/ 117 h 151"/>
                <a:gd name="T46" fmla="*/ 173 w 207"/>
                <a:gd name="T47" fmla="*/ 21 h 151"/>
                <a:gd name="T48" fmla="*/ 141 w 207"/>
                <a:gd name="T49" fmla="*/ 27 h 151"/>
                <a:gd name="T50" fmla="*/ 180 w 207"/>
                <a:gd name="T51" fmla="*/ 32 h 151"/>
                <a:gd name="T52" fmla="*/ 27 w 207"/>
                <a:gd name="T53" fmla="*/ 32 h 151"/>
                <a:gd name="T54" fmla="*/ 66 w 207"/>
                <a:gd name="T55" fmla="*/ 27 h 151"/>
                <a:gd name="T56" fmla="*/ 33 w 207"/>
                <a:gd name="T57" fmla="*/ 21 h 151"/>
                <a:gd name="T58" fmla="*/ 21 w 207"/>
                <a:gd name="T59" fmla="*/ 117 h 151"/>
                <a:gd name="T60" fmla="*/ 0 w 207"/>
                <a:gd name="T61" fmla="*/ 135 h 151"/>
                <a:gd name="T62" fmla="*/ 207 w 207"/>
                <a:gd name="T63" fmla="*/ 135 h 151"/>
                <a:gd name="T64" fmla="*/ 201 w 207"/>
                <a:gd name="T65" fmla="*/ 135 h 151"/>
                <a:gd name="T66" fmla="*/ 5 w 207"/>
                <a:gd name="T67" fmla="*/ 135 h 151"/>
                <a:gd name="T68" fmla="*/ 182 w 207"/>
                <a:gd name="T69" fmla="*/ 122 h 151"/>
                <a:gd name="T70" fmla="*/ 123 w 207"/>
                <a:gd name="T71" fmla="*/ 129 h 151"/>
                <a:gd name="T72" fmla="*/ 84 w 207"/>
                <a:gd name="T73" fmla="*/ 132 h 151"/>
                <a:gd name="T74" fmla="*/ 82 w 207"/>
                <a:gd name="T75" fmla="*/ 128 h 151"/>
                <a:gd name="T76" fmla="*/ 10 w 207"/>
                <a:gd name="T77" fmla="*/ 134 h 151"/>
                <a:gd name="T78" fmla="*/ 122 w 207"/>
                <a:gd name="T79" fmla="*/ 138 h 151"/>
                <a:gd name="T80" fmla="*/ 201 w 207"/>
                <a:gd name="T81" fmla="*/ 135 h 151"/>
                <a:gd name="T82" fmla="*/ 193 w 207"/>
                <a:gd name="T83" fmla="*/ 139 h 151"/>
                <a:gd name="T84" fmla="*/ 181 w 207"/>
                <a:gd name="T85" fmla="*/ 139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7" h="151">
                  <a:moveTo>
                    <a:pt x="103" y="102"/>
                  </a:moveTo>
                  <a:cubicBezTo>
                    <a:pt x="122" y="102"/>
                    <a:pt x="137" y="87"/>
                    <a:pt x="137" y="68"/>
                  </a:cubicBezTo>
                  <a:cubicBezTo>
                    <a:pt x="137" y="58"/>
                    <a:pt x="133" y="49"/>
                    <a:pt x="126" y="43"/>
                  </a:cubicBezTo>
                  <a:cubicBezTo>
                    <a:pt x="126" y="23"/>
                    <a:pt x="126" y="23"/>
                    <a:pt x="126" y="23"/>
                  </a:cubicBezTo>
                  <a:cubicBezTo>
                    <a:pt x="126" y="10"/>
                    <a:pt x="116" y="0"/>
                    <a:pt x="103" y="0"/>
                  </a:cubicBezTo>
                  <a:cubicBezTo>
                    <a:pt x="91" y="0"/>
                    <a:pt x="80" y="10"/>
                    <a:pt x="80" y="23"/>
                  </a:cubicBezTo>
                  <a:cubicBezTo>
                    <a:pt x="80" y="43"/>
                    <a:pt x="80" y="43"/>
                    <a:pt x="80" y="43"/>
                  </a:cubicBezTo>
                  <a:cubicBezTo>
                    <a:pt x="74" y="49"/>
                    <a:pt x="69" y="58"/>
                    <a:pt x="69" y="68"/>
                  </a:cubicBezTo>
                  <a:cubicBezTo>
                    <a:pt x="69" y="87"/>
                    <a:pt x="85" y="102"/>
                    <a:pt x="103" y="102"/>
                  </a:cubicBezTo>
                  <a:moveTo>
                    <a:pt x="86" y="23"/>
                  </a:moveTo>
                  <a:cubicBezTo>
                    <a:pt x="86" y="18"/>
                    <a:pt x="88" y="14"/>
                    <a:pt x="91" y="11"/>
                  </a:cubicBezTo>
                  <a:cubicBezTo>
                    <a:pt x="94" y="8"/>
                    <a:pt x="98" y="6"/>
                    <a:pt x="103" y="6"/>
                  </a:cubicBezTo>
                  <a:cubicBezTo>
                    <a:pt x="108" y="6"/>
                    <a:pt x="112" y="8"/>
                    <a:pt x="115" y="11"/>
                  </a:cubicBezTo>
                  <a:cubicBezTo>
                    <a:pt x="119" y="14"/>
                    <a:pt x="121" y="18"/>
                    <a:pt x="121" y="23"/>
                  </a:cubicBezTo>
                  <a:cubicBezTo>
                    <a:pt x="121" y="39"/>
                    <a:pt x="121" y="39"/>
                    <a:pt x="121" y="39"/>
                  </a:cubicBezTo>
                  <a:cubicBezTo>
                    <a:pt x="115" y="36"/>
                    <a:pt x="110" y="34"/>
                    <a:pt x="103" y="34"/>
                  </a:cubicBezTo>
                  <a:cubicBezTo>
                    <a:pt x="97" y="34"/>
                    <a:pt x="91" y="36"/>
                    <a:pt x="86" y="39"/>
                  </a:cubicBezTo>
                  <a:lnTo>
                    <a:pt x="86" y="23"/>
                  </a:lnTo>
                  <a:close/>
                  <a:moveTo>
                    <a:pt x="83" y="48"/>
                  </a:moveTo>
                  <a:cubicBezTo>
                    <a:pt x="88" y="43"/>
                    <a:pt x="95" y="40"/>
                    <a:pt x="103" y="40"/>
                  </a:cubicBezTo>
                  <a:cubicBezTo>
                    <a:pt x="111" y="40"/>
                    <a:pt x="118" y="43"/>
                    <a:pt x="123" y="48"/>
                  </a:cubicBezTo>
                  <a:cubicBezTo>
                    <a:pt x="128" y="53"/>
                    <a:pt x="132" y="60"/>
                    <a:pt x="132" y="68"/>
                  </a:cubicBezTo>
                  <a:cubicBezTo>
                    <a:pt x="132" y="76"/>
                    <a:pt x="128" y="83"/>
                    <a:pt x="123" y="88"/>
                  </a:cubicBezTo>
                  <a:cubicBezTo>
                    <a:pt x="118" y="93"/>
                    <a:pt x="111" y="96"/>
                    <a:pt x="103" y="96"/>
                  </a:cubicBezTo>
                  <a:cubicBezTo>
                    <a:pt x="95" y="96"/>
                    <a:pt x="88" y="93"/>
                    <a:pt x="83" y="88"/>
                  </a:cubicBezTo>
                  <a:cubicBezTo>
                    <a:pt x="78" y="83"/>
                    <a:pt x="75" y="76"/>
                    <a:pt x="75" y="68"/>
                  </a:cubicBezTo>
                  <a:cubicBezTo>
                    <a:pt x="75" y="60"/>
                    <a:pt x="78" y="53"/>
                    <a:pt x="83" y="48"/>
                  </a:cubicBezTo>
                  <a:moveTo>
                    <a:pt x="85" y="79"/>
                  </a:moveTo>
                  <a:cubicBezTo>
                    <a:pt x="85" y="79"/>
                    <a:pt x="86" y="80"/>
                    <a:pt x="87" y="80"/>
                  </a:cubicBezTo>
                  <a:cubicBezTo>
                    <a:pt x="88" y="80"/>
                    <a:pt x="88" y="80"/>
                    <a:pt x="88" y="80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5" y="80"/>
                    <a:pt x="97" y="81"/>
                    <a:pt x="100" y="82"/>
                  </a:cubicBezTo>
                  <a:cubicBezTo>
                    <a:pt x="100" y="87"/>
                    <a:pt x="100" y="87"/>
                    <a:pt x="100" y="87"/>
                  </a:cubicBezTo>
                  <a:cubicBezTo>
                    <a:pt x="100" y="88"/>
                    <a:pt x="102" y="89"/>
                    <a:pt x="103" y="89"/>
                  </a:cubicBezTo>
                  <a:cubicBezTo>
                    <a:pt x="105" y="89"/>
                    <a:pt x="106" y="88"/>
                    <a:pt x="106" y="87"/>
                  </a:cubicBezTo>
                  <a:cubicBezTo>
                    <a:pt x="106" y="82"/>
                    <a:pt x="106" y="82"/>
                    <a:pt x="106" y="82"/>
                  </a:cubicBezTo>
                  <a:cubicBezTo>
                    <a:pt x="109" y="81"/>
                    <a:pt x="112" y="80"/>
                    <a:pt x="114" y="77"/>
                  </a:cubicBezTo>
                  <a:cubicBezTo>
                    <a:pt x="118" y="80"/>
                    <a:pt x="118" y="80"/>
                    <a:pt x="118" y="80"/>
                  </a:cubicBezTo>
                  <a:cubicBezTo>
                    <a:pt x="118" y="80"/>
                    <a:pt x="119" y="80"/>
                    <a:pt x="119" y="80"/>
                  </a:cubicBezTo>
                  <a:cubicBezTo>
                    <a:pt x="120" y="80"/>
                    <a:pt x="121" y="79"/>
                    <a:pt x="122" y="79"/>
                  </a:cubicBezTo>
                  <a:cubicBezTo>
                    <a:pt x="123" y="77"/>
                    <a:pt x="122" y="76"/>
                    <a:pt x="121" y="75"/>
                  </a:cubicBezTo>
                  <a:cubicBezTo>
                    <a:pt x="117" y="72"/>
                    <a:pt x="117" y="72"/>
                    <a:pt x="117" y="72"/>
                  </a:cubicBezTo>
                  <a:cubicBezTo>
                    <a:pt x="117" y="71"/>
                    <a:pt x="117" y="69"/>
                    <a:pt x="117" y="68"/>
                  </a:cubicBezTo>
                  <a:cubicBezTo>
                    <a:pt x="117" y="66"/>
                    <a:pt x="117" y="65"/>
                    <a:pt x="117" y="63"/>
                  </a:cubicBezTo>
                  <a:cubicBezTo>
                    <a:pt x="121" y="61"/>
                    <a:pt x="121" y="61"/>
                    <a:pt x="121" y="61"/>
                  </a:cubicBezTo>
                  <a:cubicBezTo>
                    <a:pt x="122" y="60"/>
                    <a:pt x="123" y="59"/>
                    <a:pt x="122" y="57"/>
                  </a:cubicBezTo>
                  <a:cubicBezTo>
                    <a:pt x="121" y="56"/>
                    <a:pt x="119" y="55"/>
                    <a:pt x="118" y="56"/>
                  </a:cubicBezTo>
                  <a:cubicBezTo>
                    <a:pt x="114" y="59"/>
                    <a:pt x="114" y="59"/>
                    <a:pt x="114" y="59"/>
                  </a:cubicBezTo>
                  <a:cubicBezTo>
                    <a:pt x="112" y="56"/>
                    <a:pt x="109" y="55"/>
                    <a:pt x="106" y="54"/>
                  </a:cubicBezTo>
                  <a:cubicBezTo>
                    <a:pt x="106" y="49"/>
                    <a:pt x="106" y="49"/>
                    <a:pt x="106" y="49"/>
                  </a:cubicBezTo>
                  <a:cubicBezTo>
                    <a:pt x="106" y="48"/>
                    <a:pt x="105" y="46"/>
                    <a:pt x="103" y="46"/>
                  </a:cubicBezTo>
                  <a:cubicBezTo>
                    <a:pt x="102" y="46"/>
                    <a:pt x="100" y="48"/>
                    <a:pt x="100" y="49"/>
                  </a:cubicBezTo>
                  <a:cubicBezTo>
                    <a:pt x="100" y="54"/>
                    <a:pt x="100" y="54"/>
                    <a:pt x="100" y="54"/>
                  </a:cubicBezTo>
                  <a:cubicBezTo>
                    <a:pt x="97" y="55"/>
                    <a:pt x="95" y="56"/>
                    <a:pt x="93" y="59"/>
                  </a:cubicBezTo>
                  <a:cubicBezTo>
                    <a:pt x="88" y="56"/>
                    <a:pt x="88" y="56"/>
                    <a:pt x="88" y="56"/>
                  </a:cubicBezTo>
                  <a:cubicBezTo>
                    <a:pt x="87" y="55"/>
                    <a:pt x="85" y="56"/>
                    <a:pt x="85" y="57"/>
                  </a:cubicBezTo>
                  <a:cubicBezTo>
                    <a:pt x="84" y="59"/>
                    <a:pt x="84" y="60"/>
                    <a:pt x="86" y="61"/>
                  </a:cubicBezTo>
                  <a:cubicBezTo>
                    <a:pt x="90" y="63"/>
                    <a:pt x="90" y="63"/>
                    <a:pt x="90" y="63"/>
                  </a:cubicBezTo>
                  <a:cubicBezTo>
                    <a:pt x="89" y="65"/>
                    <a:pt x="89" y="66"/>
                    <a:pt x="89" y="68"/>
                  </a:cubicBezTo>
                  <a:cubicBezTo>
                    <a:pt x="89" y="69"/>
                    <a:pt x="89" y="71"/>
                    <a:pt x="90" y="72"/>
                  </a:cubicBezTo>
                  <a:cubicBezTo>
                    <a:pt x="86" y="75"/>
                    <a:pt x="86" y="75"/>
                    <a:pt x="86" y="75"/>
                  </a:cubicBezTo>
                  <a:cubicBezTo>
                    <a:pt x="84" y="76"/>
                    <a:pt x="84" y="77"/>
                    <a:pt x="85" y="79"/>
                  </a:cubicBezTo>
                  <a:moveTo>
                    <a:pt x="103" y="59"/>
                  </a:moveTo>
                  <a:cubicBezTo>
                    <a:pt x="108" y="59"/>
                    <a:pt x="112" y="63"/>
                    <a:pt x="112" y="68"/>
                  </a:cubicBezTo>
                  <a:cubicBezTo>
                    <a:pt x="112" y="73"/>
                    <a:pt x="108" y="76"/>
                    <a:pt x="103" y="76"/>
                  </a:cubicBezTo>
                  <a:cubicBezTo>
                    <a:pt x="98" y="76"/>
                    <a:pt x="95" y="73"/>
                    <a:pt x="95" y="68"/>
                  </a:cubicBezTo>
                  <a:cubicBezTo>
                    <a:pt x="95" y="63"/>
                    <a:pt x="98" y="59"/>
                    <a:pt x="103" y="59"/>
                  </a:cubicBezTo>
                  <a:moveTo>
                    <a:pt x="205" y="124"/>
                  </a:moveTo>
                  <a:cubicBezTo>
                    <a:pt x="185" y="117"/>
                    <a:pt x="185" y="117"/>
                    <a:pt x="185" y="117"/>
                  </a:cubicBezTo>
                  <a:cubicBezTo>
                    <a:pt x="185" y="32"/>
                    <a:pt x="185" y="32"/>
                    <a:pt x="185" y="32"/>
                  </a:cubicBezTo>
                  <a:cubicBezTo>
                    <a:pt x="185" y="29"/>
                    <a:pt x="184" y="26"/>
                    <a:pt x="182" y="24"/>
                  </a:cubicBezTo>
                  <a:cubicBezTo>
                    <a:pt x="179" y="22"/>
                    <a:pt x="176" y="21"/>
                    <a:pt x="173" y="21"/>
                  </a:cubicBezTo>
                  <a:cubicBezTo>
                    <a:pt x="141" y="21"/>
                    <a:pt x="141" y="21"/>
                    <a:pt x="141" y="21"/>
                  </a:cubicBezTo>
                  <a:cubicBezTo>
                    <a:pt x="139" y="21"/>
                    <a:pt x="138" y="22"/>
                    <a:pt x="138" y="24"/>
                  </a:cubicBezTo>
                  <a:cubicBezTo>
                    <a:pt x="138" y="25"/>
                    <a:pt x="139" y="27"/>
                    <a:pt x="141" y="27"/>
                  </a:cubicBezTo>
                  <a:cubicBezTo>
                    <a:pt x="173" y="27"/>
                    <a:pt x="173" y="27"/>
                    <a:pt x="173" y="27"/>
                  </a:cubicBezTo>
                  <a:cubicBezTo>
                    <a:pt x="175" y="27"/>
                    <a:pt x="177" y="27"/>
                    <a:pt x="178" y="28"/>
                  </a:cubicBezTo>
                  <a:cubicBezTo>
                    <a:pt x="179" y="30"/>
                    <a:pt x="180" y="31"/>
                    <a:pt x="180" y="32"/>
                  </a:cubicBezTo>
                  <a:cubicBezTo>
                    <a:pt x="180" y="117"/>
                    <a:pt x="180" y="117"/>
                    <a:pt x="180" y="117"/>
                  </a:cubicBezTo>
                  <a:cubicBezTo>
                    <a:pt x="27" y="117"/>
                    <a:pt x="27" y="117"/>
                    <a:pt x="27" y="117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1"/>
                    <a:pt x="27" y="30"/>
                    <a:pt x="29" y="28"/>
                  </a:cubicBezTo>
                  <a:cubicBezTo>
                    <a:pt x="30" y="27"/>
                    <a:pt x="31" y="27"/>
                    <a:pt x="33" y="27"/>
                  </a:cubicBezTo>
                  <a:cubicBezTo>
                    <a:pt x="66" y="27"/>
                    <a:pt x="66" y="27"/>
                    <a:pt x="66" y="27"/>
                  </a:cubicBezTo>
                  <a:cubicBezTo>
                    <a:pt x="67" y="27"/>
                    <a:pt x="69" y="25"/>
                    <a:pt x="69" y="24"/>
                  </a:cubicBezTo>
                  <a:cubicBezTo>
                    <a:pt x="69" y="22"/>
                    <a:pt x="67" y="21"/>
                    <a:pt x="66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0" y="21"/>
                    <a:pt x="27" y="22"/>
                    <a:pt x="25" y="24"/>
                  </a:cubicBezTo>
                  <a:cubicBezTo>
                    <a:pt x="23" y="26"/>
                    <a:pt x="21" y="29"/>
                    <a:pt x="21" y="32"/>
                  </a:cubicBezTo>
                  <a:cubicBezTo>
                    <a:pt x="21" y="117"/>
                    <a:pt x="21" y="117"/>
                    <a:pt x="21" y="117"/>
                  </a:cubicBezTo>
                  <a:cubicBezTo>
                    <a:pt x="2" y="124"/>
                    <a:pt x="2" y="124"/>
                    <a:pt x="2" y="124"/>
                  </a:cubicBezTo>
                  <a:cubicBezTo>
                    <a:pt x="1" y="124"/>
                    <a:pt x="0" y="125"/>
                    <a:pt x="0" y="127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0" y="144"/>
                    <a:pt x="7" y="151"/>
                    <a:pt x="15" y="151"/>
                  </a:cubicBezTo>
                  <a:cubicBezTo>
                    <a:pt x="191" y="151"/>
                    <a:pt x="191" y="151"/>
                    <a:pt x="191" y="151"/>
                  </a:cubicBezTo>
                  <a:cubicBezTo>
                    <a:pt x="200" y="151"/>
                    <a:pt x="207" y="144"/>
                    <a:pt x="207" y="135"/>
                  </a:cubicBezTo>
                  <a:cubicBezTo>
                    <a:pt x="207" y="127"/>
                    <a:pt x="207" y="127"/>
                    <a:pt x="207" y="127"/>
                  </a:cubicBezTo>
                  <a:cubicBezTo>
                    <a:pt x="207" y="125"/>
                    <a:pt x="206" y="124"/>
                    <a:pt x="205" y="124"/>
                  </a:cubicBezTo>
                  <a:moveTo>
                    <a:pt x="201" y="135"/>
                  </a:moveTo>
                  <a:cubicBezTo>
                    <a:pt x="201" y="141"/>
                    <a:pt x="197" y="145"/>
                    <a:pt x="191" y="145"/>
                  </a:cubicBezTo>
                  <a:cubicBezTo>
                    <a:pt x="15" y="145"/>
                    <a:pt x="15" y="145"/>
                    <a:pt x="15" y="145"/>
                  </a:cubicBezTo>
                  <a:cubicBezTo>
                    <a:pt x="10" y="145"/>
                    <a:pt x="6" y="141"/>
                    <a:pt x="5" y="135"/>
                  </a:cubicBezTo>
                  <a:cubicBezTo>
                    <a:pt x="5" y="129"/>
                    <a:pt x="5" y="129"/>
                    <a:pt x="5" y="129"/>
                  </a:cubicBezTo>
                  <a:cubicBezTo>
                    <a:pt x="24" y="122"/>
                    <a:pt x="24" y="122"/>
                    <a:pt x="24" y="122"/>
                  </a:cubicBezTo>
                  <a:cubicBezTo>
                    <a:pt x="182" y="122"/>
                    <a:pt x="182" y="122"/>
                    <a:pt x="182" y="122"/>
                  </a:cubicBezTo>
                  <a:cubicBezTo>
                    <a:pt x="200" y="128"/>
                    <a:pt x="200" y="128"/>
                    <a:pt x="200" y="128"/>
                  </a:cubicBezTo>
                  <a:cubicBezTo>
                    <a:pt x="125" y="128"/>
                    <a:pt x="125" y="128"/>
                    <a:pt x="125" y="128"/>
                  </a:cubicBezTo>
                  <a:cubicBezTo>
                    <a:pt x="124" y="128"/>
                    <a:pt x="123" y="129"/>
                    <a:pt x="123" y="129"/>
                  </a:cubicBezTo>
                  <a:cubicBezTo>
                    <a:pt x="122" y="130"/>
                    <a:pt x="122" y="130"/>
                    <a:pt x="122" y="131"/>
                  </a:cubicBezTo>
                  <a:cubicBezTo>
                    <a:pt x="122" y="132"/>
                    <a:pt x="122" y="132"/>
                    <a:pt x="122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31"/>
                    <a:pt x="84" y="131"/>
                    <a:pt x="84" y="131"/>
                  </a:cubicBezTo>
                  <a:cubicBezTo>
                    <a:pt x="84" y="130"/>
                    <a:pt x="84" y="130"/>
                    <a:pt x="84" y="129"/>
                  </a:cubicBezTo>
                  <a:cubicBezTo>
                    <a:pt x="83" y="129"/>
                    <a:pt x="82" y="128"/>
                    <a:pt x="82" y="128"/>
                  </a:cubicBezTo>
                  <a:cubicBezTo>
                    <a:pt x="10" y="128"/>
                    <a:pt x="10" y="128"/>
                    <a:pt x="10" y="128"/>
                  </a:cubicBezTo>
                  <a:cubicBezTo>
                    <a:pt x="9" y="128"/>
                    <a:pt x="7" y="130"/>
                    <a:pt x="7" y="131"/>
                  </a:cubicBezTo>
                  <a:cubicBezTo>
                    <a:pt x="7" y="133"/>
                    <a:pt x="9" y="134"/>
                    <a:pt x="10" y="134"/>
                  </a:cubicBezTo>
                  <a:cubicBezTo>
                    <a:pt x="79" y="134"/>
                    <a:pt x="79" y="134"/>
                    <a:pt x="79" y="134"/>
                  </a:cubicBezTo>
                  <a:cubicBezTo>
                    <a:pt x="80" y="136"/>
                    <a:pt x="82" y="138"/>
                    <a:pt x="84" y="138"/>
                  </a:cubicBezTo>
                  <a:cubicBezTo>
                    <a:pt x="122" y="138"/>
                    <a:pt x="122" y="138"/>
                    <a:pt x="122" y="138"/>
                  </a:cubicBezTo>
                  <a:cubicBezTo>
                    <a:pt x="125" y="138"/>
                    <a:pt x="127" y="136"/>
                    <a:pt x="127" y="134"/>
                  </a:cubicBezTo>
                  <a:cubicBezTo>
                    <a:pt x="201" y="134"/>
                    <a:pt x="201" y="134"/>
                    <a:pt x="201" y="134"/>
                  </a:cubicBezTo>
                  <a:lnTo>
                    <a:pt x="201" y="135"/>
                  </a:lnTo>
                  <a:close/>
                  <a:moveTo>
                    <a:pt x="184" y="142"/>
                  </a:moveTo>
                  <a:cubicBezTo>
                    <a:pt x="190" y="142"/>
                    <a:pt x="190" y="142"/>
                    <a:pt x="190" y="142"/>
                  </a:cubicBezTo>
                  <a:cubicBezTo>
                    <a:pt x="192" y="142"/>
                    <a:pt x="193" y="141"/>
                    <a:pt x="193" y="139"/>
                  </a:cubicBezTo>
                  <a:cubicBezTo>
                    <a:pt x="193" y="138"/>
                    <a:pt x="192" y="137"/>
                    <a:pt x="190" y="137"/>
                  </a:cubicBezTo>
                  <a:cubicBezTo>
                    <a:pt x="184" y="137"/>
                    <a:pt x="184" y="137"/>
                    <a:pt x="184" y="137"/>
                  </a:cubicBezTo>
                  <a:cubicBezTo>
                    <a:pt x="183" y="137"/>
                    <a:pt x="181" y="138"/>
                    <a:pt x="181" y="139"/>
                  </a:cubicBezTo>
                  <a:cubicBezTo>
                    <a:pt x="181" y="141"/>
                    <a:pt x="183" y="142"/>
                    <a:pt x="184" y="142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</a:pPr>
              <a:endParaRPr lang="en-GB" sz="1700" dirty="0">
                <a:solidFill>
                  <a:prstClr val="black"/>
                </a:solidFill>
                <a:latin typeface="Arial" panose="020B0604020202090204" pitchFamily="34" charset="0"/>
                <a:ea typeface="MS PGothic" pitchFamily="34" charset="-128"/>
              </a:endParaRPr>
            </a:p>
          </p:txBody>
        </p:sp>
        <p:sp>
          <p:nvSpPr>
            <p:cNvPr id="32" name="Freeform 37"/>
            <p:cNvSpPr/>
            <p:nvPr/>
          </p:nvSpPr>
          <p:spPr bwMode="auto">
            <a:xfrm>
              <a:off x="8431432" y="6289578"/>
              <a:ext cx="174605" cy="0"/>
            </a:xfrm>
            <a:custGeom>
              <a:avLst/>
              <a:gdLst>
                <a:gd name="T0" fmla="*/ 0 w 314"/>
                <a:gd name="T1" fmla="*/ 314 w 314"/>
                <a:gd name="T2" fmla="*/ 0 w 314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314">
                  <a:moveTo>
                    <a:pt x="0" y="0"/>
                  </a:moveTo>
                  <a:lnTo>
                    <a:pt x="31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</a:pPr>
              <a:endParaRPr lang="en-GB" sz="1700" dirty="0">
                <a:solidFill>
                  <a:prstClr val="black"/>
                </a:solidFill>
                <a:latin typeface="Arial" panose="020B0604020202090204" pitchFamily="34" charset="0"/>
                <a:ea typeface="MS PGothic" pitchFamily="34" charset="-128"/>
              </a:endParaRPr>
            </a:p>
          </p:txBody>
        </p:sp>
        <p:sp>
          <p:nvSpPr>
            <p:cNvPr id="33" name="Line 38"/>
            <p:cNvSpPr>
              <a:spLocks noChangeShapeType="1"/>
            </p:cNvSpPr>
            <p:nvPr/>
          </p:nvSpPr>
          <p:spPr bwMode="auto">
            <a:xfrm>
              <a:off x="8431432" y="6289578"/>
              <a:ext cx="174605" cy="0"/>
            </a:xfrm>
            <a:prstGeom prst="line">
              <a:avLst/>
            </a:prstGeom>
            <a:noFill/>
            <a:ln w="6350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</a:pPr>
              <a:endParaRPr lang="en-GB" sz="1700" dirty="0">
                <a:solidFill>
                  <a:prstClr val="black"/>
                </a:solidFill>
                <a:latin typeface="Arial" panose="020B0604020202090204" pitchFamily="34" charset="0"/>
                <a:ea typeface="MS PGothic" pitchFamily="34" charset="-128"/>
              </a:endParaRPr>
            </a:p>
          </p:txBody>
        </p:sp>
        <p:sp>
          <p:nvSpPr>
            <p:cNvPr id="34" name="Freeform 39"/>
            <p:cNvSpPr/>
            <p:nvPr/>
          </p:nvSpPr>
          <p:spPr bwMode="auto">
            <a:xfrm>
              <a:off x="8082223" y="6289578"/>
              <a:ext cx="179609" cy="0"/>
            </a:xfrm>
            <a:custGeom>
              <a:avLst/>
              <a:gdLst>
                <a:gd name="T0" fmla="*/ 0 w 323"/>
                <a:gd name="T1" fmla="*/ 323 w 323"/>
                <a:gd name="T2" fmla="*/ 0 w 32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323">
                  <a:moveTo>
                    <a:pt x="0" y="0"/>
                  </a:moveTo>
                  <a:lnTo>
                    <a:pt x="32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</a:pPr>
              <a:endParaRPr lang="en-GB" sz="1700" dirty="0">
                <a:solidFill>
                  <a:prstClr val="black"/>
                </a:solidFill>
                <a:latin typeface="Arial" panose="020B0604020202090204" pitchFamily="34" charset="0"/>
                <a:ea typeface="MS PGothic" pitchFamily="34" charset="-128"/>
              </a:endParaRPr>
            </a:p>
          </p:txBody>
        </p:sp>
        <p:sp>
          <p:nvSpPr>
            <p:cNvPr id="35" name="Line 40"/>
            <p:cNvSpPr>
              <a:spLocks noChangeShapeType="1"/>
            </p:cNvSpPr>
            <p:nvPr/>
          </p:nvSpPr>
          <p:spPr bwMode="auto">
            <a:xfrm>
              <a:off x="8082223" y="6289578"/>
              <a:ext cx="179609" cy="0"/>
            </a:xfrm>
            <a:prstGeom prst="line">
              <a:avLst/>
            </a:prstGeom>
            <a:noFill/>
            <a:ln w="63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</a:pPr>
              <a:endParaRPr lang="en-GB" sz="1700" dirty="0">
                <a:solidFill>
                  <a:prstClr val="black"/>
                </a:solidFill>
                <a:latin typeface="Arial" panose="020B0604020202090204" pitchFamily="34" charset="0"/>
                <a:ea typeface="MS PGothic" pitchFamily="34" charset="-128"/>
              </a:endParaRPr>
            </a:p>
          </p:txBody>
        </p:sp>
        <p:sp>
          <p:nvSpPr>
            <p:cNvPr id="36" name="Freeform 41"/>
            <p:cNvSpPr/>
            <p:nvPr/>
          </p:nvSpPr>
          <p:spPr bwMode="auto">
            <a:xfrm>
              <a:off x="7702430" y="6289578"/>
              <a:ext cx="205188" cy="0"/>
            </a:xfrm>
            <a:custGeom>
              <a:avLst/>
              <a:gdLst>
                <a:gd name="T0" fmla="*/ 0 w 369"/>
                <a:gd name="T1" fmla="*/ 369 w 369"/>
                <a:gd name="T2" fmla="*/ 0 w 369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369">
                  <a:moveTo>
                    <a:pt x="0" y="0"/>
                  </a:moveTo>
                  <a:lnTo>
                    <a:pt x="36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</a:pPr>
              <a:endParaRPr lang="en-GB" sz="1700" dirty="0">
                <a:solidFill>
                  <a:prstClr val="black"/>
                </a:solidFill>
                <a:latin typeface="Arial" panose="020B0604020202090204" pitchFamily="34" charset="0"/>
                <a:ea typeface="MS PGothic" pitchFamily="34" charset="-128"/>
              </a:endParaRPr>
            </a:p>
          </p:txBody>
        </p:sp>
        <p:sp>
          <p:nvSpPr>
            <p:cNvPr id="37" name="Line 42"/>
            <p:cNvSpPr>
              <a:spLocks noChangeShapeType="1"/>
            </p:cNvSpPr>
            <p:nvPr/>
          </p:nvSpPr>
          <p:spPr bwMode="auto">
            <a:xfrm>
              <a:off x="7702430" y="6289578"/>
              <a:ext cx="205188" cy="0"/>
            </a:xfrm>
            <a:prstGeom prst="line">
              <a:avLst/>
            </a:prstGeom>
            <a:noFill/>
            <a:ln w="6350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</a:pPr>
              <a:endParaRPr lang="en-GB" sz="1700" dirty="0">
                <a:solidFill>
                  <a:prstClr val="black"/>
                </a:solidFill>
                <a:latin typeface="Arial" panose="020B0604020202090204" pitchFamily="34" charset="0"/>
                <a:ea typeface="MS PGothic" pitchFamily="34" charset="-128"/>
              </a:endParaRPr>
            </a:p>
          </p:txBody>
        </p:sp>
        <p:sp>
          <p:nvSpPr>
            <p:cNvPr id="38" name="Freeform 43"/>
            <p:cNvSpPr>
              <a:spLocks noEditPoints="1"/>
            </p:cNvSpPr>
            <p:nvPr/>
          </p:nvSpPr>
          <p:spPr bwMode="auto">
            <a:xfrm>
              <a:off x="6828851" y="6289578"/>
              <a:ext cx="671171" cy="0"/>
            </a:xfrm>
            <a:custGeom>
              <a:avLst/>
              <a:gdLst>
                <a:gd name="T0" fmla="*/ 867 w 1207"/>
                <a:gd name="T1" fmla="*/ 1207 w 1207"/>
                <a:gd name="T2" fmla="*/ 867 w 1207"/>
                <a:gd name="T3" fmla="*/ 0 w 1207"/>
                <a:gd name="T4" fmla="*/ 402 w 1207"/>
                <a:gd name="T5" fmla="*/ 0 w 120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1207">
                  <a:moveTo>
                    <a:pt x="867" y="0"/>
                  </a:moveTo>
                  <a:lnTo>
                    <a:pt x="1207" y="0"/>
                  </a:lnTo>
                  <a:lnTo>
                    <a:pt x="867" y="0"/>
                  </a:lnTo>
                  <a:close/>
                  <a:moveTo>
                    <a:pt x="0" y="0"/>
                  </a:moveTo>
                  <a:lnTo>
                    <a:pt x="40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</a:pPr>
              <a:endParaRPr lang="en-GB" sz="1700" dirty="0">
                <a:solidFill>
                  <a:prstClr val="black"/>
                </a:solidFill>
                <a:latin typeface="Arial" panose="020B0604020202090204" pitchFamily="34" charset="0"/>
                <a:ea typeface="MS PGothic" pitchFamily="34" charset="-128"/>
              </a:endParaRPr>
            </a:p>
          </p:txBody>
        </p:sp>
        <p:sp>
          <p:nvSpPr>
            <p:cNvPr id="39" name="Freeform 44"/>
            <p:cNvSpPr>
              <a:spLocks noEditPoints="1"/>
            </p:cNvSpPr>
            <p:nvPr/>
          </p:nvSpPr>
          <p:spPr bwMode="auto">
            <a:xfrm>
              <a:off x="6828851" y="6289578"/>
              <a:ext cx="671171" cy="0"/>
            </a:xfrm>
            <a:custGeom>
              <a:avLst/>
              <a:gdLst>
                <a:gd name="T0" fmla="*/ 867 w 1207"/>
                <a:gd name="T1" fmla="*/ 1207 w 1207"/>
                <a:gd name="T2" fmla="*/ 0 w 1207"/>
                <a:gd name="T3" fmla="*/ 402 w 120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207">
                  <a:moveTo>
                    <a:pt x="867" y="0"/>
                  </a:moveTo>
                  <a:lnTo>
                    <a:pt x="1207" y="0"/>
                  </a:lnTo>
                  <a:moveTo>
                    <a:pt x="0" y="0"/>
                  </a:moveTo>
                  <a:lnTo>
                    <a:pt x="402" y="0"/>
                  </a:lnTo>
                </a:path>
              </a:pathLst>
            </a:custGeom>
            <a:solidFill>
              <a:schemeClr val="bg1"/>
            </a:solidFill>
            <a:ln w="6350" cap="flat">
              <a:solidFill>
                <a:schemeClr val="bg1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</a:pPr>
              <a:endParaRPr lang="en-GB" sz="1700" dirty="0">
                <a:solidFill>
                  <a:prstClr val="black"/>
                </a:solidFill>
                <a:latin typeface="Arial" panose="020B0604020202090204" pitchFamily="34" charset="0"/>
                <a:ea typeface="MS PGothic" pitchFamily="34" charset="-128"/>
              </a:endParaRPr>
            </a:p>
          </p:txBody>
        </p:sp>
        <p:sp>
          <p:nvSpPr>
            <p:cNvPr id="40" name="Freeform 45"/>
            <p:cNvSpPr>
              <a:spLocks noEditPoints="1"/>
            </p:cNvSpPr>
            <p:nvPr/>
          </p:nvSpPr>
          <p:spPr bwMode="auto">
            <a:xfrm>
              <a:off x="8771744" y="6303479"/>
              <a:ext cx="682848" cy="0"/>
            </a:xfrm>
            <a:custGeom>
              <a:avLst/>
              <a:gdLst>
                <a:gd name="T0" fmla="*/ 0 w 1228"/>
                <a:gd name="T1" fmla="*/ 342 w 1228"/>
                <a:gd name="T2" fmla="*/ 0 w 1228"/>
                <a:gd name="T3" fmla="*/ 843 w 1228"/>
                <a:gd name="T4" fmla="*/ 1228 w 1228"/>
                <a:gd name="T5" fmla="*/ 843 w 1228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1228">
                  <a:moveTo>
                    <a:pt x="0" y="0"/>
                  </a:moveTo>
                  <a:lnTo>
                    <a:pt x="342" y="0"/>
                  </a:lnTo>
                  <a:lnTo>
                    <a:pt x="0" y="0"/>
                  </a:lnTo>
                  <a:close/>
                  <a:moveTo>
                    <a:pt x="843" y="0"/>
                  </a:moveTo>
                  <a:lnTo>
                    <a:pt x="1228" y="0"/>
                  </a:lnTo>
                  <a:lnTo>
                    <a:pt x="843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</a:pPr>
              <a:endParaRPr lang="en-GB" sz="1700" dirty="0">
                <a:solidFill>
                  <a:prstClr val="black"/>
                </a:solidFill>
                <a:latin typeface="Arial" panose="020B0604020202090204" pitchFamily="34" charset="0"/>
                <a:ea typeface="MS PGothic" pitchFamily="34" charset="-128"/>
              </a:endParaRPr>
            </a:p>
          </p:txBody>
        </p:sp>
        <p:sp>
          <p:nvSpPr>
            <p:cNvPr id="41" name="Freeform 46"/>
            <p:cNvSpPr>
              <a:spLocks noEditPoints="1"/>
            </p:cNvSpPr>
            <p:nvPr/>
          </p:nvSpPr>
          <p:spPr bwMode="auto">
            <a:xfrm>
              <a:off x="8771744" y="6303479"/>
              <a:ext cx="682848" cy="0"/>
            </a:xfrm>
            <a:custGeom>
              <a:avLst/>
              <a:gdLst>
                <a:gd name="T0" fmla="*/ 0 w 1228"/>
                <a:gd name="T1" fmla="*/ 342 w 1228"/>
                <a:gd name="T2" fmla="*/ 843 w 1228"/>
                <a:gd name="T3" fmla="*/ 1228 w 1228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228">
                  <a:moveTo>
                    <a:pt x="0" y="0"/>
                  </a:moveTo>
                  <a:lnTo>
                    <a:pt x="342" y="0"/>
                  </a:lnTo>
                  <a:moveTo>
                    <a:pt x="843" y="0"/>
                  </a:moveTo>
                  <a:lnTo>
                    <a:pt x="1228" y="0"/>
                  </a:lnTo>
                </a:path>
              </a:pathLst>
            </a:custGeom>
            <a:solidFill>
              <a:schemeClr val="bg1"/>
            </a:solidFill>
            <a:ln w="6350" cap="flat">
              <a:solidFill>
                <a:schemeClr val="bg1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</a:pPr>
              <a:endParaRPr lang="en-GB" sz="1700" dirty="0">
                <a:solidFill>
                  <a:prstClr val="black"/>
                </a:solidFill>
                <a:latin typeface="Arial" panose="020B0604020202090204" pitchFamily="34" charset="0"/>
                <a:ea typeface="MS PGothic" pitchFamily="34" charset="-128"/>
              </a:endParaRPr>
            </a:p>
          </p:txBody>
        </p:sp>
      </p:grpSp>
      <p:pic>
        <p:nvPicPr>
          <p:cNvPr id="4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60753" y="639715"/>
            <a:ext cx="2978013" cy="569239"/>
          </a:xfrm>
          <a:prstGeom prst="rect">
            <a:avLst/>
          </a:prstGeom>
          <a:noFill/>
        </p:spPr>
      </p:pic>
      <p:pic>
        <p:nvPicPr>
          <p:cNvPr id="43" name="Picture 15" descr="Sogeti_Logo.png"/>
          <p:cNvPicPr>
            <a:picLocks noChangeAspect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8060217" y="686728"/>
            <a:ext cx="2681098" cy="475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2"/>
          <a:ext cx="171053" cy="1360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08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图片 256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171053" cy="1360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396996" y="1413039"/>
            <a:ext cx="10728086" cy="4509122"/>
          </a:xfrm>
          <a:prstGeom prst="rect">
            <a:avLst/>
          </a:prstGeom>
        </p:spPr>
        <p:txBody>
          <a:bodyPr/>
          <a:lstStyle>
            <a:lvl1pPr>
              <a:defRPr b="0"/>
            </a:lvl1pPr>
            <a:lvl2pPr marL="431800" indent="-215900">
              <a:defRPr/>
            </a:lvl2pPr>
            <a:lvl3pPr marL="647700" indent="-215900">
              <a:defRPr/>
            </a:lvl3pPr>
            <a:lvl4pPr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84648" cy="1500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32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图片 2665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84648" cy="15000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  <p:custDataLst>
              <p:tags r:id="rId4"/>
            </p:custDataLst>
          </p:nvPr>
        </p:nvSpPr>
        <p:spPr>
          <a:xfrm>
            <a:off x="396995" y="1413038"/>
            <a:ext cx="5220017" cy="4491634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 marL="431800" indent="-215900">
              <a:defRPr/>
            </a:lvl2pPr>
            <a:lvl3pPr marL="647700" indent="-215900">
              <a:defRPr/>
            </a:lvl3pPr>
            <a:lvl4pPr>
              <a:defRPr/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  <p:custDataLst>
              <p:tags r:id="rId5"/>
            </p:custDataLst>
          </p:nvPr>
        </p:nvSpPr>
        <p:spPr>
          <a:xfrm>
            <a:off x="5905064" y="1413039"/>
            <a:ext cx="5220018" cy="4509121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 marL="431800" indent="-215900"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 flipV="1">
            <a:off x="2" y="5483487"/>
            <a:ext cx="11522072" cy="996688"/>
          </a:xfrm>
          <a:prstGeom prst="rect">
            <a:avLst/>
          </a:prstGeom>
          <a:solidFill>
            <a:srgbClr val="EAEAEA"/>
          </a:solidFill>
          <a:ln w="15875" cap="flat">
            <a:noFill/>
            <a:prstDash val="solid"/>
            <a:miter lim="800000"/>
          </a:ln>
        </p:spPr>
        <p:txBody>
          <a:bodyPr vert="horz" wrap="square" lIns="86136" tIns="43068" rIns="86136" bIns="43068" numCol="1" anchor="t" anchorCtr="0" compatLnSpc="1"/>
          <a:lstStyle/>
          <a:p>
            <a:pPr defTabSz="860425"/>
            <a:endParaRPr lang="de-DE" sz="1765" dirty="0">
              <a:solidFill>
                <a:prstClr val="black"/>
              </a:solidFill>
            </a:endParaRPr>
          </a:p>
        </p:txBody>
      </p:sp>
      <p:sp>
        <p:nvSpPr>
          <p:cNvPr id="9" name="Rechteck 8"/>
          <p:cNvSpPr/>
          <p:nvPr userDrawn="1"/>
        </p:nvSpPr>
        <p:spPr bwMode="auto">
          <a:xfrm>
            <a:off x="2" y="0"/>
            <a:ext cx="11522072" cy="5483487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5875" cap="flat">
            <a:noFill/>
            <a:prstDash val="solid"/>
            <a:miter lim="800000"/>
          </a:ln>
        </p:spPr>
        <p:txBody>
          <a:bodyPr vert="horz" wrap="square" lIns="86136" tIns="43068" rIns="86136" bIns="43068" numCol="1" anchor="t" anchorCtr="0" compatLnSpc="1"/>
          <a:lstStyle/>
          <a:p>
            <a:pPr defTabSz="860425"/>
            <a:endParaRPr lang="de-DE" sz="1765" dirty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>
          <a:xfrm>
            <a:off x="987118" y="42"/>
            <a:ext cx="9547841" cy="3535316"/>
          </a:xfrm>
        </p:spPr>
        <p:txBody>
          <a:bodyPr anchor="b" anchorCtr="0">
            <a:noAutofit/>
          </a:bodyPr>
          <a:lstStyle>
            <a:lvl1pPr algn="ctr">
              <a:lnSpc>
                <a:spcPct val="80000"/>
              </a:lnSpc>
              <a:defRPr sz="8315" b="0" cap="all">
                <a:solidFill>
                  <a:schemeClr val="bg1"/>
                </a:solidFill>
                <a:latin typeface="Bebas Neue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987118" y="3535360"/>
            <a:ext cx="9547841" cy="1948171"/>
          </a:xfrm>
        </p:spPr>
        <p:txBody>
          <a:bodyPr anchor="t" anchorCtr="0"/>
          <a:lstStyle>
            <a:lvl1pPr marL="0" indent="0" algn="ctr">
              <a:lnSpc>
                <a:spcPct val="80000"/>
              </a:lnSpc>
              <a:buNone/>
              <a:defRPr sz="4160">
                <a:solidFill>
                  <a:srgbClr val="B2B2B2"/>
                </a:solidFill>
              </a:defRPr>
            </a:lvl1pPr>
            <a:lvl2pPr marL="430530" indent="0">
              <a:buNone/>
              <a:defRPr sz="1765">
                <a:solidFill>
                  <a:schemeClr val="tx1">
                    <a:tint val="75000"/>
                  </a:schemeClr>
                </a:solidFill>
              </a:defRPr>
            </a:lvl2pPr>
            <a:lvl3pPr marL="861060" indent="0">
              <a:buNone/>
              <a:defRPr sz="1510">
                <a:solidFill>
                  <a:schemeClr val="tx1">
                    <a:tint val="75000"/>
                  </a:schemeClr>
                </a:solidFill>
              </a:defRPr>
            </a:lvl3pPr>
            <a:lvl4pPr marL="129159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4pPr>
            <a:lvl5pPr marL="172212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5pPr>
            <a:lvl6pPr marL="215265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6pPr>
            <a:lvl7pPr marL="258318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7pPr>
            <a:lvl8pPr marL="301371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8pPr>
            <a:lvl9pPr marL="344424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10" descr="Leadership.jpg"/>
          <p:cNvPicPr>
            <a:picLocks noChangeAspect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592516"/>
            <a:ext cx="11522075" cy="57601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"/>
          <p:cNvPicPr>
            <a:picLocks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0265849" y="130504"/>
            <a:ext cx="914165" cy="673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Freeform 12"/>
          <p:cNvSpPr/>
          <p:nvPr userDrawn="1">
            <p:custDataLst>
              <p:tags r:id="rId1"/>
            </p:custDataLst>
          </p:nvPr>
        </p:nvSpPr>
        <p:spPr bwMode="auto">
          <a:xfrm>
            <a:off x="0" y="544516"/>
            <a:ext cx="11532077" cy="711019"/>
          </a:xfrm>
          <a:custGeom>
            <a:avLst/>
            <a:gdLst>
              <a:gd name="connsiteX0" fmla="*/ 9509 w 10000"/>
              <a:gd name="connsiteY0" fmla="*/ 4537 h 10000"/>
              <a:gd name="connsiteX1" fmla="*/ 972 w 10000"/>
              <a:gd name="connsiteY1" fmla="*/ 4537 h 10000"/>
              <a:gd name="connsiteX2" fmla="*/ 484 w 10000"/>
              <a:gd name="connsiteY2" fmla="*/ 9122 h 10000"/>
              <a:gd name="connsiteX3" fmla="*/ 0 w 10000"/>
              <a:gd name="connsiteY3" fmla="*/ 4537 h 10000"/>
              <a:gd name="connsiteX4" fmla="*/ 0 w 10000"/>
              <a:gd name="connsiteY4" fmla="*/ 5463 h 10000"/>
              <a:gd name="connsiteX5" fmla="*/ 484 w 10000"/>
              <a:gd name="connsiteY5" fmla="*/ 10000 h 10000"/>
              <a:gd name="connsiteX6" fmla="*/ 972 w 10000"/>
              <a:gd name="connsiteY6" fmla="*/ 5463 h 10000"/>
              <a:gd name="connsiteX7" fmla="*/ 8912 w 10000"/>
              <a:gd name="connsiteY7" fmla="*/ 5514 h 10000"/>
              <a:gd name="connsiteX8" fmla="*/ 10000 w 10000"/>
              <a:gd name="connsiteY8" fmla="*/ 927 h 10000"/>
              <a:gd name="connsiteX9" fmla="*/ 10000 w 10000"/>
              <a:gd name="connsiteY9" fmla="*/ 0 h 10000"/>
              <a:gd name="connsiteX10" fmla="*/ 9509 w 10000"/>
              <a:gd name="connsiteY10" fmla="*/ 4537 h 10000"/>
              <a:gd name="connsiteX0-1" fmla="*/ 8912 w 10000"/>
              <a:gd name="connsiteY0-2" fmla="*/ 4577 h 10000"/>
              <a:gd name="connsiteX1-3" fmla="*/ 972 w 10000"/>
              <a:gd name="connsiteY1-4" fmla="*/ 4537 h 10000"/>
              <a:gd name="connsiteX2-5" fmla="*/ 484 w 10000"/>
              <a:gd name="connsiteY2-6" fmla="*/ 9122 h 10000"/>
              <a:gd name="connsiteX3-7" fmla="*/ 0 w 10000"/>
              <a:gd name="connsiteY3-8" fmla="*/ 4537 h 10000"/>
              <a:gd name="connsiteX4-9" fmla="*/ 0 w 10000"/>
              <a:gd name="connsiteY4-10" fmla="*/ 5463 h 10000"/>
              <a:gd name="connsiteX5-11" fmla="*/ 484 w 10000"/>
              <a:gd name="connsiteY5-12" fmla="*/ 10000 h 10000"/>
              <a:gd name="connsiteX6-13" fmla="*/ 972 w 10000"/>
              <a:gd name="connsiteY6-14" fmla="*/ 5463 h 10000"/>
              <a:gd name="connsiteX7-15" fmla="*/ 8912 w 10000"/>
              <a:gd name="connsiteY7-16" fmla="*/ 5514 h 10000"/>
              <a:gd name="connsiteX8-17" fmla="*/ 10000 w 10000"/>
              <a:gd name="connsiteY8-18" fmla="*/ 927 h 10000"/>
              <a:gd name="connsiteX9-19" fmla="*/ 10000 w 10000"/>
              <a:gd name="connsiteY9-20" fmla="*/ 0 h 10000"/>
              <a:gd name="connsiteX10-21" fmla="*/ 8912 w 10000"/>
              <a:gd name="connsiteY10-22" fmla="*/ 4577 h 10000"/>
              <a:gd name="connsiteX0-23" fmla="*/ 8912 w 10000"/>
              <a:gd name="connsiteY0-24" fmla="*/ 4383 h 9806"/>
              <a:gd name="connsiteX1-25" fmla="*/ 972 w 10000"/>
              <a:gd name="connsiteY1-26" fmla="*/ 4343 h 9806"/>
              <a:gd name="connsiteX2-27" fmla="*/ 484 w 10000"/>
              <a:gd name="connsiteY2-28" fmla="*/ 8928 h 9806"/>
              <a:gd name="connsiteX3-29" fmla="*/ 0 w 10000"/>
              <a:gd name="connsiteY3-30" fmla="*/ 4343 h 9806"/>
              <a:gd name="connsiteX4-31" fmla="*/ 0 w 10000"/>
              <a:gd name="connsiteY4-32" fmla="*/ 5269 h 9806"/>
              <a:gd name="connsiteX5-33" fmla="*/ 484 w 10000"/>
              <a:gd name="connsiteY5-34" fmla="*/ 9806 h 9806"/>
              <a:gd name="connsiteX6-35" fmla="*/ 972 w 10000"/>
              <a:gd name="connsiteY6-36" fmla="*/ 5269 h 9806"/>
              <a:gd name="connsiteX7-37" fmla="*/ 8912 w 10000"/>
              <a:gd name="connsiteY7-38" fmla="*/ 5320 h 9806"/>
              <a:gd name="connsiteX8-39" fmla="*/ 10000 w 10000"/>
              <a:gd name="connsiteY8-40" fmla="*/ 733 h 9806"/>
              <a:gd name="connsiteX9-41" fmla="*/ 9231 w 10000"/>
              <a:gd name="connsiteY9-42" fmla="*/ 0 h 9806"/>
              <a:gd name="connsiteX10-43" fmla="*/ 8912 w 10000"/>
              <a:gd name="connsiteY10-44" fmla="*/ 4383 h 9806"/>
              <a:gd name="connsiteX0-45" fmla="*/ 8912 w 9297"/>
              <a:gd name="connsiteY0-46" fmla="*/ 4470 h 10000"/>
              <a:gd name="connsiteX1-47" fmla="*/ 972 w 9297"/>
              <a:gd name="connsiteY1-48" fmla="*/ 4429 h 10000"/>
              <a:gd name="connsiteX2-49" fmla="*/ 484 w 9297"/>
              <a:gd name="connsiteY2-50" fmla="*/ 9105 h 10000"/>
              <a:gd name="connsiteX3-51" fmla="*/ 0 w 9297"/>
              <a:gd name="connsiteY3-52" fmla="*/ 4429 h 10000"/>
              <a:gd name="connsiteX4-53" fmla="*/ 0 w 9297"/>
              <a:gd name="connsiteY4-54" fmla="*/ 5373 h 10000"/>
              <a:gd name="connsiteX5-55" fmla="*/ 484 w 9297"/>
              <a:gd name="connsiteY5-56" fmla="*/ 10000 h 10000"/>
              <a:gd name="connsiteX6-57" fmla="*/ 972 w 9297"/>
              <a:gd name="connsiteY6-58" fmla="*/ 5373 h 10000"/>
              <a:gd name="connsiteX7-59" fmla="*/ 8912 w 9297"/>
              <a:gd name="connsiteY7-60" fmla="*/ 5425 h 10000"/>
              <a:gd name="connsiteX8-61" fmla="*/ 9231 w 9297"/>
              <a:gd name="connsiteY8-62" fmla="*/ 1642 h 10000"/>
              <a:gd name="connsiteX9-63" fmla="*/ 9231 w 9297"/>
              <a:gd name="connsiteY9-64" fmla="*/ 0 h 10000"/>
              <a:gd name="connsiteX10-65" fmla="*/ 8912 w 9297"/>
              <a:gd name="connsiteY10-66" fmla="*/ 4470 h 10000"/>
              <a:gd name="connsiteX0-67" fmla="*/ 9586 w 10000"/>
              <a:gd name="connsiteY0-68" fmla="*/ 4470 h 10000"/>
              <a:gd name="connsiteX1-69" fmla="*/ 1045 w 10000"/>
              <a:gd name="connsiteY1-70" fmla="*/ 4429 h 10000"/>
              <a:gd name="connsiteX2-71" fmla="*/ 521 w 10000"/>
              <a:gd name="connsiteY2-72" fmla="*/ 9105 h 10000"/>
              <a:gd name="connsiteX3-73" fmla="*/ 0 w 10000"/>
              <a:gd name="connsiteY3-74" fmla="*/ 4429 h 10000"/>
              <a:gd name="connsiteX4-75" fmla="*/ 0 w 10000"/>
              <a:gd name="connsiteY4-76" fmla="*/ 5373 h 10000"/>
              <a:gd name="connsiteX5-77" fmla="*/ 521 w 10000"/>
              <a:gd name="connsiteY5-78" fmla="*/ 10000 h 10000"/>
              <a:gd name="connsiteX6-79" fmla="*/ 1045 w 10000"/>
              <a:gd name="connsiteY6-80" fmla="*/ 5373 h 10000"/>
              <a:gd name="connsiteX7-81" fmla="*/ 9281 w 10000"/>
              <a:gd name="connsiteY7-82" fmla="*/ 5426 h 10000"/>
              <a:gd name="connsiteX8-83" fmla="*/ 9929 w 10000"/>
              <a:gd name="connsiteY8-84" fmla="*/ 1642 h 10000"/>
              <a:gd name="connsiteX9-85" fmla="*/ 9929 w 10000"/>
              <a:gd name="connsiteY9-86" fmla="*/ 0 h 10000"/>
              <a:gd name="connsiteX10-87" fmla="*/ 9586 w 10000"/>
              <a:gd name="connsiteY10-88" fmla="*/ 4470 h 10000"/>
              <a:gd name="connsiteX0-89" fmla="*/ 9586 w 10000"/>
              <a:gd name="connsiteY0-90" fmla="*/ 4470 h 10000"/>
              <a:gd name="connsiteX1-91" fmla="*/ 1045 w 10000"/>
              <a:gd name="connsiteY1-92" fmla="*/ 4429 h 10000"/>
              <a:gd name="connsiteX2-93" fmla="*/ 521 w 10000"/>
              <a:gd name="connsiteY2-94" fmla="*/ 9105 h 10000"/>
              <a:gd name="connsiteX3-95" fmla="*/ 0 w 10000"/>
              <a:gd name="connsiteY3-96" fmla="*/ 4429 h 10000"/>
              <a:gd name="connsiteX4-97" fmla="*/ 0 w 10000"/>
              <a:gd name="connsiteY4-98" fmla="*/ 5373 h 10000"/>
              <a:gd name="connsiteX5-99" fmla="*/ 521 w 10000"/>
              <a:gd name="connsiteY5-100" fmla="*/ 10000 h 10000"/>
              <a:gd name="connsiteX6-101" fmla="*/ 1045 w 10000"/>
              <a:gd name="connsiteY6-102" fmla="*/ 5373 h 10000"/>
              <a:gd name="connsiteX7-103" fmla="*/ 9281 w 10000"/>
              <a:gd name="connsiteY7-104" fmla="*/ 5426 h 10000"/>
              <a:gd name="connsiteX8-105" fmla="*/ 9929 w 10000"/>
              <a:gd name="connsiteY8-106" fmla="*/ 1642 h 10000"/>
              <a:gd name="connsiteX9-107" fmla="*/ 9929 w 10000"/>
              <a:gd name="connsiteY9-108" fmla="*/ 0 h 10000"/>
              <a:gd name="connsiteX10-109" fmla="*/ 9586 w 10000"/>
              <a:gd name="connsiteY10-110" fmla="*/ 4470 h 10000"/>
              <a:gd name="connsiteX0-111" fmla="*/ 9586 w 10000"/>
              <a:gd name="connsiteY0-112" fmla="*/ 4470 h 10000"/>
              <a:gd name="connsiteX1-113" fmla="*/ 1045 w 10000"/>
              <a:gd name="connsiteY1-114" fmla="*/ 4429 h 10000"/>
              <a:gd name="connsiteX2-115" fmla="*/ 521 w 10000"/>
              <a:gd name="connsiteY2-116" fmla="*/ 9105 h 10000"/>
              <a:gd name="connsiteX3-117" fmla="*/ 0 w 10000"/>
              <a:gd name="connsiteY3-118" fmla="*/ 4429 h 10000"/>
              <a:gd name="connsiteX4-119" fmla="*/ 0 w 10000"/>
              <a:gd name="connsiteY4-120" fmla="*/ 5373 h 10000"/>
              <a:gd name="connsiteX5-121" fmla="*/ 521 w 10000"/>
              <a:gd name="connsiteY5-122" fmla="*/ 10000 h 10000"/>
              <a:gd name="connsiteX6-123" fmla="*/ 1045 w 10000"/>
              <a:gd name="connsiteY6-124" fmla="*/ 5373 h 10000"/>
              <a:gd name="connsiteX7-125" fmla="*/ 9281 w 10000"/>
              <a:gd name="connsiteY7-126" fmla="*/ 5426 h 10000"/>
              <a:gd name="connsiteX8-127" fmla="*/ 9929 w 10000"/>
              <a:gd name="connsiteY8-128" fmla="*/ 1642 h 10000"/>
              <a:gd name="connsiteX9-129" fmla="*/ 9929 w 10000"/>
              <a:gd name="connsiteY9-130" fmla="*/ 0 h 10000"/>
              <a:gd name="connsiteX10-131" fmla="*/ 9586 w 10000"/>
              <a:gd name="connsiteY10-132" fmla="*/ 4470 h 10000"/>
              <a:gd name="connsiteX0-133" fmla="*/ 9281 w 9929"/>
              <a:gd name="connsiteY0-134" fmla="*/ 4558 h 10000"/>
              <a:gd name="connsiteX1-135" fmla="*/ 1045 w 9929"/>
              <a:gd name="connsiteY1-136" fmla="*/ 4429 h 10000"/>
              <a:gd name="connsiteX2-137" fmla="*/ 521 w 9929"/>
              <a:gd name="connsiteY2-138" fmla="*/ 9105 h 10000"/>
              <a:gd name="connsiteX3-139" fmla="*/ 0 w 9929"/>
              <a:gd name="connsiteY3-140" fmla="*/ 4429 h 10000"/>
              <a:gd name="connsiteX4-141" fmla="*/ 0 w 9929"/>
              <a:gd name="connsiteY4-142" fmla="*/ 5373 h 10000"/>
              <a:gd name="connsiteX5-143" fmla="*/ 521 w 9929"/>
              <a:gd name="connsiteY5-144" fmla="*/ 10000 h 10000"/>
              <a:gd name="connsiteX6-145" fmla="*/ 1045 w 9929"/>
              <a:gd name="connsiteY6-146" fmla="*/ 5373 h 10000"/>
              <a:gd name="connsiteX7-147" fmla="*/ 9281 w 9929"/>
              <a:gd name="connsiteY7-148" fmla="*/ 5426 h 10000"/>
              <a:gd name="connsiteX8-149" fmla="*/ 9929 w 9929"/>
              <a:gd name="connsiteY8-150" fmla="*/ 1642 h 10000"/>
              <a:gd name="connsiteX9-151" fmla="*/ 9929 w 9929"/>
              <a:gd name="connsiteY9-152" fmla="*/ 0 h 10000"/>
              <a:gd name="connsiteX10-153" fmla="*/ 9281 w 9929"/>
              <a:gd name="connsiteY10-154" fmla="*/ 4558 h 10000"/>
              <a:gd name="connsiteX0-155" fmla="*/ 9347 w 10000"/>
              <a:gd name="connsiteY0-156" fmla="*/ 4558 h 10000"/>
              <a:gd name="connsiteX1-157" fmla="*/ 1052 w 10000"/>
              <a:gd name="connsiteY1-158" fmla="*/ 4429 h 10000"/>
              <a:gd name="connsiteX2-159" fmla="*/ 525 w 10000"/>
              <a:gd name="connsiteY2-160" fmla="*/ 9105 h 10000"/>
              <a:gd name="connsiteX3-161" fmla="*/ 0 w 10000"/>
              <a:gd name="connsiteY3-162" fmla="*/ 4429 h 10000"/>
              <a:gd name="connsiteX4-163" fmla="*/ 0 w 10000"/>
              <a:gd name="connsiteY4-164" fmla="*/ 5373 h 10000"/>
              <a:gd name="connsiteX5-165" fmla="*/ 525 w 10000"/>
              <a:gd name="connsiteY5-166" fmla="*/ 10000 h 10000"/>
              <a:gd name="connsiteX6-167" fmla="*/ 1052 w 10000"/>
              <a:gd name="connsiteY6-168" fmla="*/ 5373 h 10000"/>
              <a:gd name="connsiteX7-169" fmla="*/ 9347 w 10000"/>
              <a:gd name="connsiteY7-170" fmla="*/ 5426 h 10000"/>
              <a:gd name="connsiteX8-171" fmla="*/ 10000 w 10000"/>
              <a:gd name="connsiteY8-172" fmla="*/ 0 h 10000"/>
              <a:gd name="connsiteX9-173" fmla="*/ 10000 w 10000"/>
              <a:gd name="connsiteY9-174" fmla="*/ 0 h 10000"/>
              <a:gd name="connsiteX10-175" fmla="*/ 9347 w 10000"/>
              <a:gd name="connsiteY10-176" fmla="*/ 4558 h 10000"/>
              <a:gd name="connsiteX0-177" fmla="*/ 9475 w 10000"/>
              <a:gd name="connsiteY0-178" fmla="*/ 4447 h 10000"/>
              <a:gd name="connsiteX1-179" fmla="*/ 1052 w 10000"/>
              <a:gd name="connsiteY1-180" fmla="*/ 4429 h 10000"/>
              <a:gd name="connsiteX2-181" fmla="*/ 525 w 10000"/>
              <a:gd name="connsiteY2-182" fmla="*/ 9105 h 10000"/>
              <a:gd name="connsiteX3-183" fmla="*/ 0 w 10000"/>
              <a:gd name="connsiteY3-184" fmla="*/ 4429 h 10000"/>
              <a:gd name="connsiteX4-185" fmla="*/ 0 w 10000"/>
              <a:gd name="connsiteY4-186" fmla="*/ 5373 h 10000"/>
              <a:gd name="connsiteX5-187" fmla="*/ 525 w 10000"/>
              <a:gd name="connsiteY5-188" fmla="*/ 10000 h 10000"/>
              <a:gd name="connsiteX6-189" fmla="*/ 1052 w 10000"/>
              <a:gd name="connsiteY6-190" fmla="*/ 5373 h 10000"/>
              <a:gd name="connsiteX7-191" fmla="*/ 9347 w 10000"/>
              <a:gd name="connsiteY7-192" fmla="*/ 5426 h 10000"/>
              <a:gd name="connsiteX8-193" fmla="*/ 10000 w 10000"/>
              <a:gd name="connsiteY8-194" fmla="*/ 0 h 10000"/>
              <a:gd name="connsiteX9-195" fmla="*/ 10000 w 10000"/>
              <a:gd name="connsiteY9-196" fmla="*/ 0 h 10000"/>
              <a:gd name="connsiteX10-197" fmla="*/ 9475 w 10000"/>
              <a:gd name="connsiteY10-198" fmla="*/ 4447 h 10000"/>
              <a:gd name="connsiteX0-199" fmla="*/ 9475 w 10000"/>
              <a:gd name="connsiteY0-200" fmla="*/ 4447 h 10000"/>
              <a:gd name="connsiteX1-201" fmla="*/ 1052 w 10000"/>
              <a:gd name="connsiteY1-202" fmla="*/ 4429 h 10000"/>
              <a:gd name="connsiteX2-203" fmla="*/ 525 w 10000"/>
              <a:gd name="connsiteY2-204" fmla="*/ 9105 h 10000"/>
              <a:gd name="connsiteX3-205" fmla="*/ 0 w 10000"/>
              <a:gd name="connsiteY3-206" fmla="*/ 4429 h 10000"/>
              <a:gd name="connsiteX4-207" fmla="*/ 0 w 10000"/>
              <a:gd name="connsiteY4-208" fmla="*/ 5373 h 10000"/>
              <a:gd name="connsiteX5-209" fmla="*/ 525 w 10000"/>
              <a:gd name="connsiteY5-210" fmla="*/ 10000 h 10000"/>
              <a:gd name="connsiteX6-211" fmla="*/ 1052 w 10000"/>
              <a:gd name="connsiteY6-212" fmla="*/ 5373 h 10000"/>
              <a:gd name="connsiteX7-213" fmla="*/ 9449 w 10000"/>
              <a:gd name="connsiteY7-214" fmla="*/ 5470 h 10000"/>
              <a:gd name="connsiteX8-215" fmla="*/ 10000 w 10000"/>
              <a:gd name="connsiteY8-216" fmla="*/ 0 h 10000"/>
              <a:gd name="connsiteX9-217" fmla="*/ 10000 w 10000"/>
              <a:gd name="connsiteY9-218" fmla="*/ 0 h 10000"/>
              <a:gd name="connsiteX10-219" fmla="*/ 9475 w 10000"/>
              <a:gd name="connsiteY10-220" fmla="*/ 4447 h 10000"/>
              <a:gd name="connsiteX0-221" fmla="*/ 9475 w 10956"/>
              <a:gd name="connsiteY0-222" fmla="*/ 4447 h 10000"/>
              <a:gd name="connsiteX1-223" fmla="*/ 1052 w 10956"/>
              <a:gd name="connsiteY1-224" fmla="*/ 4429 h 10000"/>
              <a:gd name="connsiteX2-225" fmla="*/ 525 w 10956"/>
              <a:gd name="connsiteY2-226" fmla="*/ 9105 h 10000"/>
              <a:gd name="connsiteX3-227" fmla="*/ 0 w 10956"/>
              <a:gd name="connsiteY3-228" fmla="*/ 4429 h 10000"/>
              <a:gd name="connsiteX4-229" fmla="*/ 0 w 10956"/>
              <a:gd name="connsiteY4-230" fmla="*/ 5373 h 10000"/>
              <a:gd name="connsiteX5-231" fmla="*/ 525 w 10956"/>
              <a:gd name="connsiteY5-232" fmla="*/ 10000 h 10000"/>
              <a:gd name="connsiteX6-233" fmla="*/ 1052 w 10956"/>
              <a:gd name="connsiteY6-234" fmla="*/ 5373 h 10000"/>
              <a:gd name="connsiteX7-235" fmla="*/ 9449 w 10956"/>
              <a:gd name="connsiteY7-236" fmla="*/ 5470 h 10000"/>
              <a:gd name="connsiteX8-237" fmla="*/ 10000 w 10956"/>
              <a:gd name="connsiteY8-238" fmla="*/ 0 h 10000"/>
              <a:gd name="connsiteX9-239" fmla="*/ 10000 w 10956"/>
              <a:gd name="connsiteY9-240" fmla="*/ 0 h 10000"/>
              <a:gd name="connsiteX10-241" fmla="*/ 9940 w 10956"/>
              <a:gd name="connsiteY10-242" fmla="*/ 1168 h 10000"/>
              <a:gd name="connsiteX11" fmla="*/ 9475 w 10956"/>
              <a:gd name="connsiteY11" fmla="*/ 4447 h 10000"/>
              <a:gd name="connsiteX0-243" fmla="*/ 9475 w 10956"/>
              <a:gd name="connsiteY0-244" fmla="*/ 4447 h 10000"/>
              <a:gd name="connsiteX1-245" fmla="*/ 1052 w 10956"/>
              <a:gd name="connsiteY1-246" fmla="*/ 4429 h 10000"/>
              <a:gd name="connsiteX2-247" fmla="*/ 525 w 10956"/>
              <a:gd name="connsiteY2-248" fmla="*/ 9105 h 10000"/>
              <a:gd name="connsiteX3-249" fmla="*/ 0 w 10956"/>
              <a:gd name="connsiteY3-250" fmla="*/ 4429 h 10000"/>
              <a:gd name="connsiteX4-251" fmla="*/ 0 w 10956"/>
              <a:gd name="connsiteY4-252" fmla="*/ 5373 h 10000"/>
              <a:gd name="connsiteX5-253" fmla="*/ 525 w 10956"/>
              <a:gd name="connsiteY5-254" fmla="*/ 10000 h 10000"/>
              <a:gd name="connsiteX6-255" fmla="*/ 1052 w 10956"/>
              <a:gd name="connsiteY6-256" fmla="*/ 5373 h 10000"/>
              <a:gd name="connsiteX7-257" fmla="*/ 9449 w 10956"/>
              <a:gd name="connsiteY7-258" fmla="*/ 5470 h 10000"/>
              <a:gd name="connsiteX8-259" fmla="*/ 10000 w 10956"/>
              <a:gd name="connsiteY8-260" fmla="*/ 0 h 10000"/>
              <a:gd name="connsiteX9-261" fmla="*/ 10000 w 10956"/>
              <a:gd name="connsiteY9-262" fmla="*/ 0 h 10000"/>
              <a:gd name="connsiteX10-263" fmla="*/ 10104 w 10956"/>
              <a:gd name="connsiteY10-264" fmla="*/ 1401 h 10000"/>
              <a:gd name="connsiteX11-265" fmla="*/ 9475 w 10956"/>
              <a:gd name="connsiteY11-266" fmla="*/ 4447 h 10000"/>
              <a:gd name="connsiteX0-267" fmla="*/ 9475 w 10966"/>
              <a:gd name="connsiteY0-268" fmla="*/ 4447 h 10000"/>
              <a:gd name="connsiteX1-269" fmla="*/ 1052 w 10966"/>
              <a:gd name="connsiteY1-270" fmla="*/ 4429 h 10000"/>
              <a:gd name="connsiteX2-271" fmla="*/ 525 w 10966"/>
              <a:gd name="connsiteY2-272" fmla="*/ 9105 h 10000"/>
              <a:gd name="connsiteX3-273" fmla="*/ 0 w 10966"/>
              <a:gd name="connsiteY3-274" fmla="*/ 4429 h 10000"/>
              <a:gd name="connsiteX4-275" fmla="*/ 0 w 10966"/>
              <a:gd name="connsiteY4-276" fmla="*/ 5373 h 10000"/>
              <a:gd name="connsiteX5-277" fmla="*/ 525 w 10966"/>
              <a:gd name="connsiteY5-278" fmla="*/ 10000 h 10000"/>
              <a:gd name="connsiteX6-279" fmla="*/ 1052 w 10966"/>
              <a:gd name="connsiteY6-280" fmla="*/ 5373 h 10000"/>
              <a:gd name="connsiteX7-281" fmla="*/ 9449 w 10966"/>
              <a:gd name="connsiteY7-282" fmla="*/ 5470 h 10000"/>
              <a:gd name="connsiteX8-283" fmla="*/ 10000 w 10966"/>
              <a:gd name="connsiteY8-284" fmla="*/ 0 h 10000"/>
              <a:gd name="connsiteX9-285" fmla="*/ 10000 w 10966"/>
              <a:gd name="connsiteY9-286" fmla="*/ 0 h 10000"/>
              <a:gd name="connsiteX10-287" fmla="*/ 9475 w 10966"/>
              <a:gd name="connsiteY10-288" fmla="*/ 4447 h 10000"/>
              <a:gd name="connsiteX0-289" fmla="*/ 9475 w 10966"/>
              <a:gd name="connsiteY0-290" fmla="*/ 4447 h 10000"/>
              <a:gd name="connsiteX1-291" fmla="*/ 1052 w 10966"/>
              <a:gd name="connsiteY1-292" fmla="*/ 4429 h 10000"/>
              <a:gd name="connsiteX2-293" fmla="*/ 525 w 10966"/>
              <a:gd name="connsiteY2-294" fmla="*/ 9105 h 10000"/>
              <a:gd name="connsiteX3-295" fmla="*/ 0 w 10966"/>
              <a:gd name="connsiteY3-296" fmla="*/ 4429 h 10000"/>
              <a:gd name="connsiteX4-297" fmla="*/ 0 w 10966"/>
              <a:gd name="connsiteY4-298" fmla="*/ 5373 h 10000"/>
              <a:gd name="connsiteX5-299" fmla="*/ 525 w 10966"/>
              <a:gd name="connsiteY5-300" fmla="*/ 10000 h 10000"/>
              <a:gd name="connsiteX6-301" fmla="*/ 1052 w 10966"/>
              <a:gd name="connsiteY6-302" fmla="*/ 5373 h 10000"/>
              <a:gd name="connsiteX7-303" fmla="*/ 9449 w 10966"/>
              <a:gd name="connsiteY7-304" fmla="*/ 5470 h 10000"/>
              <a:gd name="connsiteX8-305" fmla="*/ 10000 w 10966"/>
              <a:gd name="connsiteY8-306" fmla="*/ 0 h 10000"/>
              <a:gd name="connsiteX9-307" fmla="*/ 10060 w 10966"/>
              <a:gd name="connsiteY9-308" fmla="*/ 1567 h 10000"/>
              <a:gd name="connsiteX10-309" fmla="*/ 9475 w 10966"/>
              <a:gd name="connsiteY10-310" fmla="*/ 4447 h 10000"/>
              <a:gd name="connsiteX0-311" fmla="*/ 9475 w 10966"/>
              <a:gd name="connsiteY0-312" fmla="*/ 3647 h 9200"/>
              <a:gd name="connsiteX1-313" fmla="*/ 1052 w 10966"/>
              <a:gd name="connsiteY1-314" fmla="*/ 3629 h 9200"/>
              <a:gd name="connsiteX2-315" fmla="*/ 525 w 10966"/>
              <a:gd name="connsiteY2-316" fmla="*/ 8305 h 9200"/>
              <a:gd name="connsiteX3-317" fmla="*/ 0 w 10966"/>
              <a:gd name="connsiteY3-318" fmla="*/ 3629 h 9200"/>
              <a:gd name="connsiteX4-319" fmla="*/ 0 w 10966"/>
              <a:gd name="connsiteY4-320" fmla="*/ 4573 h 9200"/>
              <a:gd name="connsiteX5-321" fmla="*/ 525 w 10966"/>
              <a:gd name="connsiteY5-322" fmla="*/ 9200 h 9200"/>
              <a:gd name="connsiteX6-323" fmla="*/ 1052 w 10966"/>
              <a:gd name="connsiteY6-324" fmla="*/ 4573 h 9200"/>
              <a:gd name="connsiteX7-325" fmla="*/ 9449 w 10966"/>
              <a:gd name="connsiteY7-326" fmla="*/ 4670 h 9200"/>
              <a:gd name="connsiteX8-327" fmla="*/ 10099 w 10966"/>
              <a:gd name="connsiteY8-328" fmla="*/ 0 h 9200"/>
              <a:gd name="connsiteX9-329" fmla="*/ 10060 w 10966"/>
              <a:gd name="connsiteY9-330" fmla="*/ 767 h 9200"/>
              <a:gd name="connsiteX10-331" fmla="*/ 9475 w 10966"/>
              <a:gd name="connsiteY10-332" fmla="*/ 3647 h 9200"/>
              <a:gd name="connsiteX0-333" fmla="*/ 8640 w 10000"/>
              <a:gd name="connsiteY0-334" fmla="*/ 5401 h 11437"/>
              <a:gd name="connsiteX1-335" fmla="*/ 959 w 10000"/>
              <a:gd name="connsiteY1-336" fmla="*/ 5382 h 11437"/>
              <a:gd name="connsiteX2-337" fmla="*/ 479 w 10000"/>
              <a:gd name="connsiteY2-338" fmla="*/ 10464 h 11437"/>
              <a:gd name="connsiteX3-339" fmla="*/ 0 w 10000"/>
              <a:gd name="connsiteY3-340" fmla="*/ 5382 h 11437"/>
              <a:gd name="connsiteX4-341" fmla="*/ 0 w 10000"/>
              <a:gd name="connsiteY4-342" fmla="*/ 6408 h 11437"/>
              <a:gd name="connsiteX5-343" fmla="*/ 479 w 10000"/>
              <a:gd name="connsiteY5-344" fmla="*/ 11437 h 11437"/>
              <a:gd name="connsiteX6-345" fmla="*/ 959 w 10000"/>
              <a:gd name="connsiteY6-346" fmla="*/ 6408 h 11437"/>
              <a:gd name="connsiteX7-347" fmla="*/ 8617 w 10000"/>
              <a:gd name="connsiteY7-348" fmla="*/ 6513 h 11437"/>
              <a:gd name="connsiteX8-349" fmla="*/ 9209 w 10000"/>
              <a:gd name="connsiteY8-350" fmla="*/ 1437 h 11437"/>
              <a:gd name="connsiteX9-351" fmla="*/ 9119 w 10000"/>
              <a:gd name="connsiteY9-352" fmla="*/ 568 h 11437"/>
              <a:gd name="connsiteX10-353" fmla="*/ 8640 w 10000"/>
              <a:gd name="connsiteY10-354" fmla="*/ 5401 h 11437"/>
              <a:gd name="connsiteX0-355" fmla="*/ 8640 w 9228"/>
              <a:gd name="connsiteY0-356" fmla="*/ 5401 h 11437"/>
              <a:gd name="connsiteX1-357" fmla="*/ 959 w 9228"/>
              <a:gd name="connsiteY1-358" fmla="*/ 5382 h 11437"/>
              <a:gd name="connsiteX2-359" fmla="*/ 479 w 9228"/>
              <a:gd name="connsiteY2-360" fmla="*/ 10464 h 11437"/>
              <a:gd name="connsiteX3-361" fmla="*/ 0 w 9228"/>
              <a:gd name="connsiteY3-362" fmla="*/ 5382 h 11437"/>
              <a:gd name="connsiteX4-363" fmla="*/ 0 w 9228"/>
              <a:gd name="connsiteY4-364" fmla="*/ 6408 h 11437"/>
              <a:gd name="connsiteX5-365" fmla="*/ 479 w 9228"/>
              <a:gd name="connsiteY5-366" fmla="*/ 11437 h 11437"/>
              <a:gd name="connsiteX6-367" fmla="*/ 959 w 9228"/>
              <a:gd name="connsiteY6-368" fmla="*/ 6408 h 11437"/>
              <a:gd name="connsiteX7-369" fmla="*/ 8617 w 9228"/>
              <a:gd name="connsiteY7-370" fmla="*/ 6513 h 11437"/>
              <a:gd name="connsiteX8-371" fmla="*/ 9209 w 9228"/>
              <a:gd name="connsiteY8-372" fmla="*/ 1437 h 11437"/>
              <a:gd name="connsiteX9-373" fmla="*/ 9119 w 9228"/>
              <a:gd name="connsiteY9-374" fmla="*/ 568 h 11437"/>
              <a:gd name="connsiteX10-375" fmla="*/ 8640 w 9228"/>
              <a:gd name="connsiteY10-376" fmla="*/ 5401 h 11437"/>
              <a:gd name="connsiteX0-377" fmla="*/ 9363 w 10000"/>
              <a:gd name="connsiteY0-378" fmla="*/ 4722 h 10000"/>
              <a:gd name="connsiteX1-379" fmla="*/ 1039 w 10000"/>
              <a:gd name="connsiteY1-380" fmla="*/ 4706 h 10000"/>
              <a:gd name="connsiteX2-381" fmla="*/ 519 w 10000"/>
              <a:gd name="connsiteY2-382" fmla="*/ 9149 h 10000"/>
              <a:gd name="connsiteX3-383" fmla="*/ 0 w 10000"/>
              <a:gd name="connsiteY3-384" fmla="*/ 4706 h 10000"/>
              <a:gd name="connsiteX4-385" fmla="*/ 0 w 10000"/>
              <a:gd name="connsiteY4-386" fmla="*/ 5603 h 10000"/>
              <a:gd name="connsiteX5-387" fmla="*/ 519 w 10000"/>
              <a:gd name="connsiteY5-388" fmla="*/ 10000 h 10000"/>
              <a:gd name="connsiteX6-389" fmla="*/ 1039 w 10000"/>
              <a:gd name="connsiteY6-390" fmla="*/ 5603 h 10000"/>
              <a:gd name="connsiteX7-391" fmla="*/ 9338 w 10000"/>
              <a:gd name="connsiteY7-392" fmla="*/ 5695 h 10000"/>
              <a:gd name="connsiteX8-393" fmla="*/ 9979 w 10000"/>
              <a:gd name="connsiteY8-394" fmla="*/ 1256 h 10000"/>
              <a:gd name="connsiteX9-395" fmla="*/ 9882 w 10000"/>
              <a:gd name="connsiteY9-396" fmla="*/ 497 h 10000"/>
              <a:gd name="connsiteX10-397" fmla="*/ 9363 w 10000"/>
              <a:gd name="connsiteY10-398" fmla="*/ 4722 h 10000"/>
              <a:gd name="connsiteX0-399" fmla="*/ 9363 w 10000"/>
              <a:gd name="connsiteY0-400" fmla="*/ 4722 h 10000"/>
              <a:gd name="connsiteX1-401" fmla="*/ 1039 w 10000"/>
              <a:gd name="connsiteY1-402" fmla="*/ 4706 h 10000"/>
              <a:gd name="connsiteX2-403" fmla="*/ 519 w 10000"/>
              <a:gd name="connsiteY2-404" fmla="*/ 9149 h 10000"/>
              <a:gd name="connsiteX3-405" fmla="*/ 0 w 10000"/>
              <a:gd name="connsiteY3-406" fmla="*/ 4706 h 10000"/>
              <a:gd name="connsiteX4-407" fmla="*/ 0 w 10000"/>
              <a:gd name="connsiteY4-408" fmla="*/ 5603 h 10000"/>
              <a:gd name="connsiteX5-409" fmla="*/ 519 w 10000"/>
              <a:gd name="connsiteY5-410" fmla="*/ 10000 h 10000"/>
              <a:gd name="connsiteX6-411" fmla="*/ 1039 w 10000"/>
              <a:gd name="connsiteY6-412" fmla="*/ 5603 h 10000"/>
              <a:gd name="connsiteX7-413" fmla="*/ 9338 w 10000"/>
              <a:gd name="connsiteY7-414" fmla="*/ 5695 h 10000"/>
              <a:gd name="connsiteX8-415" fmla="*/ 9979 w 10000"/>
              <a:gd name="connsiteY8-416" fmla="*/ 1256 h 10000"/>
              <a:gd name="connsiteX9-417" fmla="*/ 9882 w 10000"/>
              <a:gd name="connsiteY9-418" fmla="*/ 497 h 10000"/>
              <a:gd name="connsiteX10-419" fmla="*/ 9363 w 10000"/>
              <a:gd name="connsiteY10-420" fmla="*/ 4722 h 10000"/>
              <a:gd name="connsiteX0-421" fmla="*/ 9363 w 10000"/>
              <a:gd name="connsiteY0-422" fmla="*/ 4722 h 10000"/>
              <a:gd name="connsiteX1-423" fmla="*/ 1039 w 10000"/>
              <a:gd name="connsiteY1-424" fmla="*/ 4706 h 10000"/>
              <a:gd name="connsiteX2-425" fmla="*/ 519 w 10000"/>
              <a:gd name="connsiteY2-426" fmla="*/ 9149 h 10000"/>
              <a:gd name="connsiteX3-427" fmla="*/ 0 w 10000"/>
              <a:gd name="connsiteY3-428" fmla="*/ 4706 h 10000"/>
              <a:gd name="connsiteX4-429" fmla="*/ 0 w 10000"/>
              <a:gd name="connsiteY4-430" fmla="*/ 5603 h 10000"/>
              <a:gd name="connsiteX5-431" fmla="*/ 519 w 10000"/>
              <a:gd name="connsiteY5-432" fmla="*/ 10000 h 10000"/>
              <a:gd name="connsiteX6-433" fmla="*/ 1039 w 10000"/>
              <a:gd name="connsiteY6-434" fmla="*/ 5603 h 10000"/>
              <a:gd name="connsiteX7-435" fmla="*/ 9338 w 10000"/>
              <a:gd name="connsiteY7-436" fmla="*/ 5695 h 10000"/>
              <a:gd name="connsiteX8-437" fmla="*/ 9979 w 10000"/>
              <a:gd name="connsiteY8-438" fmla="*/ 1256 h 10000"/>
              <a:gd name="connsiteX9-439" fmla="*/ 9882 w 10000"/>
              <a:gd name="connsiteY9-440" fmla="*/ 497 h 10000"/>
              <a:gd name="connsiteX10-441" fmla="*/ 9363 w 10000"/>
              <a:gd name="connsiteY10-442" fmla="*/ 4722 h 10000"/>
              <a:gd name="connsiteX0-443" fmla="*/ 9363 w 10000"/>
              <a:gd name="connsiteY0-444" fmla="*/ 4722 h 10000"/>
              <a:gd name="connsiteX1-445" fmla="*/ 1039 w 10000"/>
              <a:gd name="connsiteY1-446" fmla="*/ 4706 h 10000"/>
              <a:gd name="connsiteX2-447" fmla="*/ 519 w 10000"/>
              <a:gd name="connsiteY2-448" fmla="*/ 9149 h 10000"/>
              <a:gd name="connsiteX3-449" fmla="*/ 0 w 10000"/>
              <a:gd name="connsiteY3-450" fmla="*/ 4706 h 10000"/>
              <a:gd name="connsiteX4-451" fmla="*/ 0 w 10000"/>
              <a:gd name="connsiteY4-452" fmla="*/ 5603 h 10000"/>
              <a:gd name="connsiteX5-453" fmla="*/ 519 w 10000"/>
              <a:gd name="connsiteY5-454" fmla="*/ 10000 h 10000"/>
              <a:gd name="connsiteX6-455" fmla="*/ 1039 w 10000"/>
              <a:gd name="connsiteY6-456" fmla="*/ 5603 h 10000"/>
              <a:gd name="connsiteX7-457" fmla="*/ 9338 w 10000"/>
              <a:gd name="connsiteY7-458" fmla="*/ 5695 h 10000"/>
              <a:gd name="connsiteX8-459" fmla="*/ 9979 w 10000"/>
              <a:gd name="connsiteY8-460" fmla="*/ 1256 h 10000"/>
              <a:gd name="connsiteX9-461" fmla="*/ 9882 w 10000"/>
              <a:gd name="connsiteY9-462" fmla="*/ 497 h 10000"/>
              <a:gd name="connsiteX10-463" fmla="*/ 9363 w 10000"/>
              <a:gd name="connsiteY10-464" fmla="*/ 4722 h 10000"/>
              <a:gd name="connsiteX0-465" fmla="*/ 9363 w 10000"/>
              <a:gd name="connsiteY0-466" fmla="*/ 4722 h 10000"/>
              <a:gd name="connsiteX1-467" fmla="*/ 1039 w 10000"/>
              <a:gd name="connsiteY1-468" fmla="*/ 4706 h 10000"/>
              <a:gd name="connsiteX2-469" fmla="*/ 519 w 10000"/>
              <a:gd name="connsiteY2-470" fmla="*/ 9149 h 10000"/>
              <a:gd name="connsiteX3-471" fmla="*/ 0 w 10000"/>
              <a:gd name="connsiteY3-472" fmla="*/ 4706 h 10000"/>
              <a:gd name="connsiteX4-473" fmla="*/ 0 w 10000"/>
              <a:gd name="connsiteY4-474" fmla="*/ 5603 h 10000"/>
              <a:gd name="connsiteX5-475" fmla="*/ 519 w 10000"/>
              <a:gd name="connsiteY5-476" fmla="*/ 10000 h 10000"/>
              <a:gd name="connsiteX6-477" fmla="*/ 1039 w 10000"/>
              <a:gd name="connsiteY6-478" fmla="*/ 5603 h 10000"/>
              <a:gd name="connsiteX7-479" fmla="*/ 9338 w 10000"/>
              <a:gd name="connsiteY7-480" fmla="*/ 5695 h 10000"/>
              <a:gd name="connsiteX8-481" fmla="*/ 9979 w 10000"/>
              <a:gd name="connsiteY8-482" fmla="*/ 1256 h 10000"/>
              <a:gd name="connsiteX9-483" fmla="*/ 9882 w 10000"/>
              <a:gd name="connsiteY9-484" fmla="*/ 497 h 10000"/>
              <a:gd name="connsiteX10-485" fmla="*/ 9363 w 10000"/>
              <a:gd name="connsiteY10-486" fmla="*/ 4722 h 10000"/>
              <a:gd name="connsiteX0-487" fmla="*/ 9363 w 10000"/>
              <a:gd name="connsiteY0-488" fmla="*/ 4722 h 10000"/>
              <a:gd name="connsiteX1-489" fmla="*/ 1039 w 10000"/>
              <a:gd name="connsiteY1-490" fmla="*/ 4706 h 10000"/>
              <a:gd name="connsiteX2-491" fmla="*/ 519 w 10000"/>
              <a:gd name="connsiteY2-492" fmla="*/ 9149 h 10000"/>
              <a:gd name="connsiteX3-493" fmla="*/ 0 w 10000"/>
              <a:gd name="connsiteY3-494" fmla="*/ 4706 h 10000"/>
              <a:gd name="connsiteX4-495" fmla="*/ 0 w 10000"/>
              <a:gd name="connsiteY4-496" fmla="*/ 5603 h 10000"/>
              <a:gd name="connsiteX5-497" fmla="*/ 519 w 10000"/>
              <a:gd name="connsiteY5-498" fmla="*/ 10000 h 10000"/>
              <a:gd name="connsiteX6-499" fmla="*/ 1039 w 10000"/>
              <a:gd name="connsiteY6-500" fmla="*/ 5603 h 10000"/>
              <a:gd name="connsiteX7-501" fmla="*/ 9338 w 10000"/>
              <a:gd name="connsiteY7-502" fmla="*/ 5695 h 10000"/>
              <a:gd name="connsiteX8-503" fmla="*/ 9979 w 10000"/>
              <a:gd name="connsiteY8-504" fmla="*/ 1256 h 10000"/>
              <a:gd name="connsiteX9-505" fmla="*/ 9882 w 10000"/>
              <a:gd name="connsiteY9-506" fmla="*/ 497 h 10000"/>
              <a:gd name="connsiteX10-507" fmla="*/ 9363 w 10000"/>
              <a:gd name="connsiteY10-508" fmla="*/ 4722 h 10000"/>
              <a:gd name="connsiteX0-509" fmla="*/ 9363 w 9903"/>
              <a:gd name="connsiteY0-510" fmla="*/ 4722 h 10000"/>
              <a:gd name="connsiteX1-511" fmla="*/ 1039 w 9903"/>
              <a:gd name="connsiteY1-512" fmla="*/ 4706 h 10000"/>
              <a:gd name="connsiteX2-513" fmla="*/ 519 w 9903"/>
              <a:gd name="connsiteY2-514" fmla="*/ 9149 h 10000"/>
              <a:gd name="connsiteX3-515" fmla="*/ 0 w 9903"/>
              <a:gd name="connsiteY3-516" fmla="*/ 4706 h 10000"/>
              <a:gd name="connsiteX4-517" fmla="*/ 0 w 9903"/>
              <a:gd name="connsiteY4-518" fmla="*/ 5603 h 10000"/>
              <a:gd name="connsiteX5-519" fmla="*/ 519 w 9903"/>
              <a:gd name="connsiteY5-520" fmla="*/ 10000 h 10000"/>
              <a:gd name="connsiteX6-521" fmla="*/ 1039 w 9903"/>
              <a:gd name="connsiteY6-522" fmla="*/ 5603 h 10000"/>
              <a:gd name="connsiteX7-523" fmla="*/ 9338 w 9903"/>
              <a:gd name="connsiteY7-524" fmla="*/ 5695 h 10000"/>
              <a:gd name="connsiteX8-525" fmla="*/ 9882 w 9903"/>
              <a:gd name="connsiteY8-526" fmla="*/ 1351 h 10000"/>
              <a:gd name="connsiteX9-527" fmla="*/ 9882 w 9903"/>
              <a:gd name="connsiteY9-528" fmla="*/ 497 h 10000"/>
              <a:gd name="connsiteX10-529" fmla="*/ 9363 w 9903"/>
              <a:gd name="connsiteY10-530" fmla="*/ 4722 h 10000"/>
              <a:gd name="connsiteX0-531" fmla="*/ 9455 w 10003"/>
              <a:gd name="connsiteY0-532" fmla="*/ 4722 h 10000"/>
              <a:gd name="connsiteX1-533" fmla="*/ 1049 w 10003"/>
              <a:gd name="connsiteY1-534" fmla="*/ 4706 h 10000"/>
              <a:gd name="connsiteX2-535" fmla="*/ 524 w 10003"/>
              <a:gd name="connsiteY2-536" fmla="*/ 9149 h 10000"/>
              <a:gd name="connsiteX3-537" fmla="*/ 0 w 10003"/>
              <a:gd name="connsiteY3-538" fmla="*/ 4706 h 10000"/>
              <a:gd name="connsiteX4-539" fmla="*/ 0 w 10003"/>
              <a:gd name="connsiteY4-540" fmla="*/ 5603 h 10000"/>
              <a:gd name="connsiteX5-541" fmla="*/ 524 w 10003"/>
              <a:gd name="connsiteY5-542" fmla="*/ 10000 h 10000"/>
              <a:gd name="connsiteX6-543" fmla="*/ 1049 w 10003"/>
              <a:gd name="connsiteY6-544" fmla="*/ 5603 h 10000"/>
              <a:gd name="connsiteX7-545" fmla="*/ 9429 w 10003"/>
              <a:gd name="connsiteY7-546" fmla="*/ 5695 h 10000"/>
              <a:gd name="connsiteX8-547" fmla="*/ 9979 w 10003"/>
              <a:gd name="connsiteY8-548" fmla="*/ 1351 h 10000"/>
              <a:gd name="connsiteX9-549" fmla="*/ 9979 w 10003"/>
              <a:gd name="connsiteY9-550" fmla="*/ 497 h 10000"/>
              <a:gd name="connsiteX10-551" fmla="*/ 9455 w 10003"/>
              <a:gd name="connsiteY10-552" fmla="*/ 4722 h 10000"/>
              <a:gd name="connsiteX0-553" fmla="*/ 9455 w 10003"/>
              <a:gd name="connsiteY0-554" fmla="*/ 4722 h 10000"/>
              <a:gd name="connsiteX1-555" fmla="*/ 1049 w 10003"/>
              <a:gd name="connsiteY1-556" fmla="*/ 4706 h 10000"/>
              <a:gd name="connsiteX2-557" fmla="*/ 524 w 10003"/>
              <a:gd name="connsiteY2-558" fmla="*/ 9149 h 10000"/>
              <a:gd name="connsiteX3-559" fmla="*/ 0 w 10003"/>
              <a:gd name="connsiteY3-560" fmla="*/ 4706 h 10000"/>
              <a:gd name="connsiteX4-561" fmla="*/ 0 w 10003"/>
              <a:gd name="connsiteY4-562" fmla="*/ 5603 h 10000"/>
              <a:gd name="connsiteX5-563" fmla="*/ 524 w 10003"/>
              <a:gd name="connsiteY5-564" fmla="*/ 10000 h 10000"/>
              <a:gd name="connsiteX6-565" fmla="*/ 1049 w 10003"/>
              <a:gd name="connsiteY6-566" fmla="*/ 5603 h 10000"/>
              <a:gd name="connsiteX7-567" fmla="*/ 9429 w 10003"/>
              <a:gd name="connsiteY7-568" fmla="*/ 5695 h 10000"/>
              <a:gd name="connsiteX8-569" fmla="*/ 9979 w 10003"/>
              <a:gd name="connsiteY8-570" fmla="*/ 1351 h 10000"/>
              <a:gd name="connsiteX9-571" fmla="*/ 9979 w 10003"/>
              <a:gd name="connsiteY9-572" fmla="*/ 497 h 10000"/>
              <a:gd name="connsiteX10-573" fmla="*/ 9455 w 10003"/>
              <a:gd name="connsiteY10-574" fmla="*/ 4722 h 10000"/>
              <a:gd name="connsiteX0-575" fmla="*/ 9455 w 10003"/>
              <a:gd name="connsiteY0-576" fmla="*/ 4722 h 10000"/>
              <a:gd name="connsiteX1-577" fmla="*/ 1049 w 10003"/>
              <a:gd name="connsiteY1-578" fmla="*/ 4706 h 10000"/>
              <a:gd name="connsiteX2-579" fmla="*/ 524 w 10003"/>
              <a:gd name="connsiteY2-580" fmla="*/ 9149 h 10000"/>
              <a:gd name="connsiteX3-581" fmla="*/ 0 w 10003"/>
              <a:gd name="connsiteY3-582" fmla="*/ 4706 h 10000"/>
              <a:gd name="connsiteX4-583" fmla="*/ 0 w 10003"/>
              <a:gd name="connsiteY4-584" fmla="*/ 5603 h 10000"/>
              <a:gd name="connsiteX5-585" fmla="*/ 524 w 10003"/>
              <a:gd name="connsiteY5-586" fmla="*/ 10000 h 10000"/>
              <a:gd name="connsiteX6-587" fmla="*/ 1049 w 10003"/>
              <a:gd name="connsiteY6-588" fmla="*/ 5603 h 10000"/>
              <a:gd name="connsiteX7-589" fmla="*/ 9429 w 10003"/>
              <a:gd name="connsiteY7-590" fmla="*/ 5695 h 10000"/>
              <a:gd name="connsiteX8-591" fmla="*/ 9979 w 10003"/>
              <a:gd name="connsiteY8-592" fmla="*/ 1351 h 10000"/>
              <a:gd name="connsiteX9-593" fmla="*/ 9979 w 10003"/>
              <a:gd name="connsiteY9-594" fmla="*/ 497 h 10000"/>
              <a:gd name="connsiteX10-595" fmla="*/ 9455 w 10003"/>
              <a:gd name="connsiteY10-596" fmla="*/ 4722 h 10000"/>
              <a:gd name="connsiteX0-597" fmla="*/ 9455 w 10003"/>
              <a:gd name="connsiteY0-598" fmla="*/ 4722 h 10000"/>
              <a:gd name="connsiteX1-599" fmla="*/ 1049 w 10003"/>
              <a:gd name="connsiteY1-600" fmla="*/ 4706 h 10000"/>
              <a:gd name="connsiteX2-601" fmla="*/ 524 w 10003"/>
              <a:gd name="connsiteY2-602" fmla="*/ 9149 h 10000"/>
              <a:gd name="connsiteX3-603" fmla="*/ 0 w 10003"/>
              <a:gd name="connsiteY3-604" fmla="*/ 4706 h 10000"/>
              <a:gd name="connsiteX4-605" fmla="*/ 0 w 10003"/>
              <a:gd name="connsiteY4-606" fmla="*/ 5603 h 10000"/>
              <a:gd name="connsiteX5-607" fmla="*/ 524 w 10003"/>
              <a:gd name="connsiteY5-608" fmla="*/ 10000 h 10000"/>
              <a:gd name="connsiteX6-609" fmla="*/ 1049 w 10003"/>
              <a:gd name="connsiteY6-610" fmla="*/ 5603 h 10000"/>
              <a:gd name="connsiteX7-611" fmla="*/ 9429 w 10003"/>
              <a:gd name="connsiteY7-612" fmla="*/ 5695 h 10000"/>
              <a:gd name="connsiteX8-613" fmla="*/ 9979 w 10003"/>
              <a:gd name="connsiteY8-614" fmla="*/ 1351 h 10000"/>
              <a:gd name="connsiteX9-615" fmla="*/ 9979 w 10003"/>
              <a:gd name="connsiteY9-616" fmla="*/ 497 h 10000"/>
              <a:gd name="connsiteX10-617" fmla="*/ 9455 w 10003"/>
              <a:gd name="connsiteY10-618" fmla="*/ 4722 h 10000"/>
              <a:gd name="connsiteX0-619" fmla="*/ 9455 w 10003"/>
              <a:gd name="connsiteY0-620" fmla="*/ 4722 h 10000"/>
              <a:gd name="connsiteX1-621" fmla="*/ 1049 w 10003"/>
              <a:gd name="connsiteY1-622" fmla="*/ 4706 h 10000"/>
              <a:gd name="connsiteX2-623" fmla="*/ 524 w 10003"/>
              <a:gd name="connsiteY2-624" fmla="*/ 9149 h 10000"/>
              <a:gd name="connsiteX3-625" fmla="*/ 0 w 10003"/>
              <a:gd name="connsiteY3-626" fmla="*/ 4706 h 10000"/>
              <a:gd name="connsiteX4-627" fmla="*/ 0 w 10003"/>
              <a:gd name="connsiteY4-628" fmla="*/ 5603 h 10000"/>
              <a:gd name="connsiteX5-629" fmla="*/ 524 w 10003"/>
              <a:gd name="connsiteY5-630" fmla="*/ 10000 h 10000"/>
              <a:gd name="connsiteX6-631" fmla="*/ 1049 w 10003"/>
              <a:gd name="connsiteY6-632" fmla="*/ 5603 h 10000"/>
              <a:gd name="connsiteX7-633" fmla="*/ 9429 w 10003"/>
              <a:gd name="connsiteY7-634" fmla="*/ 5695 h 10000"/>
              <a:gd name="connsiteX8-635" fmla="*/ 9979 w 10003"/>
              <a:gd name="connsiteY8-636" fmla="*/ 1351 h 10000"/>
              <a:gd name="connsiteX9-637" fmla="*/ 9979 w 10003"/>
              <a:gd name="connsiteY9-638" fmla="*/ 497 h 10000"/>
              <a:gd name="connsiteX10-639" fmla="*/ 9455 w 10003"/>
              <a:gd name="connsiteY10-640" fmla="*/ 4722 h 10000"/>
              <a:gd name="connsiteX0-641" fmla="*/ 9455 w 9982"/>
              <a:gd name="connsiteY0-642" fmla="*/ 4722 h 10000"/>
              <a:gd name="connsiteX1-643" fmla="*/ 1049 w 9982"/>
              <a:gd name="connsiteY1-644" fmla="*/ 4706 h 10000"/>
              <a:gd name="connsiteX2-645" fmla="*/ 524 w 9982"/>
              <a:gd name="connsiteY2-646" fmla="*/ 9149 h 10000"/>
              <a:gd name="connsiteX3-647" fmla="*/ 0 w 9982"/>
              <a:gd name="connsiteY3-648" fmla="*/ 4706 h 10000"/>
              <a:gd name="connsiteX4-649" fmla="*/ 0 w 9982"/>
              <a:gd name="connsiteY4-650" fmla="*/ 5603 h 10000"/>
              <a:gd name="connsiteX5-651" fmla="*/ 524 w 9982"/>
              <a:gd name="connsiteY5-652" fmla="*/ 10000 h 10000"/>
              <a:gd name="connsiteX6-653" fmla="*/ 1049 w 9982"/>
              <a:gd name="connsiteY6-654" fmla="*/ 5603 h 10000"/>
              <a:gd name="connsiteX7-655" fmla="*/ 9429 w 9982"/>
              <a:gd name="connsiteY7-656" fmla="*/ 5695 h 10000"/>
              <a:gd name="connsiteX8-657" fmla="*/ 9979 w 9982"/>
              <a:gd name="connsiteY8-658" fmla="*/ 1351 h 10000"/>
              <a:gd name="connsiteX9-659" fmla="*/ 9979 w 9982"/>
              <a:gd name="connsiteY9-660" fmla="*/ 497 h 10000"/>
              <a:gd name="connsiteX10-661" fmla="*/ 9455 w 9982"/>
              <a:gd name="connsiteY10-662" fmla="*/ 4722 h 10000"/>
              <a:gd name="connsiteX0-663" fmla="*/ 9472 w 10005"/>
              <a:gd name="connsiteY0-664" fmla="*/ 4722 h 10000"/>
              <a:gd name="connsiteX1-665" fmla="*/ 1051 w 10005"/>
              <a:gd name="connsiteY1-666" fmla="*/ 4706 h 10000"/>
              <a:gd name="connsiteX2-667" fmla="*/ 525 w 10005"/>
              <a:gd name="connsiteY2-668" fmla="*/ 9149 h 10000"/>
              <a:gd name="connsiteX3-669" fmla="*/ 0 w 10005"/>
              <a:gd name="connsiteY3-670" fmla="*/ 4706 h 10000"/>
              <a:gd name="connsiteX4-671" fmla="*/ 0 w 10005"/>
              <a:gd name="connsiteY4-672" fmla="*/ 5603 h 10000"/>
              <a:gd name="connsiteX5-673" fmla="*/ 525 w 10005"/>
              <a:gd name="connsiteY5-674" fmla="*/ 10000 h 10000"/>
              <a:gd name="connsiteX6-675" fmla="*/ 1051 w 10005"/>
              <a:gd name="connsiteY6-676" fmla="*/ 5603 h 10000"/>
              <a:gd name="connsiteX7-677" fmla="*/ 9446 w 10005"/>
              <a:gd name="connsiteY7-678" fmla="*/ 5695 h 10000"/>
              <a:gd name="connsiteX8-679" fmla="*/ 9997 w 10005"/>
              <a:gd name="connsiteY8-680" fmla="*/ 1351 h 10000"/>
              <a:gd name="connsiteX9-681" fmla="*/ 9997 w 10005"/>
              <a:gd name="connsiteY9-682" fmla="*/ 497 h 10000"/>
              <a:gd name="connsiteX10-683" fmla="*/ 9472 w 10005"/>
              <a:gd name="connsiteY10-684" fmla="*/ 4722 h 10000"/>
              <a:gd name="connsiteX0-685" fmla="*/ 9472 w 9997"/>
              <a:gd name="connsiteY0-686" fmla="*/ 4722 h 10000"/>
              <a:gd name="connsiteX1-687" fmla="*/ 1051 w 9997"/>
              <a:gd name="connsiteY1-688" fmla="*/ 4706 h 10000"/>
              <a:gd name="connsiteX2-689" fmla="*/ 525 w 9997"/>
              <a:gd name="connsiteY2-690" fmla="*/ 9149 h 10000"/>
              <a:gd name="connsiteX3-691" fmla="*/ 0 w 9997"/>
              <a:gd name="connsiteY3-692" fmla="*/ 4706 h 10000"/>
              <a:gd name="connsiteX4-693" fmla="*/ 0 w 9997"/>
              <a:gd name="connsiteY4-694" fmla="*/ 5603 h 10000"/>
              <a:gd name="connsiteX5-695" fmla="*/ 525 w 9997"/>
              <a:gd name="connsiteY5-696" fmla="*/ 10000 h 10000"/>
              <a:gd name="connsiteX6-697" fmla="*/ 1051 w 9997"/>
              <a:gd name="connsiteY6-698" fmla="*/ 5603 h 10000"/>
              <a:gd name="connsiteX7-699" fmla="*/ 9446 w 9997"/>
              <a:gd name="connsiteY7-700" fmla="*/ 5695 h 10000"/>
              <a:gd name="connsiteX8-701" fmla="*/ 9942 w 9997"/>
              <a:gd name="connsiteY8-702" fmla="*/ 1985 h 10000"/>
              <a:gd name="connsiteX9-703" fmla="*/ 9997 w 9997"/>
              <a:gd name="connsiteY9-704" fmla="*/ 497 h 10000"/>
              <a:gd name="connsiteX10-705" fmla="*/ 9472 w 9997"/>
              <a:gd name="connsiteY10-706" fmla="*/ 4722 h 10000"/>
              <a:gd name="connsiteX0-707" fmla="*/ 9475 w 10008"/>
              <a:gd name="connsiteY0-708" fmla="*/ 4722 h 10000"/>
              <a:gd name="connsiteX1-709" fmla="*/ 1051 w 10008"/>
              <a:gd name="connsiteY1-710" fmla="*/ 4706 h 10000"/>
              <a:gd name="connsiteX2-711" fmla="*/ 525 w 10008"/>
              <a:gd name="connsiteY2-712" fmla="*/ 9149 h 10000"/>
              <a:gd name="connsiteX3-713" fmla="*/ 0 w 10008"/>
              <a:gd name="connsiteY3-714" fmla="*/ 4706 h 10000"/>
              <a:gd name="connsiteX4-715" fmla="*/ 0 w 10008"/>
              <a:gd name="connsiteY4-716" fmla="*/ 5603 h 10000"/>
              <a:gd name="connsiteX5-717" fmla="*/ 525 w 10008"/>
              <a:gd name="connsiteY5-718" fmla="*/ 10000 h 10000"/>
              <a:gd name="connsiteX6-719" fmla="*/ 1051 w 10008"/>
              <a:gd name="connsiteY6-720" fmla="*/ 5603 h 10000"/>
              <a:gd name="connsiteX7-721" fmla="*/ 9449 w 10008"/>
              <a:gd name="connsiteY7-722" fmla="*/ 5695 h 10000"/>
              <a:gd name="connsiteX8-723" fmla="*/ 10000 w 10008"/>
              <a:gd name="connsiteY8-724" fmla="*/ 1319 h 10000"/>
              <a:gd name="connsiteX9-725" fmla="*/ 10000 w 10008"/>
              <a:gd name="connsiteY9-726" fmla="*/ 497 h 10000"/>
              <a:gd name="connsiteX10-727" fmla="*/ 9475 w 10008"/>
              <a:gd name="connsiteY10-728" fmla="*/ 4722 h 10000"/>
              <a:gd name="connsiteX0-729" fmla="*/ 9475 w 10008"/>
              <a:gd name="connsiteY0-730" fmla="*/ 4722 h 10000"/>
              <a:gd name="connsiteX1-731" fmla="*/ 1051 w 10008"/>
              <a:gd name="connsiteY1-732" fmla="*/ 4706 h 10000"/>
              <a:gd name="connsiteX2-733" fmla="*/ 525 w 10008"/>
              <a:gd name="connsiteY2-734" fmla="*/ 9149 h 10000"/>
              <a:gd name="connsiteX3-735" fmla="*/ 0 w 10008"/>
              <a:gd name="connsiteY3-736" fmla="*/ 4706 h 10000"/>
              <a:gd name="connsiteX4-737" fmla="*/ 0 w 10008"/>
              <a:gd name="connsiteY4-738" fmla="*/ 5603 h 10000"/>
              <a:gd name="connsiteX5-739" fmla="*/ 525 w 10008"/>
              <a:gd name="connsiteY5-740" fmla="*/ 10000 h 10000"/>
              <a:gd name="connsiteX6-741" fmla="*/ 1051 w 10008"/>
              <a:gd name="connsiteY6-742" fmla="*/ 5603 h 10000"/>
              <a:gd name="connsiteX7-743" fmla="*/ 9449 w 10008"/>
              <a:gd name="connsiteY7-744" fmla="*/ 5695 h 10000"/>
              <a:gd name="connsiteX8-745" fmla="*/ 10000 w 10008"/>
              <a:gd name="connsiteY8-746" fmla="*/ 1224 h 10000"/>
              <a:gd name="connsiteX9-747" fmla="*/ 10000 w 10008"/>
              <a:gd name="connsiteY9-748" fmla="*/ 497 h 10000"/>
              <a:gd name="connsiteX10-749" fmla="*/ 9475 w 10008"/>
              <a:gd name="connsiteY10-750" fmla="*/ 4722 h 10000"/>
              <a:gd name="connsiteX0-751" fmla="*/ 9475 w 10008"/>
              <a:gd name="connsiteY0-752" fmla="*/ 4722 h 10000"/>
              <a:gd name="connsiteX1-753" fmla="*/ 1051 w 10008"/>
              <a:gd name="connsiteY1-754" fmla="*/ 4706 h 10000"/>
              <a:gd name="connsiteX2-755" fmla="*/ 525 w 10008"/>
              <a:gd name="connsiteY2-756" fmla="*/ 9149 h 10000"/>
              <a:gd name="connsiteX3-757" fmla="*/ 0 w 10008"/>
              <a:gd name="connsiteY3-758" fmla="*/ 4706 h 10000"/>
              <a:gd name="connsiteX4-759" fmla="*/ 0 w 10008"/>
              <a:gd name="connsiteY4-760" fmla="*/ 5603 h 10000"/>
              <a:gd name="connsiteX5-761" fmla="*/ 525 w 10008"/>
              <a:gd name="connsiteY5-762" fmla="*/ 10000 h 10000"/>
              <a:gd name="connsiteX6-763" fmla="*/ 1051 w 10008"/>
              <a:gd name="connsiteY6-764" fmla="*/ 5603 h 10000"/>
              <a:gd name="connsiteX7-765" fmla="*/ 9449 w 10008"/>
              <a:gd name="connsiteY7-766" fmla="*/ 5695 h 10000"/>
              <a:gd name="connsiteX8-767" fmla="*/ 10000 w 10008"/>
              <a:gd name="connsiteY8-768" fmla="*/ 1224 h 10000"/>
              <a:gd name="connsiteX9-769" fmla="*/ 10000 w 10008"/>
              <a:gd name="connsiteY9-770" fmla="*/ 497 h 10000"/>
              <a:gd name="connsiteX10-771" fmla="*/ 9475 w 10008"/>
              <a:gd name="connsiteY10-772" fmla="*/ 4722 h 10000"/>
              <a:gd name="connsiteX0-773" fmla="*/ 9475 w 10008"/>
              <a:gd name="connsiteY0-774" fmla="*/ 4722 h 10000"/>
              <a:gd name="connsiteX1-775" fmla="*/ 1051 w 10008"/>
              <a:gd name="connsiteY1-776" fmla="*/ 4706 h 10000"/>
              <a:gd name="connsiteX2-777" fmla="*/ 525 w 10008"/>
              <a:gd name="connsiteY2-778" fmla="*/ 9149 h 10000"/>
              <a:gd name="connsiteX3-779" fmla="*/ 0 w 10008"/>
              <a:gd name="connsiteY3-780" fmla="*/ 4706 h 10000"/>
              <a:gd name="connsiteX4-781" fmla="*/ 0 w 10008"/>
              <a:gd name="connsiteY4-782" fmla="*/ 5603 h 10000"/>
              <a:gd name="connsiteX5-783" fmla="*/ 525 w 10008"/>
              <a:gd name="connsiteY5-784" fmla="*/ 10000 h 10000"/>
              <a:gd name="connsiteX6-785" fmla="*/ 1051 w 10008"/>
              <a:gd name="connsiteY6-786" fmla="*/ 5603 h 10000"/>
              <a:gd name="connsiteX7-787" fmla="*/ 9449 w 10008"/>
              <a:gd name="connsiteY7-788" fmla="*/ 5695 h 10000"/>
              <a:gd name="connsiteX8-789" fmla="*/ 10000 w 10008"/>
              <a:gd name="connsiteY8-790" fmla="*/ 1224 h 10000"/>
              <a:gd name="connsiteX9-791" fmla="*/ 10000 w 10008"/>
              <a:gd name="connsiteY9-792" fmla="*/ 497 h 10000"/>
              <a:gd name="connsiteX10-793" fmla="*/ 9475 w 10008"/>
              <a:gd name="connsiteY10-794" fmla="*/ 4722 h 10000"/>
              <a:gd name="connsiteX0-795" fmla="*/ 9475 w 10008"/>
              <a:gd name="connsiteY0-796" fmla="*/ 4722 h 10000"/>
              <a:gd name="connsiteX1-797" fmla="*/ 1051 w 10008"/>
              <a:gd name="connsiteY1-798" fmla="*/ 4706 h 10000"/>
              <a:gd name="connsiteX2-799" fmla="*/ 525 w 10008"/>
              <a:gd name="connsiteY2-800" fmla="*/ 9149 h 10000"/>
              <a:gd name="connsiteX3-801" fmla="*/ 0 w 10008"/>
              <a:gd name="connsiteY3-802" fmla="*/ 4706 h 10000"/>
              <a:gd name="connsiteX4-803" fmla="*/ 0 w 10008"/>
              <a:gd name="connsiteY4-804" fmla="*/ 5603 h 10000"/>
              <a:gd name="connsiteX5-805" fmla="*/ 525 w 10008"/>
              <a:gd name="connsiteY5-806" fmla="*/ 10000 h 10000"/>
              <a:gd name="connsiteX6-807" fmla="*/ 1051 w 10008"/>
              <a:gd name="connsiteY6-808" fmla="*/ 5603 h 10000"/>
              <a:gd name="connsiteX7-809" fmla="*/ 9449 w 10008"/>
              <a:gd name="connsiteY7-810" fmla="*/ 5695 h 10000"/>
              <a:gd name="connsiteX8-811" fmla="*/ 10000 w 10008"/>
              <a:gd name="connsiteY8-812" fmla="*/ 1224 h 10000"/>
              <a:gd name="connsiteX9-813" fmla="*/ 10000 w 10008"/>
              <a:gd name="connsiteY9-814" fmla="*/ 497 h 10000"/>
              <a:gd name="connsiteX10-815" fmla="*/ 9475 w 10008"/>
              <a:gd name="connsiteY10-816" fmla="*/ 4722 h 10000"/>
              <a:gd name="connsiteX0-817" fmla="*/ 9475 w 10008"/>
              <a:gd name="connsiteY0-818" fmla="*/ 4722 h 10000"/>
              <a:gd name="connsiteX1-819" fmla="*/ 1051 w 10008"/>
              <a:gd name="connsiteY1-820" fmla="*/ 4706 h 10000"/>
              <a:gd name="connsiteX2-821" fmla="*/ 525 w 10008"/>
              <a:gd name="connsiteY2-822" fmla="*/ 9149 h 10000"/>
              <a:gd name="connsiteX3-823" fmla="*/ 0 w 10008"/>
              <a:gd name="connsiteY3-824" fmla="*/ 4706 h 10000"/>
              <a:gd name="connsiteX4-825" fmla="*/ 0 w 10008"/>
              <a:gd name="connsiteY4-826" fmla="*/ 5603 h 10000"/>
              <a:gd name="connsiteX5-827" fmla="*/ 525 w 10008"/>
              <a:gd name="connsiteY5-828" fmla="*/ 10000 h 10000"/>
              <a:gd name="connsiteX6-829" fmla="*/ 1051 w 10008"/>
              <a:gd name="connsiteY6-830" fmla="*/ 5603 h 10000"/>
              <a:gd name="connsiteX7-831" fmla="*/ 9449 w 10008"/>
              <a:gd name="connsiteY7-832" fmla="*/ 5695 h 10000"/>
              <a:gd name="connsiteX8-833" fmla="*/ 10000 w 10008"/>
              <a:gd name="connsiteY8-834" fmla="*/ 1224 h 10000"/>
              <a:gd name="connsiteX9-835" fmla="*/ 10000 w 10008"/>
              <a:gd name="connsiteY9-836" fmla="*/ 497 h 10000"/>
              <a:gd name="connsiteX10-837" fmla="*/ 9475 w 10008"/>
              <a:gd name="connsiteY10-838" fmla="*/ 4722 h 10000"/>
              <a:gd name="connsiteX0-839" fmla="*/ 9475 w 10008"/>
              <a:gd name="connsiteY0-840" fmla="*/ 4722 h 10000"/>
              <a:gd name="connsiteX1-841" fmla="*/ 1051 w 10008"/>
              <a:gd name="connsiteY1-842" fmla="*/ 4706 h 10000"/>
              <a:gd name="connsiteX2-843" fmla="*/ 525 w 10008"/>
              <a:gd name="connsiteY2-844" fmla="*/ 9149 h 10000"/>
              <a:gd name="connsiteX3-845" fmla="*/ 0 w 10008"/>
              <a:gd name="connsiteY3-846" fmla="*/ 4706 h 10000"/>
              <a:gd name="connsiteX4-847" fmla="*/ 0 w 10008"/>
              <a:gd name="connsiteY4-848" fmla="*/ 5603 h 10000"/>
              <a:gd name="connsiteX5-849" fmla="*/ 525 w 10008"/>
              <a:gd name="connsiteY5-850" fmla="*/ 10000 h 10000"/>
              <a:gd name="connsiteX6-851" fmla="*/ 1051 w 10008"/>
              <a:gd name="connsiteY6-852" fmla="*/ 5603 h 10000"/>
              <a:gd name="connsiteX7-853" fmla="*/ 9449 w 10008"/>
              <a:gd name="connsiteY7-854" fmla="*/ 5695 h 10000"/>
              <a:gd name="connsiteX8-855" fmla="*/ 10000 w 10008"/>
              <a:gd name="connsiteY8-856" fmla="*/ 1224 h 10000"/>
              <a:gd name="connsiteX9-857" fmla="*/ 10000 w 10008"/>
              <a:gd name="connsiteY9-858" fmla="*/ 497 h 10000"/>
              <a:gd name="connsiteX10-859" fmla="*/ 9475 w 10008"/>
              <a:gd name="connsiteY10-860" fmla="*/ 4722 h 10000"/>
              <a:gd name="connsiteX0-861" fmla="*/ 9475 w 10008"/>
              <a:gd name="connsiteY0-862" fmla="*/ 4722 h 10000"/>
              <a:gd name="connsiteX1-863" fmla="*/ 1051 w 10008"/>
              <a:gd name="connsiteY1-864" fmla="*/ 4706 h 10000"/>
              <a:gd name="connsiteX2-865" fmla="*/ 525 w 10008"/>
              <a:gd name="connsiteY2-866" fmla="*/ 9149 h 10000"/>
              <a:gd name="connsiteX3-867" fmla="*/ 0 w 10008"/>
              <a:gd name="connsiteY3-868" fmla="*/ 4706 h 10000"/>
              <a:gd name="connsiteX4-869" fmla="*/ 0 w 10008"/>
              <a:gd name="connsiteY4-870" fmla="*/ 5603 h 10000"/>
              <a:gd name="connsiteX5-871" fmla="*/ 525 w 10008"/>
              <a:gd name="connsiteY5-872" fmla="*/ 10000 h 10000"/>
              <a:gd name="connsiteX6-873" fmla="*/ 1051 w 10008"/>
              <a:gd name="connsiteY6-874" fmla="*/ 5603 h 10000"/>
              <a:gd name="connsiteX7-875" fmla="*/ 9449 w 10008"/>
              <a:gd name="connsiteY7-876" fmla="*/ 5695 h 10000"/>
              <a:gd name="connsiteX8-877" fmla="*/ 10000 w 10008"/>
              <a:gd name="connsiteY8-878" fmla="*/ 1224 h 10000"/>
              <a:gd name="connsiteX9-879" fmla="*/ 10000 w 10008"/>
              <a:gd name="connsiteY9-880" fmla="*/ 497 h 10000"/>
              <a:gd name="connsiteX10-881" fmla="*/ 9475 w 10008"/>
              <a:gd name="connsiteY10-882" fmla="*/ 4722 h 100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  <a:cxn ang="0">
                <a:pos x="connsiteX9-19" y="connsiteY9-20"/>
              </a:cxn>
              <a:cxn ang="0">
                <a:pos x="connsiteX10-21" y="connsiteY10-22"/>
              </a:cxn>
            </a:cxnLst>
            <a:rect l="l" t="t" r="r" b="b"/>
            <a:pathLst>
              <a:path w="10008" h="10000">
                <a:moveTo>
                  <a:pt x="9475" y="4722"/>
                </a:moveTo>
                <a:lnTo>
                  <a:pt x="1051" y="4706"/>
                </a:lnTo>
                <a:cubicBezTo>
                  <a:pt x="636" y="4706"/>
                  <a:pt x="525" y="9149"/>
                  <a:pt x="525" y="9149"/>
                </a:cubicBezTo>
                <a:cubicBezTo>
                  <a:pt x="525" y="9149"/>
                  <a:pt x="415" y="4706"/>
                  <a:pt x="0" y="4706"/>
                </a:cubicBezTo>
                <a:lnTo>
                  <a:pt x="0" y="5603"/>
                </a:lnTo>
                <a:cubicBezTo>
                  <a:pt x="415" y="5603"/>
                  <a:pt x="525" y="10000"/>
                  <a:pt x="525" y="10000"/>
                </a:cubicBezTo>
                <a:cubicBezTo>
                  <a:pt x="525" y="10000"/>
                  <a:pt x="636" y="5603"/>
                  <a:pt x="1051" y="5603"/>
                </a:cubicBezTo>
                <a:lnTo>
                  <a:pt x="9449" y="5695"/>
                </a:lnTo>
                <a:cubicBezTo>
                  <a:pt x="9827" y="5410"/>
                  <a:pt x="9934" y="2946"/>
                  <a:pt x="10000" y="1224"/>
                </a:cubicBezTo>
                <a:cubicBezTo>
                  <a:pt x="10008" y="1086"/>
                  <a:pt x="10001" y="0"/>
                  <a:pt x="10000" y="497"/>
                </a:cubicBezTo>
                <a:cubicBezTo>
                  <a:pt x="9937" y="1770"/>
                  <a:pt x="9819" y="4623"/>
                  <a:pt x="9475" y="4722"/>
                </a:cubicBezTo>
                <a:close/>
              </a:path>
            </a:pathLst>
          </a:custGeom>
          <a:solidFill>
            <a:srgbClr val="DD0982"/>
          </a:solidFill>
          <a:ln w="9525">
            <a:noFill/>
            <a:rou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4078" tIns="47039" rIns="94078" bIns="47039"/>
          <a:lstStyle/>
          <a:p>
            <a:pPr defTabSz="863600">
              <a:defRPr/>
            </a:pPr>
            <a:endParaRPr lang="fr-FR" sz="1700" kern="0">
              <a:solidFill>
                <a:sysClr val="windowText" lastClr="000000"/>
              </a:solidFill>
              <a:latin typeface="Arial" panose="020B0604020202090204" pitchFamily="34" charset="0"/>
              <a:ea typeface="MS PGothic" pitchFamily="34" charset="-128"/>
            </a:endParaRPr>
          </a:p>
        </p:txBody>
      </p:sp>
      <p:sp>
        <p:nvSpPr>
          <p:cNvPr id="8" name="Rectangle 7"/>
          <p:cNvSpPr/>
          <p:nvPr userDrawn="1">
            <p:custDataLst>
              <p:tags r:id="rId2"/>
            </p:custDataLst>
          </p:nvPr>
        </p:nvSpPr>
        <p:spPr>
          <a:xfrm>
            <a:off x="0" y="4006609"/>
            <a:ext cx="11522075" cy="2041555"/>
          </a:xfrm>
          <a:prstGeom prst="rect">
            <a:avLst/>
          </a:prstGeom>
          <a:solidFill>
            <a:srgbClr val="D5D30F">
              <a:alpha val="4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9343" tIns="39672" rIns="79343" bIns="39672" anchor="ctr"/>
          <a:lstStyle/>
          <a:p>
            <a:pPr algn="ctr"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30" dirty="0">
              <a:solidFill>
                <a:prstClr val="white"/>
              </a:solidFill>
            </a:endParaRPr>
          </a:p>
        </p:txBody>
      </p:sp>
      <p:sp>
        <p:nvSpPr>
          <p:cNvPr id="9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01" y="1"/>
            <a:ext cx="11526077" cy="2379064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-1" fmla="*/ 0 w 10685085"/>
              <a:gd name="connsiteY0-2" fmla="*/ 0 h 684481"/>
              <a:gd name="connsiteX1-3" fmla="*/ 10685085 w 10685085"/>
              <a:gd name="connsiteY1-4" fmla="*/ 0 h 684481"/>
              <a:gd name="connsiteX2-5" fmla="*/ 10685085 w 10685085"/>
              <a:gd name="connsiteY2-6" fmla="*/ 684481 h 684481"/>
              <a:gd name="connsiteX3-7" fmla="*/ 525849 w 10685085"/>
              <a:gd name="connsiteY3-8" fmla="*/ 678410 h 684481"/>
              <a:gd name="connsiteX4-9" fmla="*/ 0 w 10685085"/>
              <a:gd name="connsiteY4-10" fmla="*/ 684481 h 684481"/>
              <a:gd name="connsiteX5" fmla="*/ 0 w 10685085"/>
              <a:gd name="connsiteY5" fmla="*/ 0 h 684481"/>
              <a:gd name="connsiteX0-11" fmla="*/ 0 w 10685085"/>
              <a:gd name="connsiteY0-12" fmla="*/ 0 h 684481"/>
              <a:gd name="connsiteX1-13" fmla="*/ 10685085 w 10685085"/>
              <a:gd name="connsiteY1-14" fmla="*/ 0 h 684481"/>
              <a:gd name="connsiteX2-15" fmla="*/ 10685085 w 10685085"/>
              <a:gd name="connsiteY2-16" fmla="*/ 684481 h 684481"/>
              <a:gd name="connsiteX3-17" fmla="*/ 1063736 w 10685085"/>
              <a:gd name="connsiteY3-18" fmla="*/ 670939 h 684481"/>
              <a:gd name="connsiteX4-19" fmla="*/ 525849 w 10685085"/>
              <a:gd name="connsiteY4-20" fmla="*/ 678410 h 684481"/>
              <a:gd name="connsiteX5-21" fmla="*/ 0 w 10685085"/>
              <a:gd name="connsiteY5-22" fmla="*/ 684481 h 684481"/>
              <a:gd name="connsiteX6" fmla="*/ 0 w 10685085"/>
              <a:gd name="connsiteY6" fmla="*/ 0 h 684481"/>
              <a:gd name="connsiteX0-23" fmla="*/ 0 w 10685085"/>
              <a:gd name="connsiteY0-24" fmla="*/ 0 h 684481"/>
              <a:gd name="connsiteX1-25" fmla="*/ 10685085 w 10685085"/>
              <a:gd name="connsiteY1-26" fmla="*/ 0 h 684481"/>
              <a:gd name="connsiteX2-27" fmla="*/ 10685085 w 10685085"/>
              <a:gd name="connsiteY2-28" fmla="*/ 684481 h 684481"/>
              <a:gd name="connsiteX3-29" fmla="*/ 1063736 w 10685085"/>
              <a:gd name="connsiteY3-30" fmla="*/ 670939 h 684481"/>
              <a:gd name="connsiteX4-31" fmla="*/ 525849 w 10685085"/>
              <a:gd name="connsiteY4-32" fmla="*/ 678410 h 684481"/>
              <a:gd name="connsiteX5-33" fmla="*/ 0 w 10685085"/>
              <a:gd name="connsiteY5-34" fmla="*/ 684481 h 684481"/>
              <a:gd name="connsiteX6-35" fmla="*/ 0 w 10685085"/>
              <a:gd name="connsiteY6-36" fmla="*/ 0 h 684481"/>
              <a:gd name="connsiteX0-37" fmla="*/ 0 w 10685085"/>
              <a:gd name="connsiteY0-38" fmla="*/ 0 h 1022049"/>
              <a:gd name="connsiteX1-39" fmla="*/ 10685085 w 10685085"/>
              <a:gd name="connsiteY1-40" fmla="*/ 0 h 1022049"/>
              <a:gd name="connsiteX2-41" fmla="*/ 10685085 w 10685085"/>
              <a:gd name="connsiteY2-42" fmla="*/ 684481 h 1022049"/>
              <a:gd name="connsiteX3-43" fmla="*/ 1063736 w 10685085"/>
              <a:gd name="connsiteY3-44" fmla="*/ 670939 h 1022049"/>
              <a:gd name="connsiteX4-45" fmla="*/ 533320 w 10685085"/>
              <a:gd name="connsiteY4-46" fmla="*/ 1022049 h 1022049"/>
              <a:gd name="connsiteX5-47" fmla="*/ 0 w 10685085"/>
              <a:gd name="connsiteY5-48" fmla="*/ 684481 h 1022049"/>
              <a:gd name="connsiteX6-49" fmla="*/ 0 w 10685085"/>
              <a:gd name="connsiteY6-50" fmla="*/ 0 h 1022049"/>
              <a:gd name="connsiteX0-51" fmla="*/ 0 w 10685085"/>
              <a:gd name="connsiteY0-52" fmla="*/ 0 h 1022049"/>
              <a:gd name="connsiteX1-53" fmla="*/ 10685085 w 10685085"/>
              <a:gd name="connsiteY1-54" fmla="*/ 0 h 1022049"/>
              <a:gd name="connsiteX2-55" fmla="*/ 10685085 w 10685085"/>
              <a:gd name="connsiteY2-56" fmla="*/ 684481 h 1022049"/>
              <a:gd name="connsiteX3-57" fmla="*/ 1063736 w 10685085"/>
              <a:gd name="connsiteY3-58" fmla="*/ 670939 h 1022049"/>
              <a:gd name="connsiteX4-59" fmla="*/ 533320 w 10685085"/>
              <a:gd name="connsiteY4-60" fmla="*/ 1022049 h 1022049"/>
              <a:gd name="connsiteX5-61" fmla="*/ 0 w 10685085"/>
              <a:gd name="connsiteY5-62" fmla="*/ 684481 h 1022049"/>
              <a:gd name="connsiteX6-63" fmla="*/ 0 w 10685085"/>
              <a:gd name="connsiteY6-64" fmla="*/ 0 h 1022049"/>
              <a:gd name="connsiteX0-65" fmla="*/ 0 w 10685085"/>
              <a:gd name="connsiteY0-66" fmla="*/ 0 h 1022049"/>
              <a:gd name="connsiteX1-67" fmla="*/ 10685085 w 10685085"/>
              <a:gd name="connsiteY1-68" fmla="*/ 0 h 1022049"/>
              <a:gd name="connsiteX2-69" fmla="*/ 10685085 w 10685085"/>
              <a:gd name="connsiteY2-70" fmla="*/ 684481 h 1022049"/>
              <a:gd name="connsiteX3-71" fmla="*/ 1063736 w 10685085"/>
              <a:gd name="connsiteY3-72" fmla="*/ 670939 h 1022049"/>
              <a:gd name="connsiteX4-73" fmla="*/ 533320 w 10685085"/>
              <a:gd name="connsiteY4-74" fmla="*/ 1022049 h 1022049"/>
              <a:gd name="connsiteX5-75" fmla="*/ 0 w 10685085"/>
              <a:gd name="connsiteY5-76" fmla="*/ 684481 h 1022049"/>
              <a:gd name="connsiteX6-77" fmla="*/ 0 w 10685085"/>
              <a:gd name="connsiteY6-78" fmla="*/ 0 h 1022049"/>
              <a:gd name="connsiteX0-79" fmla="*/ 0 w 10685085"/>
              <a:gd name="connsiteY0-80" fmla="*/ 0 h 1022049"/>
              <a:gd name="connsiteX1-81" fmla="*/ 10685085 w 10685085"/>
              <a:gd name="connsiteY1-82" fmla="*/ 0 h 1022049"/>
              <a:gd name="connsiteX2-83" fmla="*/ 10685085 w 10685085"/>
              <a:gd name="connsiteY2-84" fmla="*/ 684481 h 1022049"/>
              <a:gd name="connsiteX3-85" fmla="*/ 1063736 w 10685085"/>
              <a:gd name="connsiteY3-86" fmla="*/ 670939 h 1022049"/>
              <a:gd name="connsiteX4-87" fmla="*/ 533320 w 10685085"/>
              <a:gd name="connsiteY4-88" fmla="*/ 1022049 h 1022049"/>
              <a:gd name="connsiteX5-89" fmla="*/ 0 w 10685085"/>
              <a:gd name="connsiteY5-90" fmla="*/ 684481 h 1022049"/>
              <a:gd name="connsiteX6-91" fmla="*/ 0 w 10685085"/>
              <a:gd name="connsiteY6-92" fmla="*/ 0 h 1022049"/>
              <a:gd name="connsiteX0-93" fmla="*/ 0 w 10685085"/>
              <a:gd name="connsiteY0-94" fmla="*/ 0 h 1022049"/>
              <a:gd name="connsiteX1-95" fmla="*/ 10685085 w 10685085"/>
              <a:gd name="connsiteY1-96" fmla="*/ 0 h 1022049"/>
              <a:gd name="connsiteX2-97" fmla="*/ 10685085 w 10685085"/>
              <a:gd name="connsiteY2-98" fmla="*/ 684481 h 1022049"/>
              <a:gd name="connsiteX3-99" fmla="*/ 1063736 w 10685085"/>
              <a:gd name="connsiteY3-100" fmla="*/ 670939 h 1022049"/>
              <a:gd name="connsiteX4-101" fmla="*/ 533320 w 10685085"/>
              <a:gd name="connsiteY4-102" fmla="*/ 1022049 h 1022049"/>
              <a:gd name="connsiteX5-103" fmla="*/ 0 w 10685085"/>
              <a:gd name="connsiteY5-104" fmla="*/ 684481 h 1022049"/>
              <a:gd name="connsiteX6-105" fmla="*/ 0 w 10685085"/>
              <a:gd name="connsiteY6-106" fmla="*/ 0 h 1022049"/>
              <a:gd name="connsiteX0-107" fmla="*/ 0 w 10685085"/>
              <a:gd name="connsiteY0-108" fmla="*/ 0 h 1022049"/>
              <a:gd name="connsiteX1-109" fmla="*/ 10685085 w 10685085"/>
              <a:gd name="connsiteY1-110" fmla="*/ 0 h 1022049"/>
              <a:gd name="connsiteX2-111" fmla="*/ 10685085 w 10685085"/>
              <a:gd name="connsiteY2-112" fmla="*/ 684481 h 1022049"/>
              <a:gd name="connsiteX3-113" fmla="*/ 10222758 w 10685085"/>
              <a:gd name="connsiteY3-114" fmla="*/ 678410 h 1022049"/>
              <a:gd name="connsiteX4-115" fmla="*/ 1063736 w 10685085"/>
              <a:gd name="connsiteY4-116" fmla="*/ 670939 h 1022049"/>
              <a:gd name="connsiteX5-117" fmla="*/ 533320 w 10685085"/>
              <a:gd name="connsiteY5-118" fmla="*/ 1022049 h 1022049"/>
              <a:gd name="connsiteX6-119" fmla="*/ 0 w 10685085"/>
              <a:gd name="connsiteY6-120" fmla="*/ 684481 h 1022049"/>
              <a:gd name="connsiteX7" fmla="*/ 0 w 10685085"/>
              <a:gd name="connsiteY7" fmla="*/ 0 h 1022049"/>
              <a:gd name="connsiteX0-121" fmla="*/ 0 w 10685085"/>
              <a:gd name="connsiteY0-122" fmla="*/ 0 h 1022049"/>
              <a:gd name="connsiteX1-123" fmla="*/ 10685085 w 10685085"/>
              <a:gd name="connsiteY1-124" fmla="*/ 0 h 1022049"/>
              <a:gd name="connsiteX2-125" fmla="*/ 10685085 w 10685085"/>
              <a:gd name="connsiteY2-126" fmla="*/ 303491 h 1022049"/>
              <a:gd name="connsiteX3-127" fmla="*/ 10222758 w 10685085"/>
              <a:gd name="connsiteY3-128" fmla="*/ 678410 h 1022049"/>
              <a:gd name="connsiteX4-129" fmla="*/ 1063736 w 10685085"/>
              <a:gd name="connsiteY4-130" fmla="*/ 670939 h 1022049"/>
              <a:gd name="connsiteX5-131" fmla="*/ 533320 w 10685085"/>
              <a:gd name="connsiteY5-132" fmla="*/ 1022049 h 1022049"/>
              <a:gd name="connsiteX6-133" fmla="*/ 0 w 10685085"/>
              <a:gd name="connsiteY6-134" fmla="*/ 684481 h 1022049"/>
              <a:gd name="connsiteX7-135" fmla="*/ 0 w 10685085"/>
              <a:gd name="connsiteY7-136" fmla="*/ 0 h 1022049"/>
              <a:gd name="connsiteX0-137" fmla="*/ 0 w 10685085"/>
              <a:gd name="connsiteY0-138" fmla="*/ 0 h 1022049"/>
              <a:gd name="connsiteX1-139" fmla="*/ 10685085 w 10685085"/>
              <a:gd name="connsiteY1-140" fmla="*/ 0 h 1022049"/>
              <a:gd name="connsiteX2-141" fmla="*/ 10685085 w 10685085"/>
              <a:gd name="connsiteY2-142" fmla="*/ 303491 h 1022049"/>
              <a:gd name="connsiteX3-143" fmla="*/ 10222758 w 10685085"/>
              <a:gd name="connsiteY3-144" fmla="*/ 678410 h 1022049"/>
              <a:gd name="connsiteX4-145" fmla="*/ 1063736 w 10685085"/>
              <a:gd name="connsiteY4-146" fmla="*/ 670939 h 1022049"/>
              <a:gd name="connsiteX5-147" fmla="*/ 533320 w 10685085"/>
              <a:gd name="connsiteY5-148" fmla="*/ 1022049 h 1022049"/>
              <a:gd name="connsiteX6-149" fmla="*/ 0 w 10685085"/>
              <a:gd name="connsiteY6-150" fmla="*/ 684481 h 1022049"/>
              <a:gd name="connsiteX7-151" fmla="*/ 0 w 10685085"/>
              <a:gd name="connsiteY7-152" fmla="*/ 0 h 1022049"/>
              <a:gd name="connsiteX0-153" fmla="*/ 0 w 10685085"/>
              <a:gd name="connsiteY0-154" fmla="*/ 0 h 1022049"/>
              <a:gd name="connsiteX1-155" fmla="*/ 10685085 w 10685085"/>
              <a:gd name="connsiteY1-156" fmla="*/ 0 h 1022049"/>
              <a:gd name="connsiteX2-157" fmla="*/ 10685085 w 10685085"/>
              <a:gd name="connsiteY2-158" fmla="*/ 303491 h 1022049"/>
              <a:gd name="connsiteX3-159" fmla="*/ 10222758 w 10685085"/>
              <a:gd name="connsiteY3-160" fmla="*/ 678410 h 1022049"/>
              <a:gd name="connsiteX4-161" fmla="*/ 1063736 w 10685085"/>
              <a:gd name="connsiteY4-162" fmla="*/ 670939 h 1022049"/>
              <a:gd name="connsiteX5-163" fmla="*/ 533320 w 10685085"/>
              <a:gd name="connsiteY5-164" fmla="*/ 1022049 h 1022049"/>
              <a:gd name="connsiteX6-165" fmla="*/ 0 w 10685085"/>
              <a:gd name="connsiteY6-166" fmla="*/ 684481 h 1022049"/>
              <a:gd name="connsiteX7-167" fmla="*/ 0 w 10685085"/>
              <a:gd name="connsiteY7-168" fmla="*/ 0 h 1022049"/>
              <a:gd name="connsiteX0-169" fmla="*/ 0 w 10685085"/>
              <a:gd name="connsiteY0-170" fmla="*/ 0 h 1022049"/>
              <a:gd name="connsiteX1-171" fmla="*/ 10685085 w 10685085"/>
              <a:gd name="connsiteY1-172" fmla="*/ 0 h 1022049"/>
              <a:gd name="connsiteX2-173" fmla="*/ 10685085 w 10685085"/>
              <a:gd name="connsiteY2-174" fmla="*/ 303491 h 1022049"/>
              <a:gd name="connsiteX3-175" fmla="*/ 10222758 w 10685085"/>
              <a:gd name="connsiteY3-176" fmla="*/ 678410 h 1022049"/>
              <a:gd name="connsiteX4-177" fmla="*/ 1063736 w 10685085"/>
              <a:gd name="connsiteY4-178" fmla="*/ 670939 h 1022049"/>
              <a:gd name="connsiteX5-179" fmla="*/ 533320 w 10685085"/>
              <a:gd name="connsiteY5-180" fmla="*/ 1022049 h 1022049"/>
              <a:gd name="connsiteX6-181" fmla="*/ 0 w 10685085"/>
              <a:gd name="connsiteY6-182" fmla="*/ 684481 h 1022049"/>
              <a:gd name="connsiteX7-183" fmla="*/ 0 w 10685085"/>
              <a:gd name="connsiteY7-184" fmla="*/ 0 h 1022049"/>
              <a:gd name="connsiteX0-185" fmla="*/ 0 w 10685085"/>
              <a:gd name="connsiteY0-186" fmla="*/ 0 h 1022049"/>
              <a:gd name="connsiteX1-187" fmla="*/ 10685085 w 10685085"/>
              <a:gd name="connsiteY1-188" fmla="*/ 0 h 1022049"/>
              <a:gd name="connsiteX2-189" fmla="*/ 10685085 w 10685085"/>
              <a:gd name="connsiteY2-190" fmla="*/ 303491 h 1022049"/>
              <a:gd name="connsiteX3-191" fmla="*/ 10222758 w 10685085"/>
              <a:gd name="connsiteY3-192" fmla="*/ 678410 h 1022049"/>
              <a:gd name="connsiteX4-193" fmla="*/ 1063736 w 10685085"/>
              <a:gd name="connsiteY4-194" fmla="*/ 670939 h 1022049"/>
              <a:gd name="connsiteX5-195" fmla="*/ 533320 w 10685085"/>
              <a:gd name="connsiteY5-196" fmla="*/ 1022049 h 1022049"/>
              <a:gd name="connsiteX6-197" fmla="*/ 0 w 10685085"/>
              <a:gd name="connsiteY6-198" fmla="*/ 684481 h 1022049"/>
              <a:gd name="connsiteX7-199" fmla="*/ 0 w 10685085"/>
              <a:gd name="connsiteY7-200" fmla="*/ 0 h 1022049"/>
              <a:gd name="connsiteX0-201" fmla="*/ 0 w 10685085"/>
              <a:gd name="connsiteY0-202" fmla="*/ 0 h 1022049"/>
              <a:gd name="connsiteX1-203" fmla="*/ 10685085 w 10685085"/>
              <a:gd name="connsiteY1-204" fmla="*/ 0 h 1022049"/>
              <a:gd name="connsiteX2-205" fmla="*/ 10685085 w 10685085"/>
              <a:gd name="connsiteY2-206" fmla="*/ 303491 h 1022049"/>
              <a:gd name="connsiteX3-207" fmla="*/ 10222758 w 10685085"/>
              <a:gd name="connsiteY3-208" fmla="*/ 678410 h 1022049"/>
              <a:gd name="connsiteX4-209" fmla="*/ 1063736 w 10685085"/>
              <a:gd name="connsiteY4-210" fmla="*/ 670939 h 1022049"/>
              <a:gd name="connsiteX5-211" fmla="*/ 533320 w 10685085"/>
              <a:gd name="connsiteY5-212" fmla="*/ 1022049 h 1022049"/>
              <a:gd name="connsiteX6-213" fmla="*/ 0 w 10685085"/>
              <a:gd name="connsiteY6-214" fmla="*/ 684481 h 1022049"/>
              <a:gd name="connsiteX7-215" fmla="*/ 0 w 10685085"/>
              <a:gd name="connsiteY7-216" fmla="*/ 0 h 1022049"/>
              <a:gd name="connsiteX0-217" fmla="*/ 0 w 10685085"/>
              <a:gd name="connsiteY0-218" fmla="*/ 0 h 1022049"/>
              <a:gd name="connsiteX1-219" fmla="*/ 10685085 w 10685085"/>
              <a:gd name="connsiteY1-220" fmla="*/ 0 h 1022049"/>
              <a:gd name="connsiteX2-221" fmla="*/ 10685085 w 10685085"/>
              <a:gd name="connsiteY2-222" fmla="*/ 303491 h 1022049"/>
              <a:gd name="connsiteX3-223" fmla="*/ 10222758 w 10685085"/>
              <a:gd name="connsiteY3-224" fmla="*/ 678410 h 1022049"/>
              <a:gd name="connsiteX4-225" fmla="*/ 1157465 w 10685085"/>
              <a:gd name="connsiteY4-226" fmla="*/ 670939 h 1022049"/>
              <a:gd name="connsiteX5-227" fmla="*/ 533320 w 10685085"/>
              <a:gd name="connsiteY5-228" fmla="*/ 1022049 h 1022049"/>
              <a:gd name="connsiteX6-229" fmla="*/ 0 w 10685085"/>
              <a:gd name="connsiteY6-230" fmla="*/ 684481 h 1022049"/>
              <a:gd name="connsiteX7-231" fmla="*/ 0 w 10685085"/>
              <a:gd name="connsiteY7-232" fmla="*/ 0 h 1022049"/>
              <a:gd name="connsiteX0-233" fmla="*/ 0 w 10685085"/>
              <a:gd name="connsiteY0-234" fmla="*/ 0 h 1022049"/>
              <a:gd name="connsiteX1-235" fmla="*/ 10685085 w 10685085"/>
              <a:gd name="connsiteY1-236" fmla="*/ 0 h 1022049"/>
              <a:gd name="connsiteX2-237" fmla="*/ 10685085 w 10685085"/>
              <a:gd name="connsiteY2-238" fmla="*/ 303491 h 1022049"/>
              <a:gd name="connsiteX3-239" fmla="*/ 10222758 w 10685085"/>
              <a:gd name="connsiteY3-240" fmla="*/ 678410 h 1022049"/>
              <a:gd name="connsiteX4-241" fmla="*/ 1157465 w 10685085"/>
              <a:gd name="connsiteY4-242" fmla="*/ 670939 h 1022049"/>
              <a:gd name="connsiteX5-243" fmla="*/ 533320 w 10685085"/>
              <a:gd name="connsiteY5-244" fmla="*/ 1022049 h 1022049"/>
              <a:gd name="connsiteX6-245" fmla="*/ 0 w 10685085"/>
              <a:gd name="connsiteY6-246" fmla="*/ 684481 h 1022049"/>
              <a:gd name="connsiteX7-247" fmla="*/ 0 w 10685085"/>
              <a:gd name="connsiteY7-248" fmla="*/ 0 h 1022049"/>
              <a:gd name="connsiteX0-249" fmla="*/ 0 w 10685085"/>
              <a:gd name="connsiteY0-250" fmla="*/ 0 h 1022049"/>
              <a:gd name="connsiteX1-251" fmla="*/ 10685085 w 10685085"/>
              <a:gd name="connsiteY1-252" fmla="*/ 0 h 1022049"/>
              <a:gd name="connsiteX2-253" fmla="*/ 10685085 w 10685085"/>
              <a:gd name="connsiteY2-254" fmla="*/ 303491 h 1022049"/>
              <a:gd name="connsiteX3-255" fmla="*/ 10222758 w 10685085"/>
              <a:gd name="connsiteY3-256" fmla="*/ 678410 h 1022049"/>
              <a:gd name="connsiteX4-257" fmla="*/ 1157465 w 10685085"/>
              <a:gd name="connsiteY4-258" fmla="*/ 670939 h 1022049"/>
              <a:gd name="connsiteX5-259" fmla="*/ 533320 w 10685085"/>
              <a:gd name="connsiteY5-260" fmla="*/ 1022049 h 1022049"/>
              <a:gd name="connsiteX6-261" fmla="*/ 23183 w 10685085"/>
              <a:gd name="connsiteY6-262" fmla="*/ 684481 h 1022049"/>
              <a:gd name="connsiteX7-263" fmla="*/ 0 w 10685085"/>
              <a:gd name="connsiteY7-264" fmla="*/ 0 h 1022049"/>
              <a:gd name="connsiteX0-265" fmla="*/ 0 w 10673494"/>
              <a:gd name="connsiteY0-266" fmla="*/ 5825 h 1022049"/>
              <a:gd name="connsiteX1-267" fmla="*/ 10673494 w 10673494"/>
              <a:gd name="connsiteY1-268" fmla="*/ 0 h 1022049"/>
              <a:gd name="connsiteX2-269" fmla="*/ 10673494 w 10673494"/>
              <a:gd name="connsiteY2-270" fmla="*/ 303491 h 1022049"/>
              <a:gd name="connsiteX3-271" fmla="*/ 10211167 w 10673494"/>
              <a:gd name="connsiteY3-272" fmla="*/ 678410 h 1022049"/>
              <a:gd name="connsiteX4-273" fmla="*/ 1145874 w 10673494"/>
              <a:gd name="connsiteY4-274" fmla="*/ 670939 h 1022049"/>
              <a:gd name="connsiteX5-275" fmla="*/ 521729 w 10673494"/>
              <a:gd name="connsiteY5-276" fmla="*/ 1022049 h 1022049"/>
              <a:gd name="connsiteX6-277" fmla="*/ 11592 w 10673494"/>
              <a:gd name="connsiteY6-278" fmla="*/ 684481 h 1022049"/>
              <a:gd name="connsiteX7-279" fmla="*/ 0 w 10673494"/>
              <a:gd name="connsiteY7-280" fmla="*/ 5825 h 1022049"/>
              <a:gd name="connsiteX0-281" fmla="*/ 0 w 10673494"/>
              <a:gd name="connsiteY0-282" fmla="*/ 0 h 1045351"/>
              <a:gd name="connsiteX1-283" fmla="*/ 10673494 w 10673494"/>
              <a:gd name="connsiteY1-284" fmla="*/ 23302 h 1045351"/>
              <a:gd name="connsiteX2-285" fmla="*/ 10673494 w 10673494"/>
              <a:gd name="connsiteY2-286" fmla="*/ 326793 h 1045351"/>
              <a:gd name="connsiteX3-287" fmla="*/ 10211167 w 10673494"/>
              <a:gd name="connsiteY3-288" fmla="*/ 701712 h 1045351"/>
              <a:gd name="connsiteX4-289" fmla="*/ 1145874 w 10673494"/>
              <a:gd name="connsiteY4-290" fmla="*/ 694241 h 1045351"/>
              <a:gd name="connsiteX5-291" fmla="*/ 521729 w 10673494"/>
              <a:gd name="connsiteY5-292" fmla="*/ 1045351 h 1045351"/>
              <a:gd name="connsiteX6-293" fmla="*/ 11592 w 10673494"/>
              <a:gd name="connsiteY6-294" fmla="*/ 707783 h 1045351"/>
              <a:gd name="connsiteX7-295" fmla="*/ 0 w 10673494"/>
              <a:gd name="connsiteY7-296" fmla="*/ 0 h 1045351"/>
              <a:gd name="connsiteX0-297" fmla="*/ 0 w 10667698"/>
              <a:gd name="connsiteY0-298" fmla="*/ 0 h 1027875"/>
              <a:gd name="connsiteX1-299" fmla="*/ 10667698 w 10667698"/>
              <a:gd name="connsiteY1-300" fmla="*/ 5826 h 1027875"/>
              <a:gd name="connsiteX2-301" fmla="*/ 10667698 w 10667698"/>
              <a:gd name="connsiteY2-302" fmla="*/ 309317 h 1027875"/>
              <a:gd name="connsiteX3-303" fmla="*/ 10205371 w 10667698"/>
              <a:gd name="connsiteY3-304" fmla="*/ 684236 h 1027875"/>
              <a:gd name="connsiteX4-305" fmla="*/ 1140078 w 10667698"/>
              <a:gd name="connsiteY4-306" fmla="*/ 676765 h 1027875"/>
              <a:gd name="connsiteX5-307" fmla="*/ 515933 w 10667698"/>
              <a:gd name="connsiteY5-308" fmla="*/ 1027875 h 1027875"/>
              <a:gd name="connsiteX6-309" fmla="*/ 5796 w 10667698"/>
              <a:gd name="connsiteY6-310" fmla="*/ 690307 h 1027875"/>
              <a:gd name="connsiteX7-311" fmla="*/ 0 w 10667698"/>
              <a:gd name="connsiteY7-312" fmla="*/ 0 h 1027875"/>
              <a:gd name="connsiteX0-313" fmla="*/ 5796 w 10661902"/>
              <a:gd name="connsiteY0-314" fmla="*/ 0 h 1027875"/>
              <a:gd name="connsiteX1-315" fmla="*/ 10661902 w 10661902"/>
              <a:gd name="connsiteY1-316" fmla="*/ 5826 h 1027875"/>
              <a:gd name="connsiteX2-317" fmla="*/ 10661902 w 10661902"/>
              <a:gd name="connsiteY2-318" fmla="*/ 309317 h 1027875"/>
              <a:gd name="connsiteX3-319" fmla="*/ 10199575 w 10661902"/>
              <a:gd name="connsiteY3-320" fmla="*/ 684236 h 1027875"/>
              <a:gd name="connsiteX4-321" fmla="*/ 1134282 w 10661902"/>
              <a:gd name="connsiteY4-322" fmla="*/ 676765 h 1027875"/>
              <a:gd name="connsiteX5-323" fmla="*/ 510137 w 10661902"/>
              <a:gd name="connsiteY5-324" fmla="*/ 1027875 h 1027875"/>
              <a:gd name="connsiteX6-325" fmla="*/ 0 w 10661902"/>
              <a:gd name="connsiteY6-326" fmla="*/ 690307 h 1027875"/>
              <a:gd name="connsiteX7-327" fmla="*/ 5796 w 10661902"/>
              <a:gd name="connsiteY7-328" fmla="*/ 0 h 1027875"/>
              <a:gd name="connsiteX0-329" fmla="*/ 1 w 10661902"/>
              <a:gd name="connsiteY0-330" fmla="*/ 0 h 1027875"/>
              <a:gd name="connsiteX1-331" fmla="*/ 10661902 w 10661902"/>
              <a:gd name="connsiteY1-332" fmla="*/ 5826 h 1027875"/>
              <a:gd name="connsiteX2-333" fmla="*/ 10661902 w 10661902"/>
              <a:gd name="connsiteY2-334" fmla="*/ 309317 h 1027875"/>
              <a:gd name="connsiteX3-335" fmla="*/ 10199575 w 10661902"/>
              <a:gd name="connsiteY3-336" fmla="*/ 684236 h 1027875"/>
              <a:gd name="connsiteX4-337" fmla="*/ 1134282 w 10661902"/>
              <a:gd name="connsiteY4-338" fmla="*/ 676765 h 1027875"/>
              <a:gd name="connsiteX5-339" fmla="*/ 510137 w 10661902"/>
              <a:gd name="connsiteY5-340" fmla="*/ 1027875 h 1027875"/>
              <a:gd name="connsiteX6-341" fmla="*/ 0 w 10661902"/>
              <a:gd name="connsiteY6-342" fmla="*/ 690307 h 1027875"/>
              <a:gd name="connsiteX7-343" fmla="*/ 1 w 10661902"/>
              <a:gd name="connsiteY7-344" fmla="*/ 0 h 1027875"/>
              <a:gd name="connsiteX0-345" fmla="*/ 1 w 10661902"/>
              <a:gd name="connsiteY0-346" fmla="*/ 0 h 1027875"/>
              <a:gd name="connsiteX1-347" fmla="*/ 10661902 w 10661902"/>
              <a:gd name="connsiteY1-348" fmla="*/ 5826 h 1027875"/>
              <a:gd name="connsiteX2-349" fmla="*/ 10661902 w 10661902"/>
              <a:gd name="connsiteY2-350" fmla="*/ 309317 h 1027875"/>
              <a:gd name="connsiteX3-351" fmla="*/ 10199575 w 10661902"/>
              <a:gd name="connsiteY3-352" fmla="*/ 684236 h 1027875"/>
              <a:gd name="connsiteX4-353" fmla="*/ 1134282 w 10661902"/>
              <a:gd name="connsiteY4-354" fmla="*/ 676765 h 1027875"/>
              <a:gd name="connsiteX5-355" fmla="*/ 560676 w 10661902"/>
              <a:gd name="connsiteY5-356" fmla="*/ 1027875 h 1027875"/>
              <a:gd name="connsiteX6-357" fmla="*/ 0 w 10661902"/>
              <a:gd name="connsiteY6-358" fmla="*/ 690307 h 1027875"/>
              <a:gd name="connsiteX7-359" fmla="*/ 1 w 10661902"/>
              <a:gd name="connsiteY7-360" fmla="*/ 0 h 1027875"/>
              <a:gd name="connsiteX0-361" fmla="*/ 1 w 10661902"/>
              <a:gd name="connsiteY0-362" fmla="*/ 0 h 1027875"/>
              <a:gd name="connsiteX1-363" fmla="*/ 10661902 w 10661902"/>
              <a:gd name="connsiteY1-364" fmla="*/ 5826 h 1027875"/>
              <a:gd name="connsiteX2-365" fmla="*/ 10661902 w 10661902"/>
              <a:gd name="connsiteY2-366" fmla="*/ 309317 h 1027875"/>
              <a:gd name="connsiteX3-367" fmla="*/ 10199575 w 10661902"/>
              <a:gd name="connsiteY3-368" fmla="*/ 684236 h 1027875"/>
              <a:gd name="connsiteX4-369" fmla="*/ 1137441 w 10661902"/>
              <a:gd name="connsiteY4-370" fmla="*/ 689465 h 1027875"/>
              <a:gd name="connsiteX5-371" fmla="*/ 560676 w 10661902"/>
              <a:gd name="connsiteY5-372" fmla="*/ 1027875 h 1027875"/>
              <a:gd name="connsiteX6-373" fmla="*/ 0 w 10661902"/>
              <a:gd name="connsiteY6-374" fmla="*/ 690307 h 1027875"/>
              <a:gd name="connsiteX7-375" fmla="*/ 1 w 10661902"/>
              <a:gd name="connsiteY7-376" fmla="*/ 0 h 1027875"/>
              <a:gd name="connsiteX0-377" fmla="*/ 1 w 10661902"/>
              <a:gd name="connsiteY0-378" fmla="*/ 0 h 1027875"/>
              <a:gd name="connsiteX1-379" fmla="*/ 10661902 w 10661902"/>
              <a:gd name="connsiteY1-380" fmla="*/ 5826 h 1027875"/>
              <a:gd name="connsiteX2-381" fmla="*/ 10661902 w 10661902"/>
              <a:gd name="connsiteY2-382" fmla="*/ 309317 h 1027875"/>
              <a:gd name="connsiteX3-383" fmla="*/ 10199575 w 10661902"/>
              <a:gd name="connsiteY3-384" fmla="*/ 684236 h 1027875"/>
              <a:gd name="connsiteX4-385" fmla="*/ 1143758 w 10661902"/>
              <a:gd name="connsiteY4-386" fmla="*/ 629140 h 1027875"/>
              <a:gd name="connsiteX5-387" fmla="*/ 560676 w 10661902"/>
              <a:gd name="connsiteY5-388" fmla="*/ 1027875 h 1027875"/>
              <a:gd name="connsiteX6-389" fmla="*/ 0 w 10661902"/>
              <a:gd name="connsiteY6-390" fmla="*/ 690307 h 1027875"/>
              <a:gd name="connsiteX7-391" fmla="*/ 1 w 10661902"/>
              <a:gd name="connsiteY7-392" fmla="*/ 0 h 1027875"/>
              <a:gd name="connsiteX0-393" fmla="*/ 1 w 10661902"/>
              <a:gd name="connsiteY0-394" fmla="*/ 0 h 1027875"/>
              <a:gd name="connsiteX1-395" fmla="*/ 10661902 w 10661902"/>
              <a:gd name="connsiteY1-396" fmla="*/ 5826 h 1027875"/>
              <a:gd name="connsiteX2-397" fmla="*/ 10661902 w 10661902"/>
              <a:gd name="connsiteY2-398" fmla="*/ 309317 h 1027875"/>
              <a:gd name="connsiteX3-399" fmla="*/ 10199575 w 10661902"/>
              <a:gd name="connsiteY3-400" fmla="*/ 684236 h 1027875"/>
              <a:gd name="connsiteX4-401" fmla="*/ 1140599 w 10661902"/>
              <a:gd name="connsiteY4-402" fmla="*/ 686290 h 1027875"/>
              <a:gd name="connsiteX5-403" fmla="*/ 560676 w 10661902"/>
              <a:gd name="connsiteY5-404" fmla="*/ 1027875 h 1027875"/>
              <a:gd name="connsiteX6-405" fmla="*/ 0 w 10661902"/>
              <a:gd name="connsiteY6-406" fmla="*/ 690307 h 1027875"/>
              <a:gd name="connsiteX7-407" fmla="*/ 1 w 10661902"/>
              <a:gd name="connsiteY7-408" fmla="*/ 0 h 1027875"/>
              <a:gd name="connsiteX0-409" fmla="*/ 1 w 10661902"/>
              <a:gd name="connsiteY0-410" fmla="*/ 0 h 1027875"/>
              <a:gd name="connsiteX1-411" fmla="*/ 10661902 w 10661902"/>
              <a:gd name="connsiteY1-412" fmla="*/ 5826 h 1027875"/>
              <a:gd name="connsiteX2-413" fmla="*/ 10661902 w 10661902"/>
              <a:gd name="connsiteY2-414" fmla="*/ 309317 h 1027875"/>
              <a:gd name="connsiteX3-415" fmla="*/ 10199575 w 10661902"/>
              <a:gd name="connsiteY3-416" fmla="*/ 684236 h 1027875"/>
              <a:gd name="connsiteX4-417" fmla="*/ 1140599 w 10661902"/>
              <a:gd name="connsiteY4-418" fmla="*/ 686290 h 1027875"/>
              <a:gd name="connsiteX5-419" fmla="*/ 560676 w 10661902"/>
              <a:gd name="connsiteY5-420" fmla="*/ 1027875 h 1027875"/>
              <a:gd name="connsiteX6-421" fmla="*/ 0 w 10661902"/>
              <a:gd name="connsiteY6-422" fmla="*/ 690307 h 1027875"/>
              <a:gd name="connsiteX7-423" fmla="*/ 1 w 10661902"/>
              <a:gd name="connsiteY7-424" fmla="*/ 0 h 1027875"/>
              <a:gd name="connsiteX0-425" fmla="*/ 1 w 10661902"/>
              <a:gd name="connsiteY0-426" fmla="*/ 0 h 1027875"/>
              <a:gd name="connsiteX1-427" fmla="*/ 10661902 w 10661902"/>
              <a:gd name="connsiteY1-428" fmla="*/ 5826 h 1027875"/>
              <a:gd name="connsiteX2-429" fmla="*/ 10661902 w 10661902"/>
              <a:gd name="connsiteY2-430" fmla="*/ 309317 h 1027875"/>
              <a:gd name="connsiteX3-431" fmla="*/ 10199575 w 10661902"/>
              <a:gd name="connsiteY3-432" fmla="*/ 684236 h 1027875"/>
              <a:gd name="connsiteX4-433" fmla="*/ 1140599 w 10661902"/>
              <a:gd name="connsiteY4-434" fmla="*/ 686290 h 1027875"/>
              <a:gd name="connsiteX5-435" fmla="*/ 560676 w 10661902"/>
              <a:gd name="connsiteY5-436" fmla="*/ 1027875 h 1027875"/>
              <a:gd name="connsiteX6-437" fmla="*/ 0 w 10661902"/>
              <a:gd name="connsiteY6-438" fmla="*/ 690307 h 1027875"/>
              <a:gd name="connsiteX7-439" fmla="*/ 1 w 10661902"/>
              <a:gd name="connsiteY7-440" fmla="*/ 0 h 1027875"/>
              <a:gd name="connsiteX0-441" fmla="*/ 1 w 10661902"/>
              <a:gd name="connsiteY0-442" fmla="*/ 0 h 1027875"/>
              <a:gd name="connsiteX1-443" fmla="*/ 10661902 w 10661902"/>
              <a:gd name="connsiteY1-444" fmla="*/ 5826 h 1027875"/>
              <a:gd name="connsiteX2-445" fmla="*/ 10661902 w 10661902"/>
              <a:gd name="connsiteY2-446" fmla="*/ 309317 h 1027875"/>
              <a:gd name="connsiteX3-447" fmla="*/ 10199575 w 10661902"/>
              <a:gd name="connsiteY3-448" fmla="*/ 684236 h 1027875"/>
              <a:gd name="connsiteX4-449" fmla="*/ 1140599 w 10661902"/>
              <a:gd name="connsiteY4-450" fmla="*/ 686290 h 1027875"/>
              <a:gd name="connsiteX5-451" fmla="*/ 560676 w 10661902"/>
              <a:gd name="connsiteY5-452" fmla="*/ 1027875 h 1027875"/>
              <a:gd name="connsiteX6-453" fmla="*/ 0 w 10661902"/>
              <a:gd name="connsiteY6-454" fmla="*/ 690307 h 1027875"/>
              <a:gd name="connsiteX7-455" fmla="*/ 1 w 10661902"/>
              <a:gd name="connsiteY7-456" fmla="*/ 0 h 1027875"/>
              <a:gd name="connsiteX0-457" fmla="*/ 1 w 10661902"/>
              <a:gd name="connsiteY0-458" fmla="*/ 0 h 1027875"/>
              <a:gd name="connsiteX1-459" fmla="*/ 10661902 w 10661902"/>
              <a:gd name="connsiteY1-460" fmla="*/ 5826 h 1027875"/>
              <a:gd name="connsiteX2-461" fmla="*/ 10661902 w 10661902"/>
              <a:gd name="connsiteY2-462" fmla="*/ 309317 h 1027875"/>
              <a:gd name="connsiteX3-463" fmla="*/ 10199575 w 10661902"/>
              <a:gd name="connsiteY3-464" fmla="*/ 684236 h 1027875"/>
              <a:gd name="connsiteX4-465" fmla="*/ 1140599 w 10661902"/>
              <a:gd name="connsiteY4-466" fmla="*/ 686290 h 1027875"/>
              <a:gd name="connsiteX5-467" fmla="*/ 560676 w 10661902"/>
              <a:gd name="connsiteY5-468" fmla="*/ 1027875 h 1027875"/>
              <a:gd name="connsiteX6-469" fmla="*/ 0 w 10661902"/>
              <a:gd name="connsiteY6-470" fmla="*/ 690307 h 1027875"/>
              <a:gd name="connsiteX7-471" fmla="*/ 1 w 10661902"/>
              <a:gd name="connsiteY7-472" fmla="*/ 0 h 1027875"/>
              <a:gd name="connsiteX0-473" fmla="*/ 0 w 10661901"/>
              <a:gd name="connsiteY0-474" fmla="*/ 0 h 1027875"/>
              <a:gd name="connsiteX1-475" fmla="*/ 10661901 w 10661901"/>
              <a:gd name="connsiteY1-476" fmla="*/ 5826 h 1027875"/>
              <a:gd name="connsiteX2-477" fmla="*/ 10661901 w 10661901"/>
              <a:gd name="connsiteY2-478" fmla="*/ 309317 h 1027875"/>
              <a:gd name="connsiteX3-479" fmla="*/ 10199574 w 10661901"/>
              <a:gd name="connsiteY3-480" fmla="*/ 684236 h 1027875"/>
              <a:gd name="connsiteX4-481" fmla="*/ 1140598 w 10661901"/>
              <a:gd name="connsiteY4-482" fmla="*/ 686290 h 1027875"/>
              <a:gd name="connsiteX5-483" fmla="*/ 560675 w 10661901"/>
              <a:gd name="connsiteY5-484" fmla="*/ 1027875 h 1027875"/>
              <a:gd name="connsiteX6-485" fmla="*/ 3158 w 10661901"/>
              <a:gd name="connsiteY6-486" fmla="*/ 674432 h 1027875"/>
              <a:gd name="connsiteX7-487" fmla="*/ 0 w 10661901"/>
              <a:gd name="connsiteY7-488" fmla="*/ 0 h 1027875"/>
              <a:gd name="connsiteX0-489" fmla="*/ 0 w 10661901"/>
              <a:gd name="connsiteY0-490" fmla="*/ 0 h 1027875"/>
              <a:gd name="connsiteX1-491" fmla="*/ 10661901 w 10661901"/>
              <a:gd name="connsiteY1-492" fmla="*/ 5826 h 1027875"/>
              <a:gd name="connsiteX2-493" fmla="*/ 10661901 w 10661901"/>
              <a:gd name="connsiteY2-494" fmla="*/ 309317 h 1027875"/>
              <a:gd name="connsiteX3-495" fmla="*/ 10199574 w 10661901"/>
              <a:gd name="connsiteY3-496" fmla="*/ 684236 h 1027875"/>
              <a:gd name="connsiteX4-497" fmla="*/ 1140598 w 10661901"/>
              <a:gd name="connsiteY4-498" fmla="*/ 686290 h 1027875"/>
              <a:gd name="connsiteX5-499" fmla="*/ 560675 w 10661901"/>
              <a:gd name="connsiteY5-500" fmla="*/ 1027875 h 1027875"/>
              <a:gd name="connsiteX6-501" fmla="*/ 3158 w 10661901"/>
              <a:gd name="connsiteY6-502" fmla="*/ 683957 h 1027875"/>
              <a:gd name="connsiteX7-503" fmla="*/ 0 w 10661901"/>
              <a:gd name="connsiteY7-504" fmla="*/ 0 h 1027875"/>
              <a:gd name="connsiteX0-505" fmla="*/ 0 w 10710088"/>
              <a:gd name="connsiteY0-506" fmla="*/ 0 h 1027875"/>
              <a:gd name="connsiteX1-507" fmla="*/ 10661901 w 10710088"/>
              <a:gd name="connsiteY1-508" fmla="*/ 5826 h 1027875"/>
              <a:gd name="connsiteX2-509" fmla="*/ 10661901 w 10710088"/>
              <a:gd name="connsiteY2-510" fmla="*/ 309317 h 1027875"/>
              <a:gd name="connsiteX3-511" fmla="*/ 10668871 w 10710088"/>
              <a:gd name="connsiteY3-512" fmla="*/ 684236 h 1027875"/>
              <a:gd name="connsiteX4-513" fmla="*/ 1140598 w 10710088"/>
              <a:gd name="connsiteY4-514" fmla="*/ 686290 h 1027875"/>
              <a:gd name="connsiteX5-515" fmla="*/ 560675 w 10710088"/>
              <a:gd name="connsiteY5-516" fmla="*/ 1027875 h 1027875"/>
              <a:gd name="connsiteX6-517" fmla="*/ 3158 w 10710088"/>
              <a:gd name="connsiteY6-518" fmla="*/ 683957 h 1027875"/>
              <a:gd name="connsiteX7-519" fmla="*/ 0 w 10710088"/>
              <a:gd name="connsiteY7-520" fmla="*/ 0 h 1027875"/>
              <a:gd name="connsiteX0-521" fmla="*/ 0 w 10668871"/>
              <a:gd name="connsiteY0-522" fmla="*/ 0 h 1027875"/>
              <a:gd name="connsiteX1-523" fmla="*/ 10661901 w 10668871"/>
              <a:gd name="connsiteY1-524" fmla="*/ 5826 h 1027875"/>
              <a:gd name="connsiteX2-525" fmla="*/ 10668871 w 10668871"/>
              <a:gd name="connsiteY2-526" fmla="*/ 684236 h 1027875"/>
              <a:gd name="connsiteX3-527" fmla="*/ 1140598 w 10668871"/>
              <a:gd name="connsiteY3-528" fmla="*/ 686290 h 1027875"/>
              <a:gd name="connsiteX4-529" fmla="*/ 560675 w 10668871"/>
              <a:gd name="connsiteY4-530" fmla="*/ 1027875 h 1027875"/>
              <a:gd name="connsiteX5-531" fmla="*/ 3158 w 10668871"/>
              <a:gd name="connsiteY5-532" fmla="*/ 683957 h 1027875"/>
              <a:gd name="connsiteX6-533" fmla="*/ 0 w 10668871"/>
              <a:gd name="connsiteY6-534" fmla="*/ 0 h 1027875"/>
              <a:gd name="connsiteX0-535" fmla="*/ 0 w 10662015"/>
              <a:gd name="connsiteY0-536" fmla="*/ 0 h 1027875"/>
              <a:gd name="connsiteX1-537" fmla="*/ 10661901 w 10662015"/>
              <a:gd name="connsiteY1-538" fmla="*/ 5826 h 1027875"/>
              <a:gd name="connsiteX2-539" fmla="*/ 10632772 w 10662015"/>
              <a:gd name="connsiteY2-540" fmla="*/ 684236 h 1027875"/>
              <a:gd name="connsiteX3-541" fmla="*/ 1140598 w 10662015"/>
              <a:gd name="connsiteY3-542" fmla="*/ 686290 h 1027875"/>
              <a:gd name="connsiteX4-543" fmla="*/ 560675 w 10662015"/>
              <a:gd name="connsiteY4-544" fmla="*/ 1027875 h 1027875"/>
              <a:gd name="connsiteX5-545" fmla="*/ 3158 w 10662015"/>
              <a:gd name="connsiteY5-546" fmla="*/ 683957 h 1027875"/>
              <a:gd name="connsiteX6-547" fmla="*/ 0 w 10662015"/>
              <a:gd name="connsiteY6-548" fmla="*/ 0 h 1027875"/>
              <a:gd name="connsiteX0-549" fmla="*/ 0 w 10632772"/>
              <a:gd name="connsiteY0-550" fmla="*/ 0 h 1027875"/>
              <a:gd name="connsiteX1-551" fmla="*/ 10616776 w 10632772"/>
              <a:gd name="connsiteY1-552" fmla="*/ 559150 h 1027875"/>
              <a:gd name="connsiteX2-553" fmla="*/ 10632772 w 10632772"/>
              <a:gd name="connsiteY2-554" fmla="*/ 684236 h 1027875"/>
              <a:gd name="connsiteX3-555" fmla="*/ 1140598 w 10632772"/>
              <a:gd name="connsiteY3-556" fmla="*/ 686290 h 1027875"/>
              <a:gd name="connsiteX4-557" fmla="*/ 560675 w 10632772"/>
              <a:gd name="connsiteY4-558" fmla="*/ 1027875 h 1027875"/>
              <a:gd name="connsiteX5-559" fmla="*/ 3158 w 10632772"/>
              <a:gd name="connsiteY5-560" fmla="*/ 683957 h 1027875"/>
              <a:gd name="connsiteX6-561" fmla="*/ 0 w 10632772"/>
              <a:gd name="connsiteY6-562" fmla="*/ 0 h 1027875"/>
              <a:gd name="connsiteX0-563" fmla="*/ 5867 w 10629614"/>
              <a:gd name="connsiteY0-564" fmla="*/ 12316 h 468725"/>
              <a:gd name="connsiteX1-565" fmla="*/ 10613618 w 10629614"/>
              <a:gd name="connsiteY1-566" fmla="*/ 0 h 468725"/>
              <a:gd name="connsiteX2-567" fmla="*/ 10629614 w 10629614"/>
              <a:gd name="connsiteY2-568" fmla="*/ 125086 h 468725"/>
              <a:gd name="connsiteX3-569" fmla="*/ 1137440 w 10629614"/>
              <a:gd name="connsiteY3-570" fmla="*/ 127140 h 468725"/>
              <a:gd name="connsiteX4-571" fmla="*/ 557517 w 10629614"/>
              <a:gd name="connsiteY4-572" fmla="*/ 468725 h 468725"/>
              <a:gd name="connsiteX5-573" fmla="*/ 0 w 10629614"/>
              <a:gd name="connsiteY5-574" fmla="*/ 124807 h 468725"/>
              <a:gd name="connsiteX6-575" fmla="*/ 5867 w 10629614"/>
              <a:gd name="connsiteY6-576" fmla="*/ 12316 h 468725"/>
              <a:gd name="connsiteX0-577" fmla="*/ 0 w 10636382"/>
              <a:gd name="connsiteY0-578" fmla="*/ 12316 h 468725"/>
              <a:gd name="connsiteX1-579" fmla="*/ 10620386 w 10636382"/>
              <a:gd name="connsiteY1-580" fmla="*/ 0 h 468725"/>
              <a:gd name="connsiteX2-581" fmla="*/ 10636382 w 10636382"/>
              <a:gd name="connsiteY2-582" fmla="*/ 125086 h 468725"/>
              <a:gd name="connsiteX3-583" fmla="*/ 1144208 w 10636382"/>
              <a:gd name="connsiteY3-584" fmla="*/ 127140 h 468725"/>
              <a:gd name="connsiteX4-585" fmla="*/ 564285 w 10636382"/>
              <a:gd name="connsiteY4-586" fmla="*/ 468725 h 468725"/>
              <a:gd name="connsiteX5-587" fmla="*/ 6768 w 10636382"/>
              <a:gd name="connsiteY5-588" fmla="*/ 124807 h 468725"/>
              <a:gd name="connsiteX6-589" fmla="*/ 0 w 10636382"/>
              <a:gd name="connsiteY6-590" fmla="*/ 12316 h 468725"/>
              <a:gd name="connsiteX0-591" fmla="*/ 239608 w 10629614"/>
              <a:gd name="connsiteY0-592" fmla="*/ 21841 h 468725"/>
              <a:gd name="connsiteX1-593" fmla="*/ 10613618 w 10629614"/>
              <a:gd name="connsiteY1-594" fmla="*/ 0 h 468725"/>
              <a:gd name="connsiteX2-595" fmla="*/ 10629614 w 10629614"/>
              <a:gd name="connsiteY2-596" fmla="*/ 125086 h 468725"/>
              <a:gd name="connsiteX3-597" fmla="*/ 1137440 w 10629614"/>
              <a:gd name="connsiteY3-598" fmla="*/ 127140 h 468725"/>
              <a:gd name="connsiteX4-599" fmla="*/ 557517 w 10629614"/>
              <a:gd name="connsiteY4-600" fmla="*/ 468725 h 468725"/>
              <a:gd name="connsiteX5-601" fmla="*/ 0 w 10629614"/>
              <a:gd name="connsiteY5-602" fmla="*/ 124807 h 468725"/>
              <a:gd name="connsiteX6-603" fmla="*/ 239608 w 10629614"/>
              <a:gd name="connsiteY6-604" fmla="*/ 21841 h 468725"/>
              <a:gd name="connsiteX0-605" fmla="*/ 239608 w 10629614"/>
              <a:gd name="connsiteY0-606" fmla="*/ 21841 h 468725"/>
              <a:gd name="connsiteX1-607" fmla="*/ 10613618 w 10629614"/>
              <a:gd name="connsiteY1-608" fmla="*/ 0 h 468725"/>
              <a:gd name="connsiteX2-609" fmla="*/ 10629614 w 10629614"/>
              <a:gd name="connsiteY2-610" fmla="*/ 125086 h 468725"/>
              <a:gd name="connsiteX3-611" fmla="*/ 1137440 w 10629614"/>
              <a:gd name="connsiteY3-612" fmla="*/ 127140 h 468725"/>
              <a:gd name="connsiteX4-613" fmla="*/ 557517 w 10629614"/>
              <a:gd name="connsiteY4-614" fmla="*/ 468725 h 468725"/>
              <a:gd name="connsiteX5-615" fmla="*/ 0 w 10629614"/>
              <a:gd name="connsiteY5-616" fmla="*/ 124807 h 468725"/>
              <a:gd name="connsiteX6-617" fmla="*/ 239608 w 10629614"/>
              <a:gd name="connsiteY6-618" fmla="*/ 21841 h 468725"/>
              <a:gd name="connsiteX0-619" fmla="*/ 0 w 10630065"/>
              <a:gd name="connsiteY0-620" fmla="*/ 2791 h 468725"/>
              <a:gd name="connsiteX1-621" fmla="*/ 10614069 w 10630065"/>
              <a:gd name="connsiteY1-622" fmla="*/ 0 h 468725"/>
              <a:gd name="connsiteX2-623" fmla="*/ 10630065 w 10630065"/>
              <a:gd name="connsiteY2-624" fmla="*/ 125086 h 468725"/>
              <a:gd name="connsiteX3-625" fmla="*/ 1137891 w 10630065"/>
              <a:gd name="connsiteY3-626" fmla="*/ 127140 h 468725"/>
              <a:gd name="connsiteX4-627" fmla="*/ 557968 w 10630065"/>
              <a:gd name="connsiteY4-628" fmla="*/ 468725 h 468725"/>
              <a:gd name="connsiteX5-629" fmla="*/ 451 w 10630065"/>
              <a:gd name="connsiteY5-630" fmla="*/ 124807 h 468725"/>
              <a:gd name="connsiteX6-631" fmla="*/ 0 w 10630065"/>
              <a:gd name="connsiteY6-632" fmla="*/ 2791 h 468725"/>
              <a:gd name="connsiteX0-633" fmla="*/ 0 w 10630065"/>
              <a:gd name="connsiteY0-634" fmla="*/ 2791 h 468725"/>
              <a:gd name="connsiteX1-635" fmla="*/ 10614069 w 10630065"/>
              <a:gd name="connsiteY1-636" fmla="*/ 0 h 468725"/>
              <a:gd name="connsiteX2-637" fmla="*/ 10630065 w 10630065"/>
              <a:gd name="connsiteY2-638" fmla="*/ 125086 h 468725"/>
              <a:gd name="connsiteX3-639" fmla="*/ 1137891 w 10630065"/>
              <a:gd name="connsiteY3-640" fmla="*/ 127140 h 468725"/>
              <a:gd name="connsiteX4-641" fmla="*/ 557968 w 10630065"/>
              <a:gd name="connsiteY4-642" fmla="*/ 468725 h 468725"/>
              <a:gd name="connsiteX5-643" fmla="*/ 451 w 10630065"/>
              <a:gd name="connsiteY5-644" fmla="*/ 124807 h 468725"/>
              <a:gd name="connsiteX6-645" fmla="*/ 0 w 10630065"/>
              <a:gd name="connsiteY6-646" fmla="*/ 2791 h 468725"/>
              <a:gd name="connsiteX0-647" fmla="*/ 0 w 10630556"/>
              <a:gd name="connsiteY0-648" fmla="*/ 2791 h 468725"/>
              <a:gd name="connsiteX1-649" fmla="*/ 10629862 w 10630556"/>
              <a:gd name="connsiteY1-650" fmla="*/ 0 h 468725"/>
              <a:gd name="connsiteX2-651" fmla="*/ 10630065 w 10630556"/>
              <a:gd name="connsiteY2-652" fmla="*/ 125086 h 468725"/>
              <a:gd name="connsiteX3-653" fmla="*/ 1137891 w 10630556"/>
              <a:gd name="connsiteY3-654" fmla="*/ 127140 h 468725"/>
              <a:gd name="connsiteX4-655" fmla="*/ 557968 w 10630556"/>
              <a:gd name="connsiteY4-656" fmla="*/ 468725 h 468725"/>
              <a:gd name="connsiteX5-657" fmla="*/ 451 w 10630556"/>
              <a:gd name="connsiteY5-658" fmla="*/ 124807 h 468725"/>
              <a:gd name="connsiteX6-659" fmla="*/ 0 w 10630556"/>
              <a:gd name="connsiteY6-660" fmla="*/ 2791 h 468725"/>
              <a:gd name="connsiteX0-661" fmla="*/ 0 w 10630556"/>
              <a:gd name="connsiteY0-662" fmla="*/ 2791 h 468725"/>
              <a:gd name="connsiteX1-663" fmla="*/ 10629862 w 10630556"/>
              <a:gd name="connsiteY1-664" fmla="*/ 0 h 468725"/>
              <a:gd name="connsiteX2-665" fmla="*/ 10630065 w 10630556"/>
              <a:gd name="connsiteY2-666" fmla="*/ 125086 h 468725"/>
              <a:gd name="connsiteX3-667" fmla="*/ 1137891 w 10630556"/>
              <a:gd name="connsiteY3-668" fmla="*/ 127140 h 468725"/>
              <a:gd name="connsiteX4-669" fmla="*/ 557968 w 10630556"/>
              <a:gd name="connsiteY4-670" fmla="*/ 468725 h 468725"/>
              <a:gd name="connsiteX5-671" fmla="*/ 75946 w 10630556"/>
              <a:gd name="connsiteY5-672" fmla="*/ 125867 h 468725"/>
              <a:gd name="connsiteX6-673" fmla="*/ 451 w 10630556"/>
              <a:gd name="connsiteY6-674" fmla="*/ 124807 h 468725"/>
              <a:gd name="connsiteX7-675" fmla="*/ 0 w 10630556"/>
              <a:gd name="connsiteY7-676" fmla="*/ 2791 h 468725"/>
              <a:gd name="connsiteX0-677" fmla="*/ 0 w 10630556"/>
              <a:gd name="connsiteY0-678" fmla="*/ 2791 h 468725"/>
              <a:gd name="connsiteX1-679" fmla="*/ 10629862 w 10630556"/>
              <a:gd name="connsiteY1-680" fmla="*/ 0 h 468725"/>
              <a:gd name="connsiteX2-681" fmla="*/ 10630065 w 10630556"/>
              <a:gd name="connsiteY2-682" fmla="*/ 125086 h 468725"/>
              <a:gd name="connsiteX3-683" fmla="*/ 1137891 w 10630556"/>
              <a:gd name="connsiteY3-684" fmla="*/ 127140 h 468725"/>
              <a:gd name="connsiteX4-685" fmla="*/ 557968 w 10630556"/>
              <a:gd name="connsiteY4-686" fmla="*/ 468725 h 468725"/>
              <a:gd name="connsiteX5-687" fmla="*/ 75946 w 10630556"/>
              <a:gd name="connsiteY5-688" fmla="*/ 125867 h 468725"/>
              <a:gd name="connsiteX6-689" fmla="*/ 451 w 10630556"/>
              <a:gd name="connsiteY6-690" fmla="*/ 124807 h 468725"/>
              <a:gd name="connsiteX7-691" fmla="*/ 0 w 10630556"/>
              <a:gd name="connsiteY7-692" fmla="*/ 2791 h 468725"/>
              <a:gd name="connsiteX0-693" fmla="*/ 0 w 10630556"/>
              <a:gd name="connsiteY0-694" fmla="*/ 2791 h 468725"/>
              <a:gd name="connsiteX1-695" fmla="*/ 10629862 w 10630556"/>
              <a:gd name="connsiteY1-696" fmla="*/ 0 h 468725"/>
              <a:gd name="connsiteX2-697" fmla="*/ 10630065 w 10630556"/>
              <a:gd name="connsiteY2-698" fmla="*/ 125086 h 468725"/>
              <a:gd name="connsiteX3-699" fmla="*/ 1137891 w 10630556"/>
              <a:gd name="connsiteY3-700" fmla="*/ 127140 h 468725"/>
              <a:gd name="connsiteX4-701" fmla="*/ 557968 w 10630556"/>
              <a:gd name="connsiteY4-702" fmla="*/ 468725 h 468725"/>
              <a:gd name="connsiteX5-703" fmla="*/ 75946 w 10630556"/>
              <a:gd name="connsiteY5-704" fmla="*/ 125867 h 468725"/>
              <a:gd name="connsiteX6-705" fmla="*/ 451 w 10630556"/>
              <a:gd name="connsiteY6-706" fmla="*/ 124807 h 468725"/>
              <a:gd name="connsiteX7-707" fmla="*/ 0 w 10630556"/>
              <a:gd name="connsiteY7-708" fmla="*/ 2791 h 468725"/>
              <a:gd name="connsiteX0-709" fmla="*/ 782750 w 11413306"/>
              <a:gd name="connsiteY0-710" fmla="*/ 2791 h 468725"/>
              <a:gd name="connsiteX1-711" fmla="*/ 11412612 w 11413306"/>
              <a:gd name="connsiteY1-712" fmla="*/ 0 h 468725"/>
              <a:gd name="connsiteX2-713" fmla="*/ 11412815 w 11413306"/>
              <a:gd name="connsiteY2-714" fmla="*/ 125086 h 468725"/>
              <a:gd name="connsiteX3-715" fmla="*/ 1920641 w 11413306"/>
              <a:gd name="connsiteY3-716" fmla="*/ 127140 h 468725"/>
              <a:gd name="connsiteX4-717" fmla="*/ 1340718 w 11413306"/>
              <a:gd name="connsiteY4-718" fmla="*/ 468725 h 468725"/>
              <a:gd name="connsiteX5-719" fmla="*/ 858696 w 11413306"/>
              <a:gd name="connsiteY5-720" fmla="*/ 125867 h 468725"/>
              <a:gd name="connsiteX6-721" fmla="*/ 782750 w 11413306"/>
              <a:gd name="connsiteY6-722" fmla="*/ 2791 h 468725"/>
              <a:gd name="connsiteX0-723" fmla="*/ 802813 w 11357561"/>
              <a:gd name="connsiteY0-724" fmla="*/ 2791 h 468725"/>
              <a:gd name="connsiteX1-725" fmla="*/ 11356867 w 11357561"/>
              <a:gd name="connsiteY1-726" fmla="*/ 0 h 468725"/>
              <a:gd name="connsiteX2-727" fmla="*/ 11357070 w 11357561"/>
              <a:gd name="connsiteY2-728" fmla="*/ 125086 h 468725"/>
              <a:gd name="connsiteX3-729" fmla="*/ 1864896 w 11357561"/>
              <a:gd name="connsiteY3-730" fmla="*/ 127140 h 468725"/>
              <a:gd name="connsiteX4-731" fmla="*/ 1284973 w 11357561"/>
              <a:gd name="connsiteY4-732" fmla="*/ 468725 h 468725"/>
              <a:gd name="connsiteX5-733" fmla="*/ 802951 w 11357561"/>
              <a:gd name="connsiteY5-734" fmla="*/ 125867 h 468725"/>
              <a:gd name="connsiteX6-735" fmla="*/ 802813 w 11357561"/>
              <a:gd name="connsiteY6-736" fmla="*/ 2791 h 468725"/>
              <a:gd name="connsiteX0-737" fmla="*/ 341552 w 10896300"/>
              <a:gd name="connsiteY0-738" fmla="*/ 2791 h 468725"/>
              <a:gd name="connsiteX1-739" fmla="*/ 10895606 w 10896300"/>
              <a:gd name="connsiteY1-740" fmla="*/ 0 h 468725"/>
              <a:gd name="connsiteX2-741" fmla="*/ 10895809 w 10896300"/>
              <a:gd name="connsiteY2-742" fmla="*/ 125086 h 468725"/>
              <a:gd name="connsiteX3-743" fmla="*/ 1403635 w 10896300"/>
              <a:gd name="connsiteY3-744" fmla="*/ 127140 h 468725"/>
              <a:gd name="connsiteX4-745" fmla="*/ 823712 w 10896300"/>
              <a:gd name="connsiteY4-746" fmla="*/ 468725 h 468725"/>
              <a:gd name="connsiteX5-747" fmla="*/ 341690 w 10896300"/>
              <a:gd name="connsiteY5-748" fmla="*/ 125867 h 468725"/>
              <a:gd name="connsiteX6-749" fmla="*/ 341552 w 10896300"/>
              <a:gd name="connsiteY6-750" fmla="*/ 2791 h 468725"/>
              <a:gd name="connsiteX0-751" fmla="*/ 41143 w 10595891"/>
              <a:gd name="connsiteY0-752" fmla="*/ 2791 h 468725"/>
              <a:gd name="connsiteX1-753" fmla="*/ 10595197 w 10595891"/>
              <a:gd name="connsiteY1-754" fmla="*/ 0 h 468725"/>
              <a:gd name="connsiteX2-755" fmla="*/ 10595400 w 10595891"/>
              <a:gd name="connsiteY2-756" fmla="*/ 125086 h 468725"/>
              <a:gd name="connsiteX3-757" fmla="*/ 1103226 w 10595891"/>
              <a:gd name="connsiteY3-758" fmla="*/ 127140 h 468725"/>
              <a:gd name="connsiteX4-759" fmla="*/ 523303 w 10595891"/>
              <a:gd name="connsiteY4-760" fmla="*/ 468725 h 468725"/>
              <a:gd name="connsiteX5-761" fmla="*/ 41281 w 10595891"/>
              <a:gd name="connsiteY5-762" fmla="*/ 125867 h 468725"/>
              <a:gd name="connsiteX6-763" fmla="*/ 41143 w 10595891"/>
              <a:gd name="connsiteY6-764" fmla="*/ 2791 h 468725"/>
              <a:gd name="connsiteX0-765" fmla="*/ 433 w 10555181"/>
              <a:gd name="connsiteY0-766" fmla="*/ 2791 h 468725"/>
              <a:gd name="connsiteX1-767" fmla="*/ 10554487 w 10555181"/>
              <a:gd name="connsiteY1-768" fmla="*/ 0 h 468725"/>
              <a:gd name="connsiteX2-769" fmla="*/ 10554690 w 10555181"/>
              <a:gd name="connsiteY2-770" fmla="*/ 125086 h 468725"/>
              <a:gd name="connsiteX3-771" fmla="*/ 1062516 w 10555181"/>
              <a:gd name="connsiteY3-772" fmla="*/ 127140 h 468725"/>
              <a:gd name="connsiteX4-773" fmla="*/ 482593 w 10555181"/>
              <a:gd name="connsiteY4-774" fmla="*/ 468725 h 468725"/>
              <a:gd name="connsiteX5-775" fmla="*/ 571 w 10555181"/>
              <a:gd name="connsiteY5-776" fmla="*/ 125867 h 468725"/>
              <a:gd name="connsiteX6-777" fmla="*/ 433 w 10555181"/>
              <a:gd name="connsiteY6-778" fmla="*/ 2791 h 468725"/>
              <a:gd name="connsiteX0-779" fmla="*/ 433 w 10555181"/>
              <a:gd name="connsiteY0-780" fmla="*/ 2791 h 468725"/>
              <a:gd name="connsiteX1-781" fmla="*/ 10554487 w 10555181"/>
              <a:gd name="connsiteY1-782" fmla="*/ 0 h 468725"/>
              <a:gd name="connsiteX2-783" fmla="*/ 10554690 w 10555181"/>
              <a:gd name="connsiteY2-784" fmla="*/ 125086 h 468725"/>
              <a:gd name="connsiteX3-785" fmla="*/ 1062516 w 10555181"/>
              <a:gd name="connsiteY3-786" fmla="*/ 127140 h 468725"/>
              <a:gd name="connsiteX4-787" fmla="*/ 482593 w 10555181"/>
              <a:gd name="connsiteY4-788" fmla="*/ 468725 h 468725"/>
              <a:gd name="connsiteX5-789" fmla="*/ 571 w 10555181"/>
              <a:gd name="connsiteY5-790" fmla="*/ 125867 h 468725"/>
              <a:gd name="connsiteX6-791" fmla="*/ 433 w 10555181"/>
              <a:gd name="connsiteY6-792" fmla="*/ 2791 h 468725"/>
              <a:gd name="connsiteX0-793" fmla="*/ 433 w 10555181"/>
              <a:gd name="connsiteY0-794" fmla="*/ 2791 h 468725"/>
              <a:gd name="connsiteX1-795" fmla="*/ 10554487 w 10555181"/>
              <a:gd name="connsiteY1-796" fmla="*/ 0 h 468725"/>
              <a:gd name="connsiteX2-797" fmla="*/ 10554690 w 10555181"/>
              <a:gd name="connsiteY2-798" fmla="*/ 125086 h 468725"/>
              <a:gd name="connsiteX3-799" fmla="*/ 1062516 w 10555181"/>
              <a:gd name="connsiteY3-800" fmla="*/ 127140 h 468725"/>
              <a:gd name="connsiteX4-801" fmla="*/ 482593 w 10555181"/>
              <a:gd name="connsiteY4-802" fmla="*/ 468725 h 468725"/>
              <a:gd name="connsiteX5-803" fmla="*/ 571 w 10555181"/>
              <a:gd name="connsiteY5-804" fmla="*/ 125867 h 468725"/>
              <a:gd name="connsiteX6-805" fmla="*/ 433 w 10555181"/>
              <a:gd name="connsiteY6-806" fmla="*/ 2791 h 468725"/>
              <a:gd name="connsiteX0-807" fmla="*/ 433 w 10555181"/>
              <a:gd name="connsiteY0-808" fmla="*/ 2791 h 468725"/>
              <a:gd name="connsiteX1-809" fmla="*/ 10554487 w 10555181"/>
              <a:gd name="connsiteY1-810" fmla="*/ 0 h 468725"/>
              <a:gd name="connsiteX2-811" fmla="*/ 10554690 w 10555181"/>
              <a:gd name="connsiteY2-812" fmla="*/ 125086 h 468725"/>
              <a:gd name="connsiteX3-813" fmla="*/ 1062516 w 10555181"/>
              <a:gd name="connsiteY3-814" fmla="*/ 127140 h 468725"/>
              <a:gd name="connsiteX4-815" fmla="*/ 482593 w 10555181"/>
              <a:gd name="connsiteY4-816" fmla="*/ 468725 h 468725"/>
              <a:gd name="connsiteX5-817" fmla="*/ 571 w 10555181"/>
              <a:gd name="connsiteY5-818" fmla="*/ 125867 h 468725"/>
              <a:gd name="connsiteX6-819" fmla="*/ 433 w 10555181"/>
              <a:gd name="connsiteY6-820" fmla="*/ 2791 h 468725"/>
              <a:gd name="connsiteX0-821" fmla="*/ 433 w 10555181"/>
              <a:gd name="connsiteY0-822" fmla="*/ 2791 h 468725"/>
              <a:gd name="connsiteX1-823" fmla="*/ 10554487 w 10555181"/>
              <a:gd name="connsiteY1-824" fmla="*/ 0 h 468725"/>
              <a:gd name="connsiteX2-825" fmla="*/ 10554690 w 10555181"/>
              <a:gd name="connsiteY2-826" fmla="*/ 125086 h 468725"/>
              <a:gd name="connsiteX3-827" fmla="*/ 1062516 w 10555181"/>
              <a:gd name="connsiteY3-828" fmla="*/ 127140 h 468725"/>
              <a:gd name="connsiteX4-829" fmla="*/ 482593 w 10555181"/>
              <a:gd name="connsiteY4-830" fmla="*/ 468725 h 468725"/>
              <a:gd name="connsiteX5-831" fmla="*/ 571 w 10555181"/>
              <a:gd name="connsiteY5-832" fmla="*/ 125867 h 468725"/>
              <a:gd name="connsiteX6-833" fmla="*/ 433 w 10555181"/>
              <a:gd name="connsiteY6-834" fmla="*/ 2791 h 468725"/>
              <a:gd name="connsiteX0-835" fmla="*/ 433 w 10555181"/>
              <a:gd name="connsiteY0-836" fmla="*/ 2791 h 468725"/>
              <a:gd name="connsiteX1-837" fmla="*/ 10554487 w 10555181"/>
              <a:gd name="connsiteY1-838" fmla="*/ 0 h 468725"/>
              <a:gd name="connsiteX2-839" fmla="*/ 10554690 w 10555181"/>
              <a:gd name="connsiteY2-840" fmla="*/ 125086 h 468725"/>
              <a:gd name="connsiteX3-841" fmla="*/ 1062516 w 10555181"/>
              <a:gd name="connsiteY3-842" fmla="*/ 127140 h 468725"/>
              <a:gd name="connsiteX4-843" fmla="*/ 482593 w 10555181"/>
              <a:gd name="connsiteY4-844" fmla="*/ 468725 h 468725"/>
              <a:gd name="connsiteX5-845" fmla="*/ 571 w 10555181"/>
              <a:gd name="connsiteY5-846" fmla="*/ 125867 h 468725"/>
              <a:gd name="connsiteX6-847" fmla="*/ 433 w 10555181"/>
              <a:gd name="connsiteY6-848" fmla="*/ 2791 h 468725"/>
              <a:gd name="connsiteX0-849" fmla="*/ 433 w 10555181"/>
              <a:gd name="connsiteY0-850" fmla="*/ 2791 h 468725"/>
              <a:gd name="connsiteX1-851" fmla="*/ 10554487 w 10555181"/>
              <a:gd name="connsiteY1-852" fmla="*/ 0 h 468725"/>
              <a:gd name="connsiteX2-853" fmla="*/ 10554690 w 10555181"/>
              <a:gd name="connsiteY2-854" fmla="*/ 125086 h 468725"/>
              <a:gd name="connsiteX3-855" fmla="*/ 1062516 w 10555181"/>
              <a:gd name="connsiteY3-856" fmla="*/ 127140 h 468725"/>
              <a:gd name="connsiteX4-857" fmla="*/ 482593 w 10555181"/>
              <a:gd name="connsiteY4-858" fmla="*/ 468725 h 468725"/>
              <a:gd name="connsiteX5-859" fmla="*/ 571 w 10555181"/>
              <a:gd name="connsiteY5-860" fmla="*/ 125867 h 468725"/>
              <a:gd name="connsiteX6-861" fmla="*/ 433 w 10555181"/>
              <a:gd name="connsiteY6-862" fmla="*/ 2791 h 468725"/>
              <a:gd name="connsiteX0-863" fmla="*/ 433 w 10555181"/>
              <a:gd name="connsiteY0-864" fmla="*/ 2791 h 468725"/>
              <a:gd name="connsiteX1-865" fmla="*/ 10554487 w 10555181"/>
              <a:gd name="connsiteY1-866" fmla="*/ 0 h 468725"/>
              <a:gd name="connsiteX2-867" fmla="*/ 10554690 w 10555181"/>
              <a:gd name="connsiteY2-868" fmla="*/ 125086 h 468725"/>
              <a:gd name="connsiteX3-869" fmla="*/ 1062516 w 10555181"/>
              <a:gd name="connsiteY3-870" fmla="*/ 127140 h 468725"/>
              <a:gd name="connsiteX4-871" fmla="*/ 482593 w 10555181"/>
              <a:gd name="connsiteY4-872" fmla="*/ 468725 h 468725"/>
              <a:gd name="connsiteX5-873" fmla="*/ 571 w 10555181"/>
              <a:gd name="connsiteY5-874" fmla="*/ 139671 h 468725"/>
              <a:gd name="connsiteX6-875" fmla="*/ 433 w 10555181"/>
              <a:gd name="connsiteY6-876" fmla="*/ 2791 h 468725"/>
              <a:gd name="connsiteX0-877" fmla="*/ 433 w 10555181"/>
              <a:gd name="connsiteY0-878" fmla="*/ 2791 h 468725"/>
              <a:gd name="connsiteX1-879" fmla="*/ 10554487 w 10555181"/>
              <a:gd name="connsiteY1-880" fmla="*/ 0 h 468725"/>
              <a:gd name="connsiteX2-881" fmla="*/ 10554690 w 10555181"/>
              <a:gd name="connsiteY2-882" fmla="*/ 125086 h 468725"/>
              <a:gd name="connsiteX3-883" fmla="*/ 1062516 w 10555181"/>
              <a:gd name="connsiteY3-884" fmla="*/ 127140 h 468725"/>
              <a:gd name="connsiteX4-885" fmla="*/ 482593 w 10555181"/>
              <a:gd name="connsiteY4-886" fmla="*/ 468725 h 468725"/>
              <a:gd name="connsiteX5-887" fmla="*/ 571 w 10555181"/>
              <a:gd name="connsiteY5-888" fmla="*/ 139671 h 468725"/>
              <a:gd name="connsiteX6-889" fmla="*/ 433 w 10555181"/>
              <a:gd name="connsiteY6-890" fmla="*/ 2791 h 468725"/>
              <a:gd name="connsiteX0-891" fmla="*/ 433 w 10555181"/>
              <a:gd name="connsiteY0-892" fmla="*/ 2791 h 468725"/>
              <a:gd name="connsiteX1-893" fmla="*/ 10554487 w 10555181"/>
              <a:gd name="connsiteY1-894" fmla="*/ 0 h 468725"/>
              <a:gd name="connsiteX2-895" fmla="*/ 10554690 w 10555181"/>
              <a:gd name="connsiteY2-896" fmla="*/ 125086 h 468725"/>
              <a:gd name="connsiteX3-897" fmla="*/ 1062516 w 10555181"/>
              <a:gd name="connsiteY3-898" fmla="*/ 127140 h 468725"/>
              <a:gd name="connsiteX4-899" fmla="*/ 482593 w 10555181"/>
              <a:gd name="connsiteY4-900" fmla="*/ 468725 h 468725"/>
              <a:gd name="connsiteX5-901" fmla="*/ 571 w 10555181"/>
              <a:gd name="connsiteY5-902" fmla="*/ 139671 h 468725"/>
              <a:gd name="connsiteX6-903" fmla="*/ 433 w 10555181"/>
              <a:gd name="connsiteY6-904" fmla="*/ 2791 h 468725"/>
              <a:gd name="connsiteX0-905" fmla="*/ 433 w 10555181"/>
              <a:gd name="connsiteY0-906" fmla="*/ 44066 h 468725"/>
              <a:gd name="connsiteX1-907" fmla="*/ 10554487 w 10555181"/>
              <a:gd name="connsiteY1-908" fmla="*/ 0 h 468725"/>
              <a:gd name="connsiteX2-909" fmla="*/ 10554690 w 10555181"/>
              <a:gd name="connsiteY2-910" fmla="*/ 125086 h 468725"/>
              <a:gd name="connsiteX3-911" fmla="*/ 1062516 w 10555181"/>
              <a:gd name="connsiteY3-912" fmla="*/ 127140 h 468725"/>
              <a:gd name="connsiteX4-913" fmla="*/ 482593 w 10555181"/>
              <a:gd name="connsiteY4-914" fmla="*/ 468725 h 468725"/>
              <a:gd name="connsiteX5-915" fmla="*/ 571 w 10555181"/>
              <a:gd name="connsiteY5-916" fmla="*/ 139671 h 468725"/>
              <a:gd name="connsiteX6-917" fmla="*/ 433 w 10555181"/>
              <a:gd name="connsiteY6-918" fmla="*/ 44066 h 468725"/>
              <a:gd name="connsiteX0-919" fmla="*/ 433 w 10554690"/>
              <a:gd name="connsiteY0-920" fmla="*/ 5966 h 430625"/>
              <a:gd name="connsiteX1-921" fmla="*/ 10551351 w 10554690"/>
              <a:gd name="connsiteY1-922" fmla="*/ 0 h 430625"/>
              <a:gd name="connsiteX2-923" fmla="*/ 10554690 w 10554690"/>
              <a:gd name="connsiteY2-924" fmla="*/ 86986 h 430625"/>
              <a:gd name="connsiteX3-925" fmla="*/ 1062516 w 10554690"/>
              <a:gd name="connsiteY3-926" fmla="*/ 89040 h 430625"/>
              <a:gd name="connsiteX4-927" fmla="*/ 482593 w 10554690"/>
              <a:gd name="connsiteY4-928" fmla="*/ 430625 h 430625"/>
              <a:gd name="connsiteX5-929" fmla="*/ 571 w 10554690"/>
              <a:gd name="connsiteY5-930" fmla="*/ 101571 h 430625"/>
              <a:gd name="connsiteX6-931" fmla="*/ 433 w 10554690"/>
              <a:gd name="connsiteY6-932" fmla="*/ 5966 h 430625"/>
              <a:gd name="connsiteX0-933" fmla="*/ 433 w 10554690"/>
              <a:gd name="connsiteY0-934" fmla="*/ 5966 h 427450"/>
              <a:gd name="connsiteX1-935" fmla="*/ 10551351 w 10554690"/>
              <a:gd name="connsiteY1-936" fmla="*/ 0 h 427450"/>
              <a:gd name="connsiteX2-937" fmla="*/ 10554690 w 10554690"/>
              <a:gd name="connsiteY2-938" fmla="*/ 86986 h 427450"/>
              <a:gd name="connsiteX3-939" fmla="*/ 1062516 w 10554690"/>
              <a:gd name="connsiteY3-940" fmla="*/ 89040 h 427450"/>
              <a:gd name="connsiteX4-941" fmla="*/ 482593 w 10554690"/>
              <a:gd name="connsiteY4-942" fmla="*/ 427450 h 427450"/>
              <a:gd name="connsiteX5-943" fmla="*/ 571 w 10554690"/>
              <a:gd name="connsiteY5-944" fmla="*/ 101571 h 427450"/>
              <a:gd name="connsiteX6-945" fmla="*/ 433 w 10554690"/>
              <a:gd name="connsiteY6-946" fmla="*/ 5966 h 427450"/>
              <a:gd name="connsiteX0-947" fmla="*/ 433 w 10554690"/>
              <a:gd name="connsiteY0-948" fmla="*/ 5966 h 427450"/>
              <a:gd name="connsiteX1-949" fmla="*/ 10551351 w 10554690"/>
              <a:gd name="connsiteY1-950" fmla="*/ 0 h 427450"/>
              <a:gd name="connsiteX2-951" fmla="*/ 10554690 w 10554690"/>
              <a:gd name="connsiteY2-952" fmla="*/ 86986 h 427450"/>
              <a:gd name="connsiteX3-953" fmla="*/ 10274940 w 10554690"/>
              <a:gd name="connsiteY3-954" fmla="*/ 87717 h 427450"/>
              <a:gd name="connsiteX4-955" fmla="*/ 1062516 w 10554690"/>
              <a:gd name="connsiteY4-956" fmla="*/ 89040 h 427450"/>
              <a:gd name="connsiteX5-957" fmla="*/ 482593 w 10554690"/>
              <a:gd name="connsiteY5-958" fmla="*/ 427450 h 427450"/>
              <a:gd name="connsiteX6-959" fmla="*/ 571 w 10554690"/>
              <a:gd name="connsiteY6-960" fmla="*/ 101571 h 427450"/>
              <a:gd name="connsiteX7-961" fmla="*/ 433 w 10554690"/>
              <a:gd name="connsiteY7-962" fmla="*/ 5966 h 427450"/>
              <a:gd name="connsiteX0-963" fmla="*/ 433 w 10554691"/>
              <a:gd name="connsiteY0-964" fmla="*/ 75754 h 497238"/>
              <a:gd name="connsiteX1-965" fmla="*/ 10551351 w 10554691"/>
              <a:gd name="connsiteY1-966" fmla="*/ 69788 h 497238"/>
              <a:gd name="connsiteX2-967" fmla="*/ 10554691 w 10554691"/>
              <a:gd name="connsiteY2-968" fmla="*/ 64699 h 497238"/>
              <a:gd name="connsiteX3-969" fmla="*/ 10274940 w 10554691"/>
              <a:gd name="connsiteY3-970" fmla="*/ 157505 h 497238"/>
              <a:gd name="connsiteX4-971" fmla="*/ 1062516 w 10554691"/>
              <a:gd name="connsiteY4-972" fmla="*/ 158828 h 497238"/>
              <a:gd name="connsiteX5-973" fmla="*/ 482593 w 10554691"/>
              <a:gd name="connsiteY5-974" fmla="*/ 497238 h 497238"/>
              <a:gd name="connsiteX6-975" fmla="*/ 571 w 10554691"/>
              <a:gd name="connsiteY6-976" fmla="*/ 171359 h 497238"/>
              <a:gd name="connsiteX7-977" fmla="*/ 433 w 10554691"/>
              <a:gd name="connsiteY7-978" fmla="*/ 75754 h 497238"/>
              <a:gd name="connsiteX0-979" fmla="*/ 433 w 10554691"/>
              <a:gd name="connsiteY0-980" fmla="*/ 75754 h 497238"/>
              <a:gd name="connsiteX1-981" fmla="*/ 10551351 w 10554691"/>
              <a:gd name="connsiteY1-982" fmla="*/ 69788 h 497238"/>
              <a:gd name="connsiteX2-983" fmla="*/ 10554691 w 10554691"/>
              <a:gd name="connsiteY2-984" fmla="*/ 64699 h 497238"/>
              <a:gd name="connsiteX3-985" fmla="*/ 10274940 w 10554691"/>
              <a:gd name="connsiteY3-986" fmla="*/ 157505 h 497238"/>
              <a:gd name="connsiteX4-987" fmla="*/ 1062516 w 10554691"/>
              <a:gd name="connsiteY4-988" fmla="*/ 158828 h 497238"/>
              <a:gd name="connsiteX5-989" fmla="*/ 482593 w 10554691"/>
              <a:gd name="connsiteY5-990" fmla="*/ 497238 h 497238"/>
              <a:gd name="connsiteX6-991" fmla="*/ 571 w 10554691"/>
              <a:gd name="connsiteY6-992" fmla="*/ 171359 h 497238"/>
              <a:gd name="connsiteX7-993" fmla="*/ 433 w 10554691"/>
              <a:gd name="connsiteY7-994" fmla="*/ 75754 h 497238"/>
              <a:gd name="connsiteX0-995" fmla="*/ 433 w 10554691"/>
              <a:gd name="connsiteY0-996" fmla="*/ 75754 h 497238"/>
              <a:gd name="connsiteX1-997" fmla="*/ 10551351 w 10554691"/>
              <a:gd name="connsiteY1-998" fmla="*/ 69788 h 497238"/>
              <a:gd name="connsiteX2-999" fmla="*/ 10554691 w 10554691"/>
              <a:gd name="connsiteY2-1000" fmla="*/ 64699 h 497238"/>
              <a:gd name="connsiteX3-1001" fmla="*/ 10274940 w 10554691"/>
              <a:gd name="connsiteY3-1002" fmla="*/ 157505 h 497238"/>
              <a:gd name="connsiteX4-1003" fmla="*/ 1062516 w 10554691"/>
              <a:gd name="connsiteY4-1004" fmla="*/ 158828 h 497238"/>
              <a:gd name="connsiteX5-1005" fmla="*/ 482593 w 10554691"/>
              <a:gd name="connsiteY5-1006" fmla="*/ 497238 h 497238"/>
              <a:gd name="connsiteX6-1007" fmla="*/ 571 w 10554691"/>
              <a:gd name="connsiteY6-1008" fmla="*/ 171359 h 497238"/>
              <a:gd name="connsiteX7-1009" fmla="*/ 433 w 10554691"/>
              <a:gd name="connsiteY7-1010" fmla="*/ 75754 h 497238"/>
              <a:gd name="connsiteX0-1011" fmla="*/ 433 w 10554691"/>
              <a:gd name="connsiteY0-1012" fmla="*/ 60438 h 481922"/>
              <a:gd name="connsiteX1-1013" fmla="*/ 10551351 w 10554691"/>
              <a:gd name="connsiteY1-1014" fmla="*/ 54472 h 481922"/>
              <a:gd name="connsiteX2-1015" fmla="*/ 10554691 w 10554691"/>
              <a:gd name="connsiteY2-1016" fmla="*/ 49383 h 481922"/>
              <a:gd name="connsiteX3-1017" fmla="*/ 10274940 w 10554691"/>
              <a:gd name="connsiteY3-1018" fmla="*/ 142189 h 481922"/>
              <a:gd name="connsiteX4-1019" fmla="*/ 1062516 w 10554691"/>
              <a:gd name="connsiteY4-1020" fmla="*/ 143512 h 481922"/>
              <a:gd name="connsiteX5-1021" fmla="*/ 482593 w 10554691"/>
              <a:gd name="connsiteY5-1022" fmla="*/ 481922 h 481922"/>
              <a:gd name="connsiteX6-1023" fmla="*/ 571 w 10554691"/>
              <a:gd name="connsiteY6-1024" fmla="*/ 156043 h 481922"/>
              <a:gd name="connsiteX7-1025" fmla="*/ 433 w 10554691"/>
              <a:gd name="connsiteY7-1026" fmla="*/ 60438 h 481922"/>
              <a:gd name="connsiteX0-1027" fmla="*/ 433 w 11661532"/>
              <a:gd name="connsiteY0-1028" fmla="*/ 5966 h 427450"/>
              <a:gd name="connsiteX1-1029" fmla="*/ 10551351 w 11661532"/>
              <a:gd name="connsiteY1-1030" fmla="*/ 0 h 427450"/>
              <a:gd name="connsiteX2-1031" fmla="*/ 10274940 w 11661532"/>
              <a:gd name="connsiteY2-1032" fmla="*/ 87717 h 427450"/>
              <a:gd name="connsiteX3-1033" fmla="*/ 1062516 w 11661532"/>
              <a:gd name="connsiteY3-1034" fmla="*/ 89040 h 427450"/>
              <a:gd name="connsiteX4-1035" fmla="*/ 482593 w 11661532"/>
              <a:gd name="connsiteY4-1036" fmla="*/ 427450 h 427450"/>
              <a:gd name="connsiteX5-1037" fmla="*/ 571 w 11661532"/>
              <a:gd name="connsiteY5-1038" fmla="*/ 101571 h 427450"/>
              <a:gd name="connsiteX6-1039" fmla="*/ 433 w 11661532"/>
              <a:gd name="connsiteY6-1040" fmla="*/ 5966 h 427450"/>
              <a:gd name="connsiteX0-1041" fmla="*/ 433 w 11071037"/>
              <a:gd name="connsiteY0-1042" fmla="*/ 6015 h 427499"/>
              <a:gd name="connsiteX1-1043" fmla="*/ 10551351 w 11071037"/>
              <a:gd name="connsiteY1-1044" fmla="*/ 49 h 427499"/>
              <a:gd name="connsiteX2-1045" fmla="*/ 10274940 w 11071037"/>
              <a:gd name="connsiteY2-1046" fmla="*/ 87766 h 427499"/>
              <a:gd name="connsiteX3-1047" fmla="*/ 1062516 w 11071037"/>
              <a:gd name="connsiteY3-1048" fmla="*/ 89089 h 427499"/>
              <a:gd name="connsiteX4-1049" fmla="*/ 482593 w 11071037"/>
              <a:gd name="connsiteY4-1050" fmla="*/ 427499 h 427499"/>
              <a:gd name="connsiteX5-1051" fmla="*/ 571 w 11071037"/>
              <a:gd name="connsiteY5-1052" fmla="*/ 101620 h 427499"/>
              <a:gd name="connsiteX6-1053" fmla="*/ 433 w 11071037"/>
              <a:gd name="connsiteY6-1054" fmla="*/ 6015 h 427499"/>
              <a:gd name="connsiteX0-1055" fmla="*/ 433 w 11057538"/>
              <a:gd name="connsiteY0-1056" fmla="*/ 5966 h 427450"/>
              <a:gd name="connsiteX1-1057" fmla="*/ 10551351 w 11057538"/>
              <a:gd name="connsiteY1-1058" fmla="*/ 0 h 427450"/>
              <a:gd name="connsiteX2-1059" fmla="*/ 10274940 w 11057538"/>
              <a:gd name="connsiteY2-1060" fmla="*/ 87717 h 427450"/>
              <a:gd name="connsiteX3-1061" fmla="*/ 1062516 w 11057538"/>
              <a:gd name="connsiteY3-1062" fmla="*/ 89040 h 427450"/>
              <a:gd name="connsiteX4-1063" fmla="*/ 482593 w 11057538"/>
              <a:gd name="connsiteY4-1064" fmla="*/ 427450 h 427450"/>
              <a:gd name="connsiteX5-1065" fmla="*/ 571 w 11057538"/>
              <a:gd name="connsiteY5-1066" fmla="*/ 101571 h 427450"/>
              <a:gd name="connsiteX6-1067" fmla="*/ 433 w 11057538"/>
              <a:gd name="connsiteY6-1068" fmla="*/ 5966 h 427450"/>
              <a:gd name="connsiteX0-1069" fmla="*/ 433 w 10551351"/>
              <a:gd name="connsiteY0-1070" fmla="*/ 5966 h 427450"/>
              <a:gd name="connsiteX1-1071" fmla="*/ 10551351 w 10551351"/>
              <a:gd name="connsiteY1-1072" fmla="*/ 0 h 427450"/>
              <a:gd name="connsiteX2-1073" fmla="*/ 10274940 w 10551351"/>
              <a:gd name="connsiteY2-1074" fmla="*/ 87717 h 427450"/>
              <a:gd name="connsiteX3-1075" fmla="*/ 1062516 w 10551351"/>
              <a:gd name="connsiteY3-1076" fmla="*/ 89040 h 427450"/>
              <a:gd name="connsiteX4-1077" fmla="*/ 482593 w 10551351"/>
              <a:gd name="connsiteY4-1078" fmla="*/ 427450 h 427450"/>
              <a:gd name="connsiteX5-1079" fmla="*/ 571 w 10551351"/>
              <a:gd name="connsiteY5-1080" fmla="*/ 101571 h 427450"/>
              <a:gd name="connsiteX6-1081" fmla="*/ 433 w 10551351"/>
              <a:gd name="connsiteY6-1082" fmla="*/ 5966 h 427450"/>
              <a:gd name="connsiteX0-1083" fmla="*/ 433 w 10551351"/>
              <a:gd name="connsiteY0-1084" fmla="*/ 5966 h 341725"/>
              <a:gd name="connsiteX1-1085" fmla="*/ 10551351 w 10551351"/>
              <a:gd name="connsiteY1-1086" fmla="*/ 0 h 341725"/>
              <a:gd name="connsiteX2-1087" fmla="*/ 10274940 w 10551351"/>
              <a:gd name="connsiteY2-1088" fmla="*/ 87717 h 341725"/>
              <a:gd name="connsiteX3-1089" fmla="*/ 1062516 w 10551351"/>
              <a:gd name="connsiteY3-1090" fmla="*/ 89040 h 341725"/>
              <a:gd name="connsiteX4-1091" fmla="*/ 482593 w 10551351"/>
              <a:gd name="connsiteY4-1092" fmla="*/ 341725 h 341725"/>
              <a:gd name="connsiteX5-1093" fmla="*/ 571 w 10551351"/>
              <a:gd name="connsiteY5-1094" fmla="*/ 101571 h 341725"/>
              <a:gd name="connsiteX6-1095" fmla="*/ 433 w 10551351"/>
              <a:gd name="connsiteY6-1096" fmla="*/ 5966 h 341725"/>
              <a:gd name="connsiteX0-1097" fmla="*/ 433 w 10551351"/>
              <a:gd name="connsiteY0-1098" fmla="*/ 5966 h 341725"/>
              <a:gd name="connsiteX1-1099" fmla="*/ 10551351 w 10551351"/>
              <a:gd name="connsiteY1-1100" fmla="*/ 0 h 341725"/>
              <a:gd name="connsiteX2-1101" fmla="*/ 10274940 w 10551351"/>
              <a:gd name="connsiteY2-1102" fmla="*/ 87717 h 341725"/>
              <a:gd name="connsiteX3-1103" fmla="*/ 1062516 w 10551351"/>
              <a:gd name="connsiteY3-1104" fmla="*/ 89040 h 341725"/>
              <a:gd name="connsiteX4-1105" fmla="*/ 482593 w 10551351"/>
              <a:gd name="connsiteY4-1106" fmla="*/ 341725 h 341725"/>
              <a:gd name="connsiteX5-1107" fmla="*/ 571 w 10551351"/>
              <a:gd name="connsiteY5-1108" fmla="*/ 101571 h 341725"/>
              <a:gd name="connsiteX6-1109" fmla="*/ 433 w 10551351"/>
              <a:gd name="connsiteY6-1110" fmla="*/ 5966 h 341725"/>
              <a:gd name="connsiteX0-1111" fmla="*/ 433 w 10551351"/>
              <a:gd name="connsiteY0-1112" fmla="*/ 5966 h 341725"/>
              <a:gd name="connsiteX1-1113" fmla="*/ 10551351 w 10551351"/>
              <a:gd name="connsiteY1-1114" fmla="*/ 0 h 341725"/>
              <a:gd name="connsiteX2-1115" fmla="*/ 10274940 w 10551351"/>
              <a:gd name="connsiteY2-1116" fmla="*/ 87717 h 341725"/>
              <a:gd name="connsiteX3-1117" fmla="*/ 1062516 w 10551351"/>
              <a:gd name="connsiteY3-1118" fmla="*/ 89040 h 341725"/>
              <a:gd name="connsiteX4-1119" fmla="*/ 482593 w 10551351"/>
              <a:gd name="connsiteY4-1120" fmla="*/ 341725 h 341725"/>
              <a:gd name="connsiteX5-1121" fmla="*/ 571 w 10551351"/>
              <a:gd name="connsiteY5-1122" fmla="*/ 101571 h 341725"/>
              <a:gd name="connsiteX6-1123" fmla="*/ 433 w 10551351"/>
              <a:gd name="connsiteY6-1124" fmla="*/ 5966 h 341725"/>
              <a:gd name="connsiteX0-1125" fmla="*/ 433 w 10551351"/>
              <a:gd name="connsiteY0-1126" fmla="*/ 5966 h 341725"/>
              <a:gd name="connsiteX1-1127" fmla="*/ 10551351 w 10551351"/>
              <a:gd name="connsiteY1-1128" fmla="*/ 0 h 341725"/>
              <a:gd name="connsiteX2-1129" fmla="*/ 10274940 w 10551351"/>
              <a:gd name="connsiteY2-1130" fmla="*/ 87717 h 341725"/>
              <a:gd name="connsiteX3-1131" fmla="*/ 1062516 w 10551351"/>
              <a:gd name="connsiteY3-1132" fmla="*/ 89040 h 341725"/>
              <a:gd name="connsiteX4-1133" fmla="*/ 482593 w 10551351"/>
              <a:gd name="connsiteY4-1134" fmla="*/ 341725 h 341725"/>
              <a:gd name="connsiteX5-1135" fmla="*/ 571 w 10551351"/>
              <a:gd name="connsiteY5-1136" fmla="*/ 101571 h 341725"/>
              <a:gd name="connsiteX6-1137" fmla="*/ 433 w 10551351"/>
              <a:gd name="connsiteY6-1138" fmla="*/ 5966 h 341725"/>
              <a:gd name="connsiteX0-1139" fmla="*/ 0 w 11177990"/>
              <a:gd name="connsiteY0-1140" fmla="*/ 2791 h 341725"/>
              <a:gd name="connsiteX1-1141" fmla="*/ 11177990 w 11177990"/>
              <a:gd name="connsiteY1-1142" fmla="*/ 0 h 341725"/>
              <a:gd name="connsiteX2-1143" fmla="*/ 10901579 w 11177990"/>
              <a:gd name="connsiteY2-1144" fmla="*/ 87717 h 341725"/>
              <a:gd name="connsiteX3-1145" fmla="*/ 1689155 w 11177990"/>
              <a:gd name="connsiteY3-1146" fmla="*/ 89040 h 341725"/>
              <a:gd name="connsiteX4-1147" fmla="*/ 1109232 w 11177990"/>
              <a:gd name="connsiteY4-1148" fmla="*/ 341725 h 341725"/>
              <a:gd name="connsiteX5-1149" fmla="*/ 627210 w 11177990"/>
              <a:gd name="connsiteY5-1150" fmla="*/ 101571 h 341725"/>
              <a:gd name="connsiteX6-1151" fmla="*/ 0 w 11177990"/>
              <a:gd name="connsiteY6-1152" fmla="*/ 2791 h 341725"/>
              <a:gd name="connsiteX0-1153" fmla="*/ 780014 w 11958004"/>
              <a:gd name="connsiteY0-1154" fmla="*/ 2791 h 341725"/>
              <a:gd name="connsiteX1-1155" fmla="*/ 11958004 w 11958004"/>
              <a:gd name="connsiteY1-1156" fmla="*/ 0 h 341725"/>
              <a:gd name="connsiteX2-1157" fmla="*/ 11681593 w 11958004"/>
              <a:gd name="connsiteY2-1158" fmla="*/ 87717 h 341725"/>
              <a:gd name="connsiteX3-1159" fmla="*/ 2469169 w 11958004"/>
              <a:gd name="connsiteY3-1160" fmla="*/ 89040 h 341725"/>
              <a:gd name="connsiteX4-1161" fmla="*/ 1889246 w 11958004"/>
              <a:gd name="connsiteY4-1162" fmla="*/ 341725 h 341725"/>
              <a:gd name="connsiteX5-1163" fmla="*/ 1407224 w 11958004"/>
              <a:gd name="connsiteY5-1164" fmla="*/ 101571 h 341725"/>
              <a:gd name="connsiteX6-1165" fmla="*/ 998158 w 11958004"/>
              <a:gd name="connsiteY6-1166" fmla="*/ 40093 h 341725"/>
              <a:gd name="connsiteX7-1167" fmla="*/ 780014 w 11958004"/>
              <a:gd name="connsiteY7-1168" fmla="*/ 2791 h 341725"/>
              <a:gd name="connsiteX0-1169" fmla="*/ 758495 w 11936485"/>
              <a:gd name="connsiteY0-1170" fmla="*/ 2791 h 341725"/>
              <a:gd name="connsiteX1-1171" fmla="*/ 11936485 w 11936485"/>
              <a:gd name="connsiteY1-1172" fmla="*/ 0 h 341725"/>
              <a:gd name="connsiteX2-1173" fmla="*/ 11660074 w 11936485"/>
              <a:gd name="connsiteY2-1174" fmla="*/ 87717 h 341725"/>
              <a:gd name="connsiteX3-1175" fmla="*/ 2447650 w 11936485"/>
              <a:gd name="connsiteY3-1176" fmla="*/ 89040 h 341725"/>
              <a:gd name="connsiteX4-1177" fmla="*/ 1867727 w 11936485"/>
              <a:gd name="connsiteY4-1178" fmla="*/ 341725 h 341725"/>
              <a:gd name="connsiteX5-1179" fmla="*/ 1385705 w 11936485"/>
              <a:gd name="connsiteY5-1180" fmla="*/ 101571 h 341725"/>
              <a:gd name="connsiteX6-1181" fmla="*/ 976639 w 11936485"/>
              <a:gd name="connsiteY6-1182" fmla="*/ 40093 h 341725"/>
              <a:gd name="connsiteX7-1183" fmla="*/ 758495 w 11936485"/>
              <a:gd name="connsiteY7-1184" fmla="*/ 2791 h 341725"/>
              <a:gd name="connsiteX0-1185" fmla="*/ 0 w 11177990"/>
              <a:gd name="connsiteY0-1186" fmla="*/ 2791 h 341725"/>
              <a:gd name="connsiteX1-1187" fmla="*/ 11177990 w 11177990"/>
              <a:gd name="connsiteY1-1188" fmla="*/ 0 h 341725"/>
              <a:gd name="connsiteX2-1189" fmla="*/ 10901579 w 11177990"/>
              <a:gd name="connsiteY2-1190" fmla="*/ 87717 h 341725"/>
              <a:gd name="connsiteX3-1191" fmla="*/ 1689155 w 11177990"/>
              <a:gd name="connsiteY3-1192" fmla="*/ 89040 h 341725"/>
              <a:gd name="connsiteX4-1193" fmla="*/ 1109232 w 11177990"/>
              <a:gd name="connsiteY4-1194" fmla="*/ 341725 h 341725"/>
              <a:gd name="connsiteX5-1195" fmla="*/ 627210 w 11177990"/>
              <a:gd name="connsiteY5-1196" fmla="*/ 101571 h 341725"/>
              <a:gd name="connsiteX6-1197" fmla="*/ 218144 w 11177990"/>
              <a:gd name="connsiteY6-1198" fmla="*/ 40093 h 341725"/>
              <a:gd name="connsiteX7-1199" fmla="*/ 0 w 11177990"/>
              <a:gd name="connsiteY7-1200" fmla="*/ 2791 h 341725"/>
              <a:gd name="connsiteX0-1201" fmla="*/ 1331 w 11179321"/>
              <a:gd name="connsiteY0-1202" fmla="*/ 2791 h 341725"/>
              <a:gd name="connsiteX1-1203" fmla="*/ 11179321 w 11179321"/>
              <a:gd name="connsiteY1-1204" fmla="*/ 0 h 341725"/>
              <a:gd name="connsiteX2-1205" fmla="*/ 10902910 w 11179321"/>
              <a:gd name="connsiteY2-1206" fmla="*/ 87717 h 341725"/>
              <a:gd name="connsiteX3-1207" fmla="*/ 1690486 w 11179321"/>
              <a:gd name="connsiteY3-1208" fmla="*/ 89040 h 341725"/>
              <a:gd name="connsiteX4-1209" fmla="*/ 1110563 w 11179321"/>
              <a:gd name="connsiteY4-1210" fmla="*/ 341725 h 341725"/>
              <a:gd name="connsiteX5-1211" fmla="*/ 628541 w 11179321"/>
              <a:gd name="connsiteY5-1212" fmla="*/ 101571 h 341725"/>
              <a:gd name="connsiteX6-1213" fmla="*/ 0 w 11179321"/>
              <a:gd name="connsiteY6-1214" fmla="*/ 94068 h 341725"/>
              <a:gd name="connsiteX7-1215" fmla="*/ 1331 w 11179321"/>
              <a:gd name="connsiteY7-1216" fmla="*/ 2791 h 341725"/>
              <a:gd name="connsiteX0-1217" fmla="*/ 1331 w 11179321"/>
              <a:gd name="connsiteY0-1218" fmla="*/ 2791 h 341725"/>
              <a:gd name="connsiteX1-1219" fmla="*/ 11179321 w 11179321"/>
              <a:gd name="connsiteY1-1220" fmla="*/ 0 h 341725"/>
              <a:gd name="connsiteX2-1221" fmla="*/ 10902910 w 11179321"/>
              <a:gd name="connsiteY2-1222" fmla="*/ 87717 h 341725"/>
              <a:gd name="connsiteX3-1223" fmla="*/ 1690486 w 11179321"/>
              <a:gd name="connsiteY3-1224" fmla="*/ 89040 h 341725"/>
              <a:gd name="connsiteX4-1225" fmla="*/ 1110563 w 11179321"/>
              <a:gd name="connsiteY4-1226" fmla="*/ 341725 h 341725"/>
              <a:gd name="connsiteX5-1227" fmla="*/ 628541 w 11179321"/>
              <a:gd name="connsiteY5-1228" fmla="*/ 101571 h 341725"/>
              <a:gd name="connsiteX6-1229" fmla="*/ 0 w 11179321"/>
              <a:gd name="connsiteY6-1230" fmla="*/ 94068 h 341725"/>
              <a:gd name="connsiteX7-1231" fmla="*/ 1331 w 11179321"/>
              <a:gd name="connsiteY7-1232" fmla="*/ 2791 h 341725"/>
              <a:gd name="connsiteX0-1233" fmla="*/ 1331 w 11179321"/>
              <a:gd name="connsiteY0-1234" fmla="*/ 2791 h 341725"/>
              <a:gd name="connsiteX1-1235" fmla="*/ 11179321 w 11179321"/>
              <a:gd name="connsiteY1-1236" fmla="*/ 0 h 341725"/>
              <a:gd name="connsiteX2-1237" fmla="*/ 10902910 w 11179321"/>
              <a:gd name="connsiteY2-1238" fmla="*/ 87717 h 341725"/>
              <a:gd name="connsiteX3-1239" fmla="*/ 1690486 w 11179321"/>
              <a:gd name="connsiteY3-1240" fmla="*/ 89040 h 341725"/>
              <a:gd name="connsiteX4-1241" fmla="*/ 1110563 w 11179321"/>
              <a:gd name="connsiteY4-1242" fmla="*/ 341725 h 341725"/>
              <a:gd name="connsiteX5-1243" fmla="*/ 628541 w 11179321"/>
              <a:gd name="connsiteY5-1244" fmla="*/ 101571 h 341725"/>
              <a:gd name="connsiteX6-1245" fmla="*/ 0 w 11179321"/>
              <a:gd name="connsiteY6-1246" fmla="*/ 94068 h 341725"/>
              <a:gd name="connsiteX7-1247" fmla="*/ 1331 w 11179321"/>
              <a:gd name="connsiteY7-1248" fmla="*/ 2791 h 341725"/>
              <a:gd name="connsiteX0-1249" fmla="*/ 1331 w 11179321"/>
              <a:gd name="connsiteY0-1250" fmla="*/ 2791 h 341725"/>
              <a:gd name="connsiteX1-1251" fmla="*/ 11179321 w 11179321"/>
              <a:gd name="connsiteY1-1252" fmla="*/ 0 h 341725"/>
              <a:gd name="connsiteX2-1253" fmla="*/ 10902910 w 11179321"/>
              <a:gd name="connsiteY2-1254" fmla="*/ 87717 h 341725"/>
              <a:gd name="connsiteX3-1255" fmla="*/ 1690486 w 11179321"/>
              <a:gd name="connsiteY3-1256" fmla="*/ 89040 h 341725"/>
              <a:gd name="connsiteX4-1257" fmla="*/ 1110563 w 11179321"/>
              <a:gd name="connsiteY4-1258" fmla="*/ 341725 h 341725"/>
              <a:gd name="connsiteX5-1259" fmla="*/ 628541 w 11179321"/>
              <a:gd name="connsiteY5-1260" fmla="*/ 101571 h 341725"/>
              <a:gd name="connsiteX6-1261" fmla="*/ 0 w 11179321"/>
              <a:gd name="connsiteY6-1262" fmla="*/ 103593 h 341725"/>
              <a:gd name="connsiteX7-1263" fmla="*/ 1331 w 11179321"/>
              <a:gd name="connsiteY7-1264" fmla="*/ 2791 h 341725"/>
              <a:gd name="connsiteX0-1265" fmla="*/ 1331 w 11179321"/>
              <a:gd name="connsiteY0-1266" fmla="*/ 2791 h 341725"/>
              <a:gd name="connsiteX1-1267" fmla="*/ 11179321 w 11179321"/>
              <a:gd name="connsiteY1-1268" fmla="*/ 0 h 341725"/>
              <a:gd name="connsiteX2-1269" fmla="*/ 10567427 w 11179321"/>
              <a:gd name="connsiteY2-1270" fmla="*/ 90892 h 341725"/>
              <a:gd name="connsiteX3-1271" fmla="*/ 1690486 w 11179321"/>
              <a:gd name="connsiteY3-1272" fmla="*/ 89040 h 341725"/>
              <a:gd name="connsiteX4-1273" fmla="*/ 1110563 w 11179321"/>
              <a:gd name="connsiteY4-1274" fmla="*/ 341725 h 341725"/>
              <a:gd name="connsiteX5-1275" fmla="*/ 628541 w 11179321"/>
              <a:gd name="connsiteY5-1276" fmla="*/ 101571 h 341725"/>
              <a:gd name="connsiteX6-1277" fmla="*/ 0 w 11179321"/>
              <a:gd name="connsiteY6-1278" fmla="*/ 103593 h 341725"/>
              <a:gd name="connsiteX7-1279" fmla="*/ 1331 w 11179321"/>
              <a:gd name="connsiteY7-1280" fmla="*/ 2791 h 341725"/>
              <a:gd name="connsiteX0-1281" fmla="*/ 1331 w 10600099"/>
              <a:gd name="connsiteY0-1282" fmla="*/ 2791 h 341725"/>
              <a:gd name="connsiteX1-1283" fmla="*/ 10561656 w 10600099"/>
              <a:gd name="connsiteY1-1284" fmla="*/ 0 h 341725"/>
              <a:gd name="connsiteX2-1285" fmla="*/ 10567427 w 10600099"/>
              <a:gd name="connsiteY2-1286" fmla="*/ 90892 h 341725"/>
              <a:gd name="connsiteX3-1287" fmla="*/ 1690486 w 10600099"/>
              <a:gd name="connsiteY3-1288" fmla="*/ 89040 h 341725"/>
              <a:gd name="connsiteX4-1289" fmla="*/ 1110563 w 10600099"/>
              <a:gd name="connsiteY4-1290" fmla="*/ 341725 h 341725"/>
              <a:gd name="connsiteX5-1291" fmla="*/ 628541 w 10600099"/>
              <a:gd name="connsiteY5-1292" fmla="*/ 101571 h 341725"/>
              <a:gd name="connsiteX6-1293" fmla="*/ 0 w 10600099"/>
              <a:gd name="connsiteY6-1294" fmla="*/ 103593 h 341725"/>
              <a:gd name="connsiteX7-1295" fmla="*/ 1331 w 10600099"/>
              <a:gd name="connsiteY7-1296" fmla="*/ 2791 h 341725"/>
              <a:gd name="connsiteX0-1297" fmla="*/ 1331 w 10567427"/>
              <a:gd name="connsiteY0-1298" fmla="*/ 2791 h 341725"/>
              <a:gd name="connsiteX1-1299" fmla="*/ 10561656 w 10567427"/>
              <a:gd name="connsiteY1-1300" fmla="*/ 0 h 341725"/>
              <a:gd name="connsiteX2-1301" fmla="*/ 10567427 w 10567427"/>
              <a:gd name="connsiteY2-1302" fmla="*/ 90892 h 341725"/>
              <a:gd name="connsiteX3-1303" fmla="*/ 1690486 w 10567427"/>
              <a:gd name="connsiteY3-1304" fmla="*/ 89040 h 341725"/>
              <a:gd name="connsiteX4-1305" fmla="*/ 1110563 w 10567427"/>
              <a:gd name="connsiteY4-1306" fmla="*/ 341725 h 341725"/>
              <a:gd name="connsiteX5-1307" fmla="*/ 628541 w 10567427"/>
              <a:gd name="connsiteY5-1308" fmla="*/ 101571 h 341725"/>
              <a:gd name="connsiteX6-1309" fmla="*/ 0 w 10567427"/>
              <a:gd name="connsiteY6-1310" fmla="*/ 103593 h 341725"/>
              <a:gd name="connsiteX7-1311" fmla="*/ 1331 w 10567427"/>
              <a:gd name="connsiteY7-1312" fmla="*/ 2791 h 341725"/>
              <a:gd name="connsiteX0-1313" fmla="*/ 1331 w 10561687"/>
              <a:gd name="connsiteY0-1314" fmla="*/ 2791 h 341725"/>
              <a:gd name="connsiteX1-1315" fmla="*/ 10561656 w 10561687"/>
              <a:gd name="connsiteY1-1316" fmla="*/ 0 h 341725"/>
              <a:gd name="connsiteX2-1317" fmla="*/ 10561157 w 10561687"/>
              <a:gd name="connsiteY2-1318" fmla="*/ 90892 h 341725"/>
              <a:gd name="connsiteX3-1319" fmla="*/ 1690486 w 10561687"/>
              <a:gd name="connsiteY3-1320" fmla="*/ 89040 h 341725"/>
              <a:gd name="connsiteX4-1321" fmla="*/ 1110563 w 10561687"/>
              <a:gd name="connsiteY4-1322" fmla="*/ 341725 h 341725"/>
              <a:gd name="connsiteX5-1323" fmla="*/ 628541 w 10561687"/>
              <a:gd name="connsiteY5-1324" fmla="*/ 101571 h 341725"/>
              <a:gd name="connsiteX6-1325" fmla="*/ 0 w 10561687"/>
              <a:gd name="connsiteY6-1326" fmla="*/ 103593 h 341725"/>
              <a:gd name="connsiteX7-1327" fmla="*/ 1331 w 10561687"/>
              <a:gd name="connsiteY7-1328" fmla="*/ 2791 h 341725"/>
              <a:gd name="connsiteX0-1329" fmla="*/ 1331 w 10562072"/>
              <a:gd name="connsiteY0-1330" fmla="*/ 2791 h 341725"/>
              <a:gd name="connsiteX1-1331" fmla="*/ 10561656 w 10562072"/>
              <a:gd name="connsiteY1-1332" fmla="*/ 0 h 341725"/>
              <a:gd name="connsiteX2-1333" fmla="*/ 10561157 w 10562072"/>
              <a:gd name="connsiteY2-1334" fmla="*/ 90892 h 341725"/>
              <a:gd name="connsiteX3-1335" fmla="*/ 1690486 w 10562072"/>
              <a:gd name="connsiteY3-1336" fmla="*/ 89040 h 341725"/>
              <a:gd name="connsiteX4-1337" fmla="*/ 1110563 w 10562072"/>
              <a:gd name="connsiteY4-1338" fmla="*/ 341725 h 341725"/>
              <a:gd name="connsiteX5-1339" fmla="*/ 628541 w 10562072"/>
              <a:gd name="connsiteY5-1340" fmla="*/ 101571 h 341725"/>
              <a:gd name="connsiteX6-1341" fmla="*/ 0 w 10562072"/>
              <a:gd name="connsiteY6-1342" fmla="*/ 103593 h 341725"/>
              <a:gd name="connsiteX7-1343" fmla="*/ 1331 w 10562072"/>
              <a:gd name="connsiteY7-1344" fmla="*/ 2791 h 341725"/>
              <a:gd name="connsiteX0-1345" fmla="*/ 1331 w 10562072"/>
              <a:gd name="connsiteY0-1346" fmla="*/ 2791 h 887696"/>
              <a:gd name="connsiteX1-1347" fmla="*/ 10561656 w 10562072"/>
              <a:gd name="connsiteY1-1348" fmla="*/ 0 h 887696"/>
              <a:gd name="connsiteX2-1349" fmla="*/ 10561157 w 10562072"/>
              <a:gd name="connsiteY2-1350" fmla="*/ 90892 h 887696"/>
              <a:gd name="connsiteX3-1351" fmla="*/ 1690486 w 10562072"/>
              <a:gd name="connsiteY3-1352" fmla="*/ 89040 h 887696"/>
              <a:gd name="connsiteX4-1353" fmla="*/ 1180889 w 10562072"/>
              <a:gd name="connsiteY4-1354" fmla="*/ 887696 h 887696"/>
              <a:gd name="connsiteX5-1355" fmla="*/ 628541 w 10562072"/>
              <a:gd name="connsiteY5-1356" fmla="*/ 101571 h 887696"/>
              <a:gd name="connsiteX6-1357" fmla="*/ 0 w 10562072"/>
              <a:gd name="connsiteY6-1358" fmla="*/ 103593 h 887696"/>
              <a:gd name="connsiteX7-1359" fmla="*/ 1331 w 10562072"/>
              <a:gd name="connsiteY7-1360" fmla="*/ 2791 h 887696"/>
              <a:gd name="connsiteX0-1361" fmla="*/ 1331 w 10562072"/>
              <a:gd name="connsiteY0-1362" fmla="*/ 2791 h 887696"/>
              <a:gd name="connsiteX1-1363" fmla="*/ 10561656 w 10562072"/>
              <a:gd name="connsiteY1-1364" fmla="*/ 0 h 887696"/>
              <a:gd name="connsiteX2-1365" fmla="*/ 10561157 w 10562072"/>
              <a:gd name="connsiteY2-1366" fmla="*/ 90892 h 887696"/>
              <a:gd name="connsiteX3-1367" fmla="*/ 2317558 w 10562072"/>
              <a:gd name="connsiteY3-1368" fmla="*/ 89040 h 887696"/>
              <a:gd name="connsiteX4-1369" fmla="*/ 1180889 w 10562072"/>
              <a:gd name="connsiteY4-1370" fmla="*/ 887696 h 887696"/>
              <a:gd name="connsiteX5-1371" fmla="*/ 628541 w 10562072"/>
              <a:gd name="connsiteY5-1372" fmla="*/ 101571 h 887696"/>
              <a:gd name="connsiteX6-1373" fmla="*/ 0 w 10562072"/>
              <a:gd name="connsiteY6-1374" fmla="*/ 103593 h 887696"/>
              <a:gd name="connsiteX7-1375" fmla="*/ 1331 w 10562072"/>
              <a:gd name="connsiteY7-1376" fmla="*/ 2791 h 887696"/>
              <a:gd name="connsiteX0-1377" fmla="*/ 1331 w 10562072"/>
              <a:gd name="connsiteY0-1378" fmla="*/ 2791 h 887702"/>
              <a:gd name="connsiteX1-1379" fmla="*/ 10561656 w 10562072"/>
              <a:gd name="connsiteY1-1380" fmla="*/ 0 h 887702"/>
              <a:gd name="connsiteX2-1381" fmla="*/ 10561157 w 10562072"/>
              <a:gd name="connsiteY2-1382" fmla="*/ 90892 h 887702"/>
              <a:gd name="connsiteX3-1383" fmla="*/ 2317558 w 10562072"/>
              <a:gd name="connsiteY3-1384" fmla="*/ 89040 h 887702"/>
              <a:gd name="connsiteX4-1385" fmla="*/ 1180889 w 10562072"/>
              <a:gd name="connsiteY4-1386" fmla="*/ 887696 h 887702"/>
              <a:gd name="connsiteX5-1387" fmla="*/ 0 w 10562072"/>
              <a:gd name="connsiteY5-1388" fmla="*/ 103593 h 887702"/>
              <a:gd name="connsiteX6-1389" fmla="*/ 1331 w 10562072"/>
              <a:gd name="connsiteY6-1390" fmla="*/ 2791 h 887702"/>
              <a:gd name="connsiteX0-1391" fmla="*/ 1331 w 10562072"/>
              <a:gd name="connsiteY0-1392" fmla="*/ 2791 h 887696"/>
              <a:gd name="connsiteX1-1393" fmla="*/ 10561656 w 10562072"/>
              <a:gd name="connsiteY1-1394" fmla="*/ 0 h 887696"/>
              <a:gd name="connsiteX2-1395" fmla="*/ 10561157 w 10562072"/>
              <a:gd name="connsiteY2-1396" fmla="*/ 90892 h 887696"/>
              <a:gd name="connsiteX3-1397" fmla="*/ 2317558 w 10562072"/>
              <a:gd name="connsiteY3-1398" fmla="*/ 89040 h 887696"/>
              <a:gd name="connsiteX4-1399" fmla="*/ 1180889 w 10562072"/>
              <a:gd name="connsiteY4-1400" fmla="*/ 887696 h 887696"/>
              <a:gd name="connsiteX5-1401" fmla="*/ 0 w 10562072"/>
              <a:gd name="connsiteY5-1402" fmla="*/ 103593 h 887696"/>
              <a:gd name="connsiteX6-1403" fmla="*/ 1331 w 10562072"/>
              <a:gd name="connsiteY6-1404" fmla="*/ 2791 h 887696"/>
              <a:gd name="connsiteX0-1405" fmla="*/ 1331 w 10562072"/>
              <a:gd name="connsiteY0-1406" fmla="*/ 2791 h 887696"/>
              <a:gd name="connsiteX1-1407" fmla="*/ 10561656 w 10562072"/>
              <a:gd name="connsiteY1-1408" fmla="*/ 0 h 887696"/>
              <a:gd name="connsiteX2-1409" fmla="*/ 10561157 w 10562072"/>
              <a:gd name="connsiteY2-1410" fmla="*/ 90892 h 887696"/>
              <a:gd name="connsiteX3-1411" fmla="*/ 2317558 w 10562072"/>
              <a:gd name="connsiteY3-1412" fmla="*/ 89040 h 887696"/>
              <a:gd name="connsiteX4-1413" fmla="*/ 1180889 w 10562072"/>
              <a:gd name="connsiteY4-1414" fmla="*/ 887696 h 887696"/>
              <a:gd name="connsiteX5-1415" fmla="*/ 0 w 10562072"/>
              <a:gd name="connsiteY5-1416" fmla="*/ 103593 h 887696"/>
              <a:gd name="connsiteX6-1417" fmla="*/ 1331 w 10562072"/>
              <a:gd name="connsiteY6-1418" fmla="*/ 2791 h 887696"/>
              <a:gd name="connsiteX0-1419" fmla="*/ 1331 w 10562072"/>
              <a:gd name="connsiteY0-1420" fmla="*/ 2791 h 887696"/>
              <a:gd name="connsiteX1-1421" fmla="*/ 10561656 w 10562072"/>
              <a:gd name="connsiteY1-1422" fmla="*/ 0 h 887696"/>
              <a:gd name="connsiteX2-1423" fmla="*/ 10561157 w 10562072"/>
              <a:gd name="connsiteY2-1424" fmla="*/ 90892 h 887696"/>
              <a:gd name="connsiteX3-1425" fmla="*/ 2317558 w 10562072"/>
              <a:gd name="connsiteY3-1426" fmla="*/ 89040 h 887696"/>
              <a:gd name="connsiteX4-1427" fmla="*/ 1180889 w 10562072"/>
              <a:gd name="connsiteY4-1428" fmla="*/ 887696 h 887696"/>
              <a:gd name="connsiteX5-1429" fmla="*/ 0 w 10562072"/>
              <a:gd name="connsiteY5-1430" fmla="*/ 103593 h 887696"/>
              <a:gd name="connsiteX6-1431" fmla="*/ 1331 w 10562072"/>
              <a:gd name="connsiteY6-1432" fmla="*/ 2791 h 887696"/>
              <a:gd name="connsiteX0-1433" fmla="*/ 1331 w 10562072"/>
              <a:gd name="connsiteY0-1434" fmla="*/ 2791 h 887696"/>
              <a:gd name="connsiteX1-1435" fmla="*/ 10561656 w 10562072"/>
              <a:gd name="connsiteY1-1436" fmla="*/ 0 h 887696"/>
              <a:gd name="connsiteX2-1437" fmla="*/ 10561157 w 10562072"/>
              <a:gd name="connsiteY2-1438" fmla="*/ 90892 h 887696"/>
              <a:gd name="connsiteX3-1439" fmla="*/ 2317558 w 10562072"/>
              <a:gd name="connsiteY3-1440" fmla="*/ 89040 h 887696"/>
              <a:gd name="connsiteX4-1441" fmla="*/ 1180889 w 10562072"/>
              <a:gd name="connsiteY4-1442" fmla="*/ 887696 h 887696"/>
              <a:gd name="connsiteX5-1443" fmla="*/ 0 w 10562072"/>
              <a:gd name="connsiteY5-1444" fmla="*/ 103593 h 887696"/>
              <a:gd name="connsiteX6-1445" fmla="*/ 1331 w 10562072"/>
              <a:gd name="connsiteY6-1446" fmla="*/ 2791 h 887696"/>
              <a:gd name="connsiteX0-1447" fmla="*/ 1331 w 10562072"/>
              <a:gd name="connsiteY0-1448" fmla="*/ 2791 h 887696"/>
              <a:gd name="connsiteX1-1449" fmla="*/ 10561656 w 10562072"/>
              <a:gd name="connsiteY1-1450" fmla="*/ 0 h 887696"/>
              <a:gd name="connsiteX2-1451" fmla="*/ 10561157 w 10562072"/>
              <a:gd name="connsiteY2-1452" fmla="*/ 90892 h 887696"/>
              <a:gd name="connsiteX3-1453" fmla="*/ 2317558 w 10562072"/>
              <a:gd name="connsiteY3-1454" fmla="*/ 89040 h 887696"/>
              <a:gd name="connsiteX4-1455" fmla="*/ 1180889 w 10562072"/>
              <a:gd name="connsiteY4-1456" fmla="*/ 887696 h 887696"/>
              <a:gd name="connsiteX5-1457" fmla="*/ 0 w 10562072"/>
              <a:gd name="connsiteY5-1458" fmla="*/ 103593 h 887696"/>
              <a:gd name="connsiteX6-1459" fmla="*/ 1331 w 10562072"/>
              <a:gd name="connsiteY6-1460" fmla="*/ 2791 h 887696"/>
              <a:gd name="connsiteX0-1461" fmla="*/ 1331 w 10562072"/>
              <a:gd name="connsiteY0-1462" fmla="*/ 2791 h 887696"/>
              <a:gd name="connsiteX1-1463" fmla="*/ 10561656 w 10562072"/>
              <a:gd name="connsiteY1-1464" fmla="*/ 0 h 887696"/>
              <a:gd name="connsiteX2-1465" fmla="*/ 10561157 w 10562072"/>
              <a:gd name="connsiteY2-1466" fmla="*/ 90892 h 887696"/>
              <a:gd name="connsiteX3-1467" fmla="*/ 2317558 w 10562072"/>
              <a:gd name="connsiteY3-1468" fmla="*/ 89040 h 887696"/>
              <a:gd name="connsiteX4-1469" fmla="*/ 1180889 w 10562072"/>
              <a:gd name="connsiteY4-1470" fmla="*/ 887696 h 887696"/>
              <a:gd name="connsiteX5-1471" fmla="*/ 0 w 10562072"/>
              <a:gd name="connsiteY5-1472" fmla="*/ 103593 h 887696"/>
              <a:gd name="connsiteX6-1473" fmla="*/ 1331 w 10562072"/>
              <a:gd name="connsiteY6-1474" fmla="*/ 2791 h 887696"/>
              <a:gd name="connsiteX0-1475" fmla="*/ 1331 w 10562072"/>
              <a:gd name="connsiteY0-1476" fmla="*/ 2791 h 887696"/>
              <a:gd name="connsiteX1-1477" fmla="*/ 10561656 w 10562072"/>
              <a:gd name="connsiteY1-1478" fmla="*/ 0 h 887696"/>
              <a:gd name="connsiteX2-1479" fmla="*/ 10561157 w 10562072"/>
              <a:gd name="connsiteY2-1480" fmla="*/ 90892 h 887696"/>
              <a:gd name="connsiteX3-1481" fmla="*/ 2317558 w 10562072"/>
              <a:gd name="connsiteY3-1482" fmla="*/ 89040 h 887696"/>
              <a:gd name="connsiteX4-1483" fmla="*/ 1180889 w 10562072"/>
              <a:gd name="connsiteY4-1484" fmla="*/ 887696 h 887696"/>
              <a:gd name="connsiteX5-1485" fmla="*/ 0 w 10562072"/>
              <a:gd name="connsiteY5-1486" fmla="*/ 103593 h 887696"/>
              <a:gd name="connsiteX6-1487" fmla="*/ 1331 w 10562072"/>
              <a:gd name="connsiteY6-1488" fmla="*/ 2791 h 887696"/>
              <a:gd name="connsiteX0-1489" fmla="*/ 1331 w 10562072"/>
              <a:gd name="connsiteY0-1490" fmla="*/ 2791 h 887696"/>
              <a:gd name="connsiteX1-1491" fmla="*/ 10561656 w 10562072"/>
              <a:gd name="connsiteY1-1492" fmla="*/ 0 h 887696"/>
              <a:gd name="connsiteX2-1493" fmla="*/ 10561157 w 10562072"/>
              <a:gd name="connsiteY2-1494" fmla="*/ 90892 h 887696"/>
              <a:gd name="connsiteX3-1495" fmla="*/ 2317558 w 10562072"/>
              <a:gd name="connsiteY3-1496" fmla="*/ 89040 h 887696"/>
              <a:gd name="connsiteX4-1497" fmla="*/ 1180889 w 10562072"/>
              <a:gd name="connsiteY4-1498" fmla="*/ 887696 h 887696"/>
              <a:gd name="connsiteX5-1499" fmla="*/ 0 w 10562072"/>
              <a:gd name="connsiteY5-1500" fmla="*/ 103593 h 887696"/>
              <a:gd name="connsiteX6-1501" fmla="*/ 1331 w 10562072"/>
              <a:gd name="connsiteY6-1502" fmla="*/ 2791 h 887696"/>
              <a:gd name="connsiteX0-1503" fmla="*/ 1331 w 10562072"/>
              <a:gd name="connsiteY0-1504" fmla="*/ 2791 h 887696"/>
              <a:gd name="connsiteX1-1505" fmla="*/ 10561656 w 10562072"/>
              <a:gd name="connsiteY1-1506" fmla="*/ 0 h 887696"/>
              <a:gd name="connsiteX2-1507" fmla="*/ 10561157 w 10562072"/>
              <a:gd name="connsiteY2-1508" fmla="*/ 90892 h 887696"/>
              <a:gd name="connsiteX3-1509" fmla="*/ 2317558 w 10562072"/>
              <a:gd name="connsiteY3-1510" fmla="*/ 89040 h 887696"/>
              <a:gd name="connsiteX4-1511" fmla="*/ 1180889 w 10562072"/>
              <a:gd name="connsiteY4-1512" fmla="*/ 887696 h 887696"/>
              <a:gd name="connsiteX5-1513" fmla="*/ 0 w 10562072"/>
              <a:gd name="connsiteY5-1514" fmla="*/ 103593 h 887696"/>
              <a:gd name="connsiteX6-1515" fmla="*/ 1331 w 10562072"/>
              <a:gd name="connsiteY6-1516" fmla="*/ 2791 h 887696"/>
              <a:gd name="connsiteX0-1517" fmla="*/ 0 w 10568342"/>
              <a:gd name="connsiteY0-1518" fmla="*/ 0 h 2916892"/>
              <a:gd name="connsiteX1-1519" fmla="*/ 10567926 w 10568342"/>
              <a:gd name="connsiteY1-1520" fmla="*/ 2029196 h 2916892"/>
              <a:gd name="connsiteX2-1521" fmla="*/ 10567427 w 10568342"/>
              <a:gd name="connsiteY2-1522" fmla="*/ 2120088 h 2916892"/>
              <a:gd name="connsiteX3-1523" fmla="*/ 2323828 w 10568342"/>
              <a:gd name="connsiteY3-1524" fmla="*/ 2118236 h 2916892"/>
              <a:gd name="connsiteX4-1525" fmla="*/ 1187159 w 10568342"/>
              <a:gd name="connsiteY4-1526" fmla="*/ 2916892 h 2916892"/>
              <a:gd name="connsiteX5-1527" fmla="*/ 6270 w 10568342"/>
              <a:gd name="connsiteY5-1528" fmla="*/ 2132789 h 2916892"/>
              <a:gd name="connsiteX6-1529" fmla="*/ 0 w 10568342"/>
              <a:gd name="connsiteY6-1530" fmla="*/ 0 h 2916892"/>
              <a:gd name="connsiteX0-1531" fmla="*/ 0 w 10575943"/>
              <a:gd name="connsiteY0-1532" fmla="*/ 0 h 2955377"/>
              <a:gd name="connsiteX1-1533" fmla="*/ 10575527 w 10575943"/>
              <a:gd name="connsiteY1-1534" fmla="*/ 2067681 h 2955377"/>
              <a:gd name="connsiteX2-1535" fmla="*/ 10575028 w 10575943"/>
              <a:gd name="connsiteY2-1536" fmla="*/ 2158573 h 2955377"/>
              <a:gd name="connsiteX3-1537" fmla="*/ 2331429 w 10575943"/>
              <a:gd name="connsiteY3-1538" fmla="*/ 2156721 h 2955377"/>
              <a:gd name="connsiteX4-1539" fmla="*/ 1194760 w 10575943"/>
              <a:gd name="connsiteY4-1540" fmla="*/ 2955377 h 2955377"/>
              <a:gd name="connsiteX5-1541" fmla="*/ 13871 w 10575943"/>
              <a:gd name="connsiteY5-1542" fmla="*/ 2171274 h 2955377"/>
              <a:gd name="connsiteX6-1543" fmla="*/ 0 w 10575943"/>
              <a:gd name="connsiteY6-1544" fmla="*/ 0 h 2955377"/>
              <a:gd name="connsiteX0-1545" fmla="*/ 267371 w 10562072"/>
              <a:gd name="connsiteY0-1546" fmla="*/ 0 h 2685985"/>
              <a:gd name="connsiteX1-1547" fmla="*/ 10561656 w 10562072"/>
              <a:gd name="connsiteY1-1548" fmla="*/ 1798289 h 2685985"/>
              <a:gd name="connsiteX2-1549" fmla="*/ 10561157 w 10562072"/>
              <a:gd name="connsiteY2-1550" fmla="*/ 1889181 h 2685985"/>
              <a:gd name="connsiteX3-1551" fmla="*/ 2317558 w 10562072"/>
              <a:gd name="connsiteY3-1552" fmla="*/ 1887329 h 2685985"/>
              <a:gd name="connsiteX4-1553" fmla="*/ 1180889 w 10562072"/>
              <a:gd name="connsiteY4-1554" fmla="*/ 2685985 h 2685985"/>
              <a:gd name="connsiteX5-1555" fmla="*/ 0 w 10562072"/>
              <a:gd name="connsiteY5-1556" fmla="*/ 1901882 h 2685985"/>
              <a:gd name="connsiteX6-1557" fmla="*/ 267371 w 10562072"/>
              <a:gd name="connsiteY6-1558" fmla="*/ 0 h 2685985"/>
              <a:gd name="connsiteX0-1559" fmla="*/ 1331 w 10562072"/>
              <a:gd name="connsiteY0-1560" fmla="*/ 0 h 2955377"/>
              <a:gd name="connsiteX1-1561" fmla="*/ 10561656 w 10562072"/>
              <a:gd name="connsiteY1-1562" fmla="*/ 2067681 h 2955377"/>
              <a:gd name="connsiteX2-1563" fmla="*/ 10561157 w 10562072"/>
              <a:gd name="connsiteY2-1564" fmla="*/ 2158573 h 2955377"/>
              <a:gd name="connsiteX3-1565" fmla="*/ 2317558 w 10562072"/>
              <a:gd name="connsiteY3-1566" fmla="*/ 2156721 h 2955377"/>
              <a:gd name="connsiteX4-1567" fmla="*/ 1180889 w 10562072"/>
              <a:gd name="connsiteY4-1568" fmla="*/ 2955377 h 2955377"/>
              <a:gd name="connsiteX5-1569" fmla="*/ 0 w 10562072"/>
              <a:gd name="connsiteY5-1570" fmla="*/ 2171274 h 2955377"/>
              <a:gd name="connsiteX6-1571" fmla="*/ 1331 w 10562072"/>
              <a:gd name="connsiteY6-1572" fmla="*/ 0 h 2955377"/>
              <a:gd name="connsiteX0-1573" fmla="*/ 1331 w 10562072"/>
              <a:gd name="connsiteY0-1574" fmla="*/ 2791 h 2958168"/>
              <a:gd name="connsiteX1-1575" fmla="*/ 10561655 w 10562072"/>
              <a:gd name="connsiteY1-1576" fmla="*/ 0 h 2958168"/>
              <a:gd name="connsiteX2-1577" fmla="*/ 10561157 w 10562072"/>
              <a:gd name="connsiteY2-1578" fmla="*/ 2161364 h 2958168"/>
              <a:gd name="connsiteX3-1579" fmla="*/ 2317558 w 10562072"/>
              <a:gd name="connsiteY3-1580" fmla="*/ 2159512 h 2958168"/>
              <a:gd name="connsiteX4-1581" fmla="*/ 1180889 w 10562072"/>
              <a:gd name="connsiteY4-1582" fmla="*/ 2958168 h 2958168"/>
              <a:gd name="connsiteX5-1583" fmla="*/ 0 w 10562072"/>
              <a:gd name="connsiteY5-1584" fmla="*/ 2174065 h 2958168"/>
              <a:gd name="connsiteX6-1585" fmla="*/ 1331 w 10562072"/>
              <a:gd name="connsiteY6-1586" fmla="*/ 2791 h 2958168"/>
              <a:gd name="connsiteX0-1587" fmla="*/ 1331 w 10562072"/>
              <a:gd name="connsiteY0-1588" fmla="*/ 2791 h 2958168"/>
              <a:gd name="connsiteX1-1589" fmla="*/ 10561655 w 10562072"/>
              <a:gd name="connsiteY1-1590" fmla="*/ 0 h 2958168"/>
              <a:gd name="connsiteX2-1591" fmla="*/ 10561157 w 10562072"/>
              <a:gd name="connsiteY2-1592" fmla="*/ 2161364 h 2958168"/>
              <a:gd name="connsiteX3-1593" fmla="*/ 9288594 w 10562072"/>
              <a:gd name="connsiteY3-1594" fmla="*/ 2153103 h 2958168"/>
              <a:gd name="connsiteX4-1595" fmla="*/ 2317558 w 10562072"/>
              <a:gd name="connsiteY4-1596" fmla="*/ 2159512 h 2958168"/>
              <a:gd name="connsiteX5-1597" fmla="*/ 1180889 w 10562072"/>
              <a:gd name="connsiteY5-1598" fmla="*/ 2958168 h 2958168"/>
              <a:gd name="connsiteX6-1599" fmla="*/ 0 w 10562072"/>
              <a:gd name="connsiteY6-1600" fmla="*/ 2174065 h 2958168"/>
              <a:gd name="connsiteX7-1601" fmla="*/ 1331 w 10562072"/>
              <a:gd name="connsiteY7-1602" fmla="*/ 2791 h 2958168"/>
              <a:gd name="connsiteX0-1603" fmla="*/ 1331 w 10561657"/>
              <a:gd name="connsiteY0-1604" fmla="*/ 2791 h 2958168"/>
              <a:gd name="connsiteX1-1605" fmla="*/ 10561655 w 10561657"/>
              <a:gd name="connsiteY1-1606" fmla="*/ 0 h 2958168"/>
              <a:gd name="connsiteX2-1607" fmla="*/ 10469943 w 10561657"/>
              <a:gd name="connsiteY2-1608" fmla="*/ 668161 h 2958168"/>
              <a:gd name="connsiteX3-1609" fmla="*/ 9288594 w 10561657"/>
              <a:gd name="connsiteY3-1610" fmla="*/ 2153103 h 2958168"/>
              <a:gd name="connsiteX4-1611" fmla="*/ 2317558 w 10561657"/>
              <a:gd name="connsiteY4-1612" fmla="*/ 2159512 h 2958168"/>
              <a:gd name="connsiteX5-1613" fmla="*/ 1180889 w 10561657"/>
              <a:gd name="connsiteY5-1614" fmla="*/ 2958168 h 2958168"/>
              <a:gd name="connsiteX6-1615" fmla="*/ 0 w 10561657"/>
              <a:gd name="connsiteY6-1616" fmla="*/ 2174065 h 2958168"/>
              <a:gd name="connsiteX7-1617" fmla="*/ 1331 w 10561657"/>
              <a:gd name="connsiteY7-1618" fmla="*/ 2791 h 2958168"/>
              <a:gd name="connsiteX0-1619" fmla="*/ 1331 w 10562072"/>
              <a:gd name="connsiteY0-1620" fmla="*/ 2791 h 2958168"/>
              <a:gd name="connsiteX1-1621" fmla="*/ 10561655 w 10562072"/>
              <a:gd name="connsiteY1-1622" fmla="*/ 0 h 2958168"/>
              <a:gd name="connsiteX2-1623" fmla="*/ 10561157 w 10562072"/>
              <a:gd name="connsiteY2-1624" fmla="*/ 1468641 h 2958168"/>
              <a:gd name="connsiteX3-1625" fmla="*/ 9288594 w 10562072"/>
              <a:gd name="connsiteY3-1626" fmla="*/ 2153103 h 2958168"/>
              <a:gd name="connsiteX4-1627" fmla="*/ 2317558 w 10562072"/>
              <a:gd name="connsiteY4-1628" fmla="*/ 2159512 h 2958168"/>
              <a:gd name="connsiteX5-1629" fmla="*/ 1180889 w 10562072"/>
              <a:gd name="connsiteY5-1630" fmla="*/ 2958168 h 2958168"/>
              <a:gd name="connsiteX6-1631" fmla="*/ 0 w 10562072"/>
              <a:gd name="connsiteY6-1632" fmla="*/ 2174065 h 2958168"/>
              <a:gd name="connsiteX7-1633" fmla="*/ 1331 w 10562072"/>
              <a:gd name="connsiteY7-1634" fmla="*/ 2791 h 2958168"/>
              <a:gd name="connsiteX0-1635" fmla="*/ 1331 w 10561655"/>
              <a:gd name="connsiteY0-1636" fmla="*/ 2791 h 2958168"/>
              <a:gd name="connsiteX1-1637" fmla="*/ 10561655 w 10561655"/>
              <a:gd name="connsiteY1-1638" fmla="*/ 0 h 2958168"/>
              <a:gd name="connsiteX2-1639" fmla="*/ 10196302 w 10561655"/>
              <a:gd name="connsiteY2-1640" fmla="*/ 1183855 h 2958168"/>
              <a:gd name="connsiteX3-1641" fmla="*/ 9288594 w 10561655"/>
              <a:gd name="connsiteY3-1642" fmla="*/ 2153103 h 2958168"/>
              <a:gd name="connsiteX4-1643" fmla="*/ 2317558 w 10561655"/>
              <a:gd name="connsiteY4-1644" fmla="*/ 2159512 h 2958168"/>
              <a:gd name="connsiteX5-1645" fmla="*/ 1180889 w 10561655"/>
              <a:gd name="connsiteY5-1646" fmla="*/ 2958168 h 2958168"/>
              <a:gd name="connsiteX6-1647" fmla="*/ 0 w 10561655"/>
              <a:gd name="connsiteY6-1648" fmla="*/ 2174065 h 2958168"/>
              <a:gd name="connsiteX7-1649" fmla="*/ 1331 w 10561655"/>
              <a:gd name="connsiteY7-1650" fmla="*/ 2791 h 2958168"/>
              <a:gd name="connsiteX0-1651" fmla="*/ 1331 w 10562072"/>
              <a:gd name="connsiteY0-1652" fmla="*/ 2791 h 2958168"/>
              <a:gd name="connsiteX1-1653" fmla="*/ 10561655 w 10562072"/>
              <a:gd name="connsiteY1-1654" fmla="*/ 0 h 2958168"/>
              <a:gd name="connsiteX2-1655" fmla="*/ 10561157 w 10562072"/>
              <a:gd name="connsiteY2-1656" fmla="*/ 1476338 h 2958168"/>
              <a:gd name="connsiteX3-1657" fmla="*/ 9288594 w 10562072"/>
              <a:gd name="connsiteY3-1658" fmla="*/ 2153103 h 2958168"/>
              <a:gd name="connsiteX4-1659" fmla="*/ 2317558 w 10562072"/>
              <a:gd name="connsiteY4-1660" fmla="*/ 2159512 h 2958168"/>
              <a:gd name="connsiteX5-1661" fmla="*/ 1180889 w 10562072"/>
              <a:gd name="connsiteY5-1662" fmla="*/ 2958168 h 2958168"/>
              <a:gd name="connsiteX6-1663" fmla="*/ 0 w 10562072"/>
              <a:gd name="connsiteY6-1664" fmla="*/ 2174065 h 2958168"/>
              <a:gd name="connsiteX7-1665" fmla="*/ 1331 w 10562072"/>
              <a:gd name="connsiteY7-1666" fmla="*/ 2791 h 2958168"/>
              <a:gd name="connsiteX0-1667" fmla="*/ 1331 w 10562072"/>
              <a:gd name="connsiteY0-1668" fmla="*/ 2791 h 2958168"/>
              <a:gd name="connsiteX1-1669" fmla="*/ 10561655 w 10562072"/>
              <a:gd name="connsiteY1-1670" fmla="*/ 0 h 2958168"/>
              <a:gd name="connsiteX2-1671" fmla="*/ 10561157 w 10562072"/>
              <a:gd name="connsiteY2-1672" fmla="*/ 1476338 h 2958168"/>
              <a:gd name="connsiteX3-1673" fmla="*/ 9288594 w 10562072"/>
              <a:gd name="connsiteY3-1674" fmla="*/ 2153103 h 2958168"/>
              <a:gd name="connsiteX4-1675" fmla="*/ 2317558 w 10562072"/>
              <a:gd name="connsiteY4-1676" fmla="*/ 2159512 h 2958168"/>
              <a:gd name="connsiteX5-1677" fmla="*/ 1180889 w 10562072"/>
              <a:gd name="connsiteY5-1678" fmla="*/ 2958168 h 2958168"/>
              <a:gd name="connsiteX6-1679" fmla="*/ 0 w 10562072"/>
              <a:gd name="connsiteY6-1680" fmla="*/ 2174065 h 2958168"/>
              <a:gd name="connsiteX7-1681" fmla="*/ 1331 w 10562072"/>
              <a:gd name="connsiteY7-1682" fmla="*/ 2791 h 2958168"/>
              <a:gd name="connsiteX0-1683" fmla="*/ 1331 w 10562072"/>
              <a:gd name="connsiteY0-1684" fmla="*/ 2791 h 2958168"/>
              <a:gd name="connsiteX1-1685" fmla="*/ 10561655 w 10562072"/>
              <a:gd name="connsiteY1-1686" fmla="*/ 0 h 2958168"/>
              <a:gd name="connsiteX2-1687" fmla="*/ 10561157 w 10562072"/>
              <a:gd name="connsiteY2-1688" fmla="*/ 1476338 h 2958168"/>
              <a:gd name="connsiteX3-1689" fmla="*/ 9288594 w 10562072"/>
              <a:gd name="connsiteY3-1690" fmla="*/ 2153103 h 2958168"/>
              <a:gd name="connsiteX4-1691" fmla="*/ 2317558 w 10562072"/>
              <a:gd name="connsiteY4-1692" fmla="*/ 2159512 h 2958168"/>
              <a:gd name="connsiteX5-1693" fmla="*/ 1180889 w 10562072"/>
              <a:gd name="connsiteY5-1694" fmla="*/ 2958168 h 2958168"/>
              <a:gd name="connsiteX6-1695" fmla="*/ 0 w 10562072"/>
              <a:gd name="connsiteY6-1696" fmla="*/ 2174065 h 2958168"/>
              <a:gd name="connsiteX7-1697" fmla="*/ 1331 w 10562072"/>
              <a:gd name="connsiteY7-1698" fmla="*/ 2791 h 2958168"/>
              <a:gd name="connsiteX0-1699" fmla="*/ 1331 w 10562411"/>
              <a:gd name="connsiteY0-1700" fmla="*/ 2791 h 2958168"/>
              <a:gd name="connsiteX1-1701" fmla="*/ 9749773 w 10562411"/>
              <a:gd name="connsiteY1-1702" fmla="*/ 0 h 2958168"/>
              <a:gd name="connsiteX2-1703" fmla="*/ 10561157 w 10562411"/>
              <a:gd name="connsiteY2-1704" fmla="*/ 1476338 h 2958168"/>
              <a:gd name="connsiteX3-1705" fmla="*/ 9288594 w 10562411"/>
              <a:gd name="connsiteY3-1706" fmla="*/ 2153103 h 2958168"/>
              <a:gd name="connsiteX4-1707" fmla="*/ 2317558 w 10562411"/>
              <a:gd name="connsiteY4-1708" fmla="*/ 2159512 h 2958168"/>
              <a:gd name="connsiteX5-1709" fmla="*/ 1180889 w 10562411"/>
              <a:gd name="connsiteY5-1710" fmla="*/ 2958168 h 2958168"/>
              <a:gd name="connsiteX6-1711" fmla="*/ 0 w 10562411"/>
              <a:gd name="connsiteY6-1712" fmla="*/ 2174065 h 2958168"/>
              <a:gd name="connsiteX7-1713" fmla="*/ 1331 w 10562411"/>
              <a:gd name="connsiteY7-1714" fmla="*/ 2791 h 2958168"/>
              <a:gd name="connsiteX0-1715" fmla="*/ 1331 w 10562411"/>
              <a:gd name="connsiteY0-1716" fmla="*/ 2791 h 2958168"/>
              <a:gd name="connsiteX1-1717" fmla="*/ 9749773 w 10562411"/>
              <a:gd name="connsiteY1-1718" fmla="*/ 0 h 2958168"/>
              <a:gd name="connsiteX2-1719" fmla="*/ 10561157 w 10562411"/>
              <a:gd name="connsiteY2-1720" fmla="*/ 1476338 h 2958168"/>
              <a:gd name="connsiteX3-1721" fmla="*/ 8330082 w 10562411"/>
              <a:gd name="connsiteY3-1722" fmla="*/ 2161611 h 2958168"/>
              <a:gd name="connsiteX4-1723" fmla="*/ 2317558 w 10562411"/>
              <a:gd name="connsiteY4-1724" fmla="*/ 2159512 h 2958168"/>
              <a:gd name="connsiteX5-1725" fmla="*/ 1180889 w 10562411"/>
              <a:gd name="connsiteY5-1726" fmla="*/ 2958168 h 2958168"/>
              <a:gd name="connsiteX6-1727" fmla="*/ 0 w 10562411"/>
              <a:gd name="connsiteY6-1728" fmla="*/ 2174065 h 2958168"/>
              <a:gd name="connsiteX7-1729" fmla="*/ 1331 w 10562411"/>
              <a:gd name="connsiteY7-1730" fmla="*/ 2791 h 2958168"/>
              <a:gd name="connsiteX0-1731" fmla="*/ 1331 w 9751027"/>
              <a:gd name="connsiteY0-1732" fmla="*/ 2791 h 2958168"/>
              <a:gd name="connsiteX1-1733" fmla="*/ 9749773 w 9751027"/>
              <a:gd name="connsiteY1-1734" fmla="*/ 0 h 2958168"/>
              <a:gd name="connsiteX2-1735" fmla="*/ 9749773 w 9751027"/>
              <a:gd name="connsiteY2-1736" fmla="*/ 1518345 h 2958168"/>
              <a:gd name="connsiteX3-1737" fmla="*/ 8330082 w 9751027"/>
              <a:gd name="connsiteY3-1738" fmla="*/ 2161611 h 2958168"/>
              <a:gd name="connsiteX4-1739" fmla="*/ 2317558 w 9751027"/>
              <a:gd name="connsiteY4-1740" fmla="*/ 2159512 h 2958168"/>
              <a:gd name="connsiteX5-1741" fmla="*/ 1180889 w 9751027"/>
              <a:gd name="connsiteY5-1742" fmla="*/ 2958168 h 2958168"/>
              <a:gd name="connsiteX6-1743" fmla="*/ 0 w 9751027"/>
              <a:gd name="connsiteY6-1744" fmla="*/ 2174065 h 2958168"/>
              <a:gd name="connsiteX7-1745" fmla="*/ 1331 w 9751027"/>
              <a:gd name="connsiteY7-1746" fmla="*/ 2791 h 2958168"/>
              <a:gd name="connsiteX0-1747" fmla="*/ 1331 w 9751027"/>
              <a:gd name="connsiteY0-1748" fmla="*/ 0 h 2955377"/>
              <a:gd name="connsiteX1-1749" fmla="*/ 9749773 w 9751027"/>
              <a:gd name="connsiteY1-1750" fmla="*/ 179239 h 2955377"/>
              <a:gd name="connsiteX2-1751" fmla="*/ 9749773 w 9751027"/>
              <a:gd name="connsiteY2-1752" fmla="*/ 1515554 h 2955377"/>
              <a:gd name="connsiteX3-1753" fmla="*/ 8330082 w 9751027"/>
              <a:gd name="connsiteY3-1754" fmla="*/ 2158820 h 2955377"/>
              <a:gd name="connsiteX4-1755" fmla="*/ 2317558 w 9751027"/>
              <a:gd name="connsiteY4-1756" fmla="*/ 2156721 h 2955377"/>
              <a:gd name="connsiteX5-1757" fmla="*/ 1180889 w 9751027"/>
              <a:gd name="connsiteY5-1758" fmla="*/ 2955377 h 2955377"/>
              <a:gd name="connsiteX6-1759" fmla="*/ 0 w 9751027"/>
              <a:gd name="connsiteY6-1760" fmla="*/ 2171274 h 2955377"/>
              <a:gd name="connsiteX7-1761" fmla="*/ 1331 w 9751027"/>
              <a:gd name="connsiteY7-1762" fmla="*/ 0 h 2955377"/>
              <a:gd name="connsiteX0-1763" fmla="*/ 2189 w 9751027"/>
              <a:gd name="connsiteY0-1764" fmla="*/ 0 h 2776138"/>
              <a:gd name="connsiteX1-1765" fmla="*/ 9749773 w 9751027"/>
              <a:gd name="connsiteY1-1766" fmla="*/ 0 h 2776138"/>
              <a:gd name="connsiteX2-1767" fmla="*/ 9749773 w 9751027"/>
              <a:gd name="connsiteY2-1768" fmla="*/ 1336315 h 2776138"/>
              <a:gd name="connsiteX3-1769" fmla="*/ 8330082 w 9751027"/>
              <a:gd name="connsiteY3-1770" fmla="*/ 1979581 h 2776138"/>
              <a:gd name="connsiteX4-1771" fmla="*/ 2317558 w 9751027"/>
              <a:gd name="connsiteY4-1772" fmla="*/ 1977482 h 2776138"/>
              <a:gd name="connsiteX5-1773" fmla="*/ 1180889 w 9751027"/>
              <a:gd name="connsiteY5-1774" fmla="*/ 2776138 h 2776138"/>
              <a:gd name="connsiteX6-1775" fmla="*/ 0 w 9751027"/>
              <a:gd name="connsiteY6-1776" fmla="*/ 1992035 h 2776138"/>
              <a:gd name="connsiteX7-1777" fmla="*/ 2189 w 9751027"/>
              <a:gd name="connsiteY7-1778" fmla="*/ 0 h 2776138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21" y="connsiteY5-22"/>
              </a:cxn>
              <a:cxn ang="0">
                <a:pos x="connsiteX6-35" y="connsiteY6-36"/>
              </a:cxn>
              <a:cxn ang="0">
                <a:pos x="connsiteX7-135" y="connsiteY7-136"/>
              </a:cxn>
            </a:cxnLst>
            <a:rect l="l" t="t" r="r" b="b"/>
            <a:pathLst>
              <a:path w="9751027" h="2776138">
                <a:moveTo>
                  <a:pt x="2189" y="0"/>
                </a:moveTo>
                <a:lnTo>
                  <a:pt x="9749773" y="0"/>
                </a:lnTo>
                <a:cubicBezTo>
                  <a:pt x="9750286" y="67600"/>
                  <a:pt x="9751027" y="1292900"/>
                  <a:pt x="9749773" y="1336315"/>
                </a:cubicBezTo>
                <a:cubicBezTo>
                  <a:pt x="9272377" y="2008324"/>
                  <a:pt x="8746668" y="1984901"/>
                  <a:pt x="8330082" y="1979581"/>
                </a:cubicBezTo>
                <a:lnTo>
                  <a:pt x="2317558" y="1977482"/>
                </a:lnTo>
                <a:cubicBezTo>
                  <a:pt x="1740344" y="2010624"/>
                  <a:pt x="1372498" y="2313316"/>
                  <a:pt x="1180889" y="2776138"/>
                </a:cubicBezTo>
                <a:cubicBezTo>
                  <a:pt x="882535" y="2072361"/>
                  <a:pt x="278640" y="1991157"/>
                  <a:pt x="0" y="1992035"/>
                </a:cubicBezTo>
                <a:cubicBezTo>
                  <a:pt x="2067" y="1956522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</a:ln>
          <a:effectLst>
            <a:outerShdw blurRad="41275" dist="38100" dir="5400000" algn="t" rotWithShape="0">
              <a:srgbClr val="A1A1A1">
                <a:alpha val="24706"/>
              </a:srgbClr>
            </a:outerShdw>
          </a:effectLst>
        </p:spPr>
        <p:txBody>
          <a:bodyPr lIns="31238" tIns="40608" rIns="31238" bIns="40608" anchor="ctr"/>
          <a:lstStyle/>
          <a:p>
            <a:pPr algn="ctr" defTabSz="431800">
              <a:defRPr/>
            </a:pPr>
            <a:endParaRPr lang="en-US" sz="945" dirty="0">
              <a:solidFill>
                <a:prstClr val="white"/>
              </a:solidFill>
              <a:latin typeface="Arial" panose="020B0604020202090204"/>
              <a:ea typeface="MS PGothic" pitchFamily="34" charset="-128"/>
              <a:cs typeface="Arial" panose="020B0604020202090204"/>
            </a:endParaRPr>
          </a:p>
        </p:txBody>
      </p:sp>
      <p:sp>
        <p:nvSpPr>
          <p:cNvPr id="10" name="Rectangle 9"/>
          <p:cNvSpPr/>
          <p:nvPr userDrawn="1">
            <p:custDataLst>
              <p:tags r:id="rId4"/>
            </p:custDataLst>
          </p:nvPr>
        </p:nvSpPr>
        <p:spPr>
          <a:xfrm>
            <a:off x="0" y="6048163"/>
            <a:ext cx="11522075" cy="4320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9343" tIns="39672" rIns="79343" bIns="39672" anchor="ctr"/>
          <a:lstStyle/>
          <a:p>
            <a:pPr algn="ctr"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30" dirty="0">
              <a:solidFill>
                <a:prstClr val="white"/>
              </a:solidFill>
            </a:endParaRPr>
          </a:p>
        </p:txBody>
      </p:sp>
      <p:pic>
        <p:nvPicPr>
          <p:cNvPr id="11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211479" y="6175668"/>
            <a:ext cx="3176572" cy="1890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71"/>
          <p:cNvGrpSpPr/>
          <p:nvPr userDrawn="1"/>
        </p:nvGrpSpPr>
        <p:grpSpPr bwMode="auto">
          <a:xfrm>
            <a:off x="8093458" y="5274143"/>
            <a:ext cx="498090" cy="439512"/>
            <a:chOff x="6137269" y="5708334"/>
            <a:chExt cx="395544" cy="463864"/>
          </a:xfrm>
        </p:grpSpPr>
        <p:sp>
          <p:nvSpPr>
            <p:cNvPr id="13" name="Freeform 26"/>
            <p:cNvSpPr/>
            <p:nvPr userDrawn="1"/>
          </p:nvSpPr>
          <p:spPr bwMode="auto">
            <a:xfrm>
              <a:off x="6137269" y="5708334"/>
              <a:ext cx="160442" cy="227974"/>
            </a:xfrm>
            <a:custGeom>
              <a:avLst/>
              <a:gdLst/>
              <a:ahLst/>
              <a:cxnLst>
                <a:cxn ang="0">
                  <a:pos x="74" y="79"/>
                </a:cxn>
                <a:cxn ang="0">
                  <a:pos x="47" y="44"/>
                </a:cxn>
                <a:cxn ang="0">
                  <a:pos x="57" y="23"/>
                </a:cxn>
                <a:cxn ang="0">
                  <a:pos x="39" y="0"/>
                </a:cxn>
                <a:cxn ang="0">
                  <a:pos x="20" y="23"/>
                </a:cxn>
                <a:cxn ang="0">
                  <a:pos x="30" y="44"/>
                </a:cxn>
                <a:cxn ang="0">
                  <a:pos x="0" y="104"/>
                </a:cxn>
              </a:cxnLst>
              <a:rect l="0" t="0" r="r" b="b"/>
              <a:pathLst>
                <a:path w="74" h="104">
                  <a:moveTo>
                    <a:pt x="74" y="79"/>
                  </a:moveTo>
                  <a:cubicBezTo>
                    <a:pt x="71" y="62"/>
                    <a:pt x="62" y="49"/>
                    <a:pt x="47" y="44"/>
                  </a:cubicBezTo>
                  <a:cubicBezTo>
                    <a:pt x="52" y="40"/>
                    <a:pt x="57" y="31"/>
                    <a:pt x="57" y="23"/>
                  </a:cubicBezTo>
                  <a:cubicBezTo>
                    <a:pt x="57" y="10"/>
                    <a:pt x="49" y="0"/>
                    <a:pt x="39" y="0"/>
                  </a:cubicBezTo>
                  <a:cubicBezTo>
                    <a:pt x="28" y="0"/>
                    <a:pt x="20" y="10"/>
                    <a:pt x="20" y="23"/>
                  </a:cubicBezTo>
                  <a:cubicBezTo>
                    <a:pt x="20" y="31"/>
                    <a:pt x="26" y="40"/>
                    <a:pt x="30" y="44"/>
                  </a:cubicBezTo>
                  <a:cubicBezTo>
                    <a:pt x="8" y="51"/>
                    <a:pt x="0" y="75"/>
                    <a:pt x="0" y="104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0">
                <a:solidFill>
                  <a:srgbClr val="000000"/>
                </a:solidFill>
                <a:latin typeface="Arial" panose="020B0604020202090204" pitchFamily="34" charset="0"/>
                <a:ea typeface="MS PGothic" pitchFamily="34" charset="-128"/>
              </a:endParaRPr>
            </a:p>
          </p:txBody>
        </p:sp>
        <p:sp>
          <p:nvSpPr>
            <p:cNvPr id="14" name="Freeform 27"/>
            <p:cNvSpPr/>
            <p:nvPr userDrawn="1"/>
          </p:nvSpPr>
          <p:spPr bwMode="auto">
            <a:xfrm>
              <a:off x="6184925" y="5944224"/>
              <a:ext cx="73072" cy="1583"/>
            </a:xfrm>
            <a:custGeom>
              <a:avLst/>
              <a:gdLst/>
              <a:ahLst/>
              <a:cxnLst>
                <a:cxn ang="0">
                  <a:pos x="34" y="0"/>
                </a:cxn>
                <a:cxn ang="0">
                  <a:pos x="0" y="0"/>
                </a:cxn>
              </a:cxnLst>
              <a:rect l="0" t="0" r="r" b="b"/>
              <a:pathLst>
                <a:path w="34">
                  <a:moveTo>
                    <a:pt x="34" y="0"/>
                  </a:moveTo>
                  <a:cubicBezTo>
                    <a:pt x="24" y="0"/>
                    <a:pt x="11" y="0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0">
                <a:solidFill>
                  <a:srgbClr val="000000"/>
                </a:solidFill>
                <a:latin typeface="Arial" panose="020B0604020202090204" pitchFamily="34" charset="0"/>
                <a:ea typeface="MS PGothic" pitchFamily="34" charset="-128"/>
              </a:endParaRPr>
            </a:p>
          </p:txBody>
        </p:sp>
        <p:sp>
          <p:nvSpPr>
            <p:cNvPr id="15" name="Freeform 28"/>
            <p:cNvSpPr/>
            <p:nvPr userDrawn="1"/>
          </p:nvSpPr>
          <p:spPr bwMode="auto">
            <a:xfrm>
              <a:off x="6367606" y="5766911"/>
              <a:ext cx="165207" cy="281801"/>
            </a:xfrm>
            <a:custGeom>
              <a:avLst/>
              <a:gdLst/>
              <a:ahLst/>
              <a:cxnLst>
                <a:cxn ang="0">
                  <a:pos x="0" y="67"/>
                </a:cxn>
                <a:cxn ang="0">
                  <a:pos x="21" y="52"/>
                </a:cxn>
                <a:cxn ang="0">
                  <a:pos x="9" y="27"/>
                </a:cxn>
                <a:cxn ang="0">
                  <a:pos x="31" y="0"/>
                </a:cxn>
                <a:cxn ang="0">
                  <a:pos x="54" y="27"/>
                </a:cxn>
                <a:cxn ang="0">
                  <a:pos x="41" y="52"/>
                </a:cxn>
                <a:cxn ang="0">
                  <a:pos x="76" y="122"/>
                </a:cxn>
                <a:cxn ang="0">
                  <a:pos x="11" y="126"/>
                </a:cxn>
              </a:cxnLst>
              <a:rect l="0" t="0" r="r" b="b"/>
              <a:pathLst>
                <a:path w="76" h="128">
                  <a:moveTo>
                    <a:pt x="0" y="67"/>
                  </a:moveTo>
                  <a:cubicBezTo>
                    <a:pt x="5" y="59"/>
                    <a:pt x="12" y="54"/>
                    <a:pt x="21" y="52"/>
                  </a:cubicBezTo>
                  <a:cubicBezTo>
                    <a:pt x="16" y="46"/>
                    <a:pt x="9" y="36"/>
                    <a:pt x="9" y="27"/>
                  </a:cubicBezTo>
                  <a:cubicBezTo>
                    <a:pt x="9" y="11"/>
                    <a:pt x="19" y="0"/>
                    <a:pt x="31" y="0"/>
                  </a:cubicBezTo>
                  <a:cubicBezTo>
                    <a:pt x="44" y="0"/>
                    <a:pt x="54" y="11"/>
                    <a:pt x="54" y="27"/>
                  </a:cubicBezTo>
                  <a:cubicBezTo>
                    <a:pt x="54" y="36"/>
                    <a:pt x="47" y="46"/>
                    <a:pt x="41" y="52"/>
                  </a:cubicBezTo>
                  <a:cubicBezTo>
                    <a:pt x="67" y="59"/>
                    <a:pt x="76" y="88"/>
                    <a:pt x="76" y="122"/>
                  </a:cubicBezTo>
                  <a:cubicBezTo>
                    <a:pt x="76" y="126"/>
                    <a:pt x="37" y="128"/>
                    <a:pt x="11" y="126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0">
                <a:solidFill>
                  <a:srgbClr val="000000"/>
                </a:solidFill>
                <a:latin typeface="Arial" panose="020B0604020202090204" pitchFamily="34" charset="0"/>
                <a:ea typeface="MS PGothic" pitchFamily="34" charset="-128"/>
              </a:endParaRPr>
            </a:p>
          </p:txBody>
        </p:sp>
        <p:grpSp>
          <p:nvGrpSpPr>
            <p:cNvPr id="3" name="Group 76"/>
            <p:cNvGrpSpPr/>
            <p:nvPr userDrawn="1"/>
          </p:nvGrpSpPr>
          <p:grpSpPr bwMode="auto">
            <a:xfrm>
              <a:off x="6200810" y="5879315"/>
              <a:ext cx="235102" cy="292883"/>
              <a:chOff x="6200810" y="5879315"/>
              <a:chExt cx="235102" cy="292883"/>
            </a:xfrm>
          </p:grpSpPr>
          <p:sp>
            <p:nvSpPr>
              <p:cNvPr id="17" name="Freeform 24"/>
              <p:cNvSpPr/>
              <p:nvPr userDrawn="1"/>
            </p:nvSpPr>
            <p:spPr bwMode="auto">
              <a:xfrm>
                <a:off x="6259586" y="5880898"/>
                <a:ext cx="38125" cy="63326"/>
              </a:xfrm>
              <a:custGeom>
                <a:avLst/>
                <a:gdLst/>
                <a:ahLst/>
                <a:cxnLst>
                  <a:cxn ang="0">
                    <a:pos x="0" y="29"/>
                  </a:cxn>
                  <a:cxn ang="0">
                    <a:pos x="18" y="0"/>
                  </a:cxn>
                </a:cxnLst>
                <a:rect l="0" t="0" r="r" b="b"/>
                <a:pathLst>
                  <a:path w="18" h="29">
                    <a:moveTo>
                      <a:pt x="0" y="29"/>
                    </a:moveTo>
                    <a:cubicBezTo>
                      <a:pt x="1" y="15"/>
                      <a:pt x="8" y="4"/>
                      <a:pt x="18" y="0"/>
                    </a:cubicBezTo>
                  </a:path>
                </a:pathLst>
              </a:custGeom>
              <a:noFill/>
              <a:ln w="19050" cap="rnd">
                <a:solidFill>
                  <a:schemeClr val="bg1"/>
                </a:solidFill>
                <a:prstDash val="solid"/>
                <a:round/>
              </a:ln>
            </p:spPr>
            <p:txBody>
              <a:bodyPr/>
              <a:lstStyle/>
              <a:p>
                <a:pPr defTabSz="4318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0">
                  <a:solidFill>
                    <a:srgbClr val="000000"/>
                  </a:solidFill>
                  <a:latin typeface="Arial" panose="020B0604020202090204" pitchFamily="34" charset="0"/>
                  <a:ea typeface="MS PGothic" pitchFamily="34" charset="-128"/>
                </a:endParaRPr>
              </a:p>
            </p:txBody>
          </p:sp>
          <p:sp>
            <p:nvSpPr>
              <p:cNvPr id="18" name="Freeform 25"/>
              <p:cNvSpPr/>
              <p:nvPr userDrawn="1"/>
            </p:nvSpPr>
            <p:spPr bwMode="auto">
              <a:xfrm>
                <a:off x="6200810" y="5944224"/>
                <a:ext cx="90547" cy="227974"/>
              </a:xfrm>
              <a:custGeom>
                <a:avLst/>
                <a:gdLst>
                  <a:gd name="connsiteX0" fmla="*/ 6429 w 10000"/>
                  <a:gd name="connsiteY0" fmla="*/ 0 h 8863"/>
                  <a:gd name="connsiteX1" fmla="*/ 6429 w 10000"/>
                  <a:gd name="connsiteY1" fmla="*/ 171 h 8863"/>
                  <a:gd name="connsiteX2" fmla="*/ 10000 w 10000"/>
                  <a:gd name="connsiteY2" fmla="*/ 2735 h 8863"/>
                  <a:gd name="connsiteX3" fmla="*/ 0 w 10000"/>
                  <a:gd name="connsiteY3" fmla="*/ 8863 h 8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000" h="8863">
                    <a:moveTo>
                      <a:pt x="6429" y="0"/>
                    </a:moveTo>
                    <a:lnTo>
                      <a:pt x="6429" y="171"/>
                    </a:lnTo>
                    <a:cubicBezTo>
                      <a:pt x="6429" y="1197"/>
                      <a:pt x="8333" y="2222"/>
                      <a:pt x="10000" y="2735"/>
                    </a:cubicBezTo>
                    <a:cubicBezTo>
                      <a:pt x="2381" y="3504"/>
                      <a:pt x="0" y="5359"/>
                      <a:pt x="0" y="8863"/>
                    </a:cubicBezTo>
                  </a:path>
                </a:pathLst>
              </a:custGeom>
              <a:noFill/>
              <a:ln w="19050" cap="rnd">
                <a:solidFill>
                  <a:schemeClr val="bg1"/>
                </a:solidFill>
                <a:prstDash val="solid"/>
                <a:round/>
              </a:ln>
            </p:spPr>
            <p:txBody>
              <a:bodyPr/>
              <a:lstStyle/>
              <a:p>
                <a:pPr defTabSz="4318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0">
                  <a:solidFill>
                    <a:srgbClr val="000000"/>
                  </a:solidFill>
                  <a:latin typeface="Arial" panose="020B0604020202090204" pitchFamily="34" charset="0"/>
                  <a:ea typeface="MS PGothic" pitchFamily="34" charset="-128"/>
                </a:endParaRPr>
              </a:p>
            </p:txBody>
          </p:sp>
          <p:sp>
            <p:nvSpPr>
              <p:cNvPr id="19" name="Freeform 26"/>
              <p:cNvSpPr/>
              <p:nvPr userDrawn="1"/>
            </p:nvSpPr>
            <p:spPr bwMode="auto">
              <a:xfrm>
                <a:off x="6391433" y="6042379"/>
                <a:ext cx="44479" cy="12190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0" y="55"/>
                  </a:cxn>
                </a:cxnLst>
                <a:rect l="0" t="0" r="r" b="b"/>
                <a:pathLst>
                  <a:path w="20" h="55">
                    <a:moveTo>
                      <a:pt x="0" y="0"/>
                    </a:moveTo>
                    <a:cubicBezTo>
                      <a:pt x="12" y="13"/>
                      <a:pt x="18" y="32"/>
                      <a:pt x="20" y="55"/>
                    </a:cubicBezTo>
                  </a:path>
                </a:pathLst>
              </a:custGeom>
              <a:noFill/>
              <a:ln w="19050" cap="rnd">
                <a:solidFill>
                  <a:schemeClr val="bg1"/>
                </a:solidFill>
                <a:prstDash val="solid"/>
                <a:round/>
              </a:ln>
            </p:spPr>
            <p:txBody>
              <a:bodyPr/>
              <a:lstStyle/>
              <a:p>
                <a:pPr defTabSz="4318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0">
                  <a:solidFill>
                    <a:srgbClr val="000000"/>
                  </a:solidFill>
                  <a:latin typeface="Arial" panose="020B0604020202090204" pitchFamily="34" charset="0"/>
                  <a:ea typeface="MS PGothic" pitchFamily="34" charset="-128"/>
                </a:endParaRPr>
              </a:p>
            </p:txBody>
          </p:sp>
          <p:sp>
            <p:nvSpPr>
              <p:cNvPr id="20" name="Freeform 27"/>
              <p:cNvSpPr/>
              <p:nvPr userDrawn="1"/>
            </p:nvSpPr>
            <p:spPr bwMode="auto">
              <a:xfrm>
                <a:off x="6297711" y="5879314"/>
                <a:ext cx="69895" cy="34829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9" y="0"/>
                  </a:cxn>
                  <a:cxn ang="0">
                    <a:pos x="32" y="16"/>
                  </a:cxn>
                </a:cxnLst>
                <a:rect l="0" t="0" r="r" b="b"/>
                <a:pathLst>
                  <a:path w="32" h="16">
                    <a:moveTo>
                      <a:pt x="0" y="1"/>
                    </a:moveTo>
                    <a:cubicBezTo>
                      <a:pt x="3" y="0"/>
                      <a:pt x="6" y="0"/>
                      <a:pt x="9" y="0"/>
                    </a:cubicBezTo>
                    <a:cubicBezTo>
                      <a:pt x="19" y="0"/>
                      <a:pt x="28" y="6"/>
                      <a:pt x="32" y="16"/>
                    </a:cubicBezTo>
                  </a:path>
                </a:pathLst>
              </a:custGeom>
              <a:noFill/>
              <a:ln w="19050" cap="rnd">
                <a:solidFill>
                  <a:schemeClr val="bg1"/>
                </a:solidFill>
                <a:prstDash val="solid"/>
                <a:round/>
              </a:ln>
            </p:spPr>
            <p:txBody>
              <a:bodyPr/>
              <a:lstStyle/>
              <a:p>
                <a:pPr defTabSz="4318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0">
                  <a:solidFill>
                    <a:srgbClr val="000000"/>
                  </a:solidFill>
                  <a:latin typeface="Arial" panose="020B0604020202090204" pitchFamily="34" charset="0"/>
                  <a:ea typeface="MS PGothic" pitchFamily="34" charset="-128"/>
                </a:endParaRPr>
              </a:p>
            </p:txBody>
          </p:sp>
          <p:sp>
            <p:nvSpPr>
              <p:cNvPr id="21" name="Freeform 28"/>
              <p:cNvSpPr/>
              <p:nvPr userDrawn="1"/>
            </p:nvSpPr>
            <p:spPr bwMode="auto">
              <a:xfrm>
                <a:off x="6343777" y="5914143"/>
                <a:ext cx="47656" cy="128236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5" y="16"/>
                  </a:cxn>
                  <a:cxn ang="0">
                    <a:pos x="0" y="46"/>
                  </a:cxn>
                  <a:cxn ang="0">
                    <a:pos x="22" y="59"/>
                  </a:cxn>
                </a:cxnLst>
                <a:rect l="0" t="0" r="r" b="b"/>
                <a:pathLst>
                  <a:path w="22" h="59">
                    <a:moveTo>
                      <a:pt x="11" y="0"/>
                    </a:moveTo>
                    <a:cubicBezTo>
                      <a:pt x="13" y="4"/>
                      <a:pt x="15" y="10"/>
                      <a:pt x="15" y="16"/>
                    </a:cubicBezTo>
                    <a:cubicBezTo>
                      <a:pt x="15" y="28"/>
                      <a:pt x="7" y="40"/>
                      <a:pt x="0" y="46"/>
                    </a:cubicBezTo>
                    <a:cubicBezTo>
                      <a:pt x="9" y="49"/>
                      <a:pt x="16" y="53"/>
                      <a:pt x="22" y="59"/>
                    </a:cubicBezTo>
                  </a:path>
                </a:pathLst>
              </a:custGeom>
              <a:noFill/>
              <a:ln w="19050" cap="rnd">
                <a:solidFill>
                  <a:schemeClr val="bg1"/>
                </a:solidFill>
                <a:prstDash val="solid"/>
                <a:round/>
              </a:ln>
            </p:spPr>
            <p:txBody>
              <a:bodyPr/>
              <a:lstStyle/>
              <a:p>
                <a:pPr defTabSz="4318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0">
                  <a:solidFill>
                    <a:srgbClr val="000000"/>
                  </a:solidFill>
                  <a:latin typeface="Arial" panose="020B0604020202090204" pitchFamily="34" charset="0"/>
                  <a:ea typeface="MS PGothic" pitchFamily="34" charset="-128"/>
                </a:endParaRPr>
              </a:p>
            </p:txBody>
          </p:sp>
        </p:grpSp>
      </p:grpSp>
      <p:sp>
        <p:nvSpPr>
          <p:cNvPr id="22" name="Line 65"/>
          <p:cNvSpPr>
            <a:spLocks noChangeShapeType="1"/>
          </p:cNvSpPr>
          <p:nvPr userDrawn="1"/>
        </p:nvSpPr>
        <p:spPr bwMode="auto">
          <a:xfrm>
            <a:off x="10033807" y="5643152"/>
            <a:ext cx="352063" cy="0"/>
          </a:xfrm>
          <a:prstGeom prst="line">
            <a:avLst/>
          </a:prstGeom>
          <a:noFill/>
          <a:ln w="19050" cap="rnd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700">
              <a:solidFill>
                <a:srgbClr val="000000"/>
              </a:solidFill>
              <a:latin typeface="Arial" panose="020B0604020202090204" pitchFamily="34" charset="0"/>
              <a:ea typeface="MS PGothic" pitchFamily="34" charset="-128"/>
            </a:endParaRPr>
          </a:p>
        </p:txBody>
      </p:sp>
      <p:sp>
        <p:nvSpPr>
          <p:cNvPr id="23" name="Line 66"/>
          <p:cNvSpPr>
            <a:spLocks noChangeShapeType="1"/>
          </p:cNvSpPr>
          <p:nvPr userDrawn="1"/>
        </p:nvSpPr>
        <p:spPr bwMode="auto">
          <a:xfrm>
            <a:off x="8469526" y="5713655"/>
            <a:ext cx="412074" cy="0"/>
          </a:xfrm>
          <a:prstGeom prst="line">
            <a:avLst/>
          </a:prstGeom>
          <a:noFill/>
          <a:ln w="19050" cap="rnd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700">
              <a:solidFill>
                <a:srgbClr val="000000"/>
              </a:solidFill>
              <a:latin typeface="Arial" panose="020B0604020202090204" pitchFamily="34" charset="0"/>
              <a:ea typeface="MS PGothic" pitchFamily="34" charset="-128"/>
            </a:endParaRPr>
          </a:p>
        </p:txBody>
      </p:sp>
      <p:grpSp>
        <p:nvGrpSpPr>
          <p:cNvPr id="7" name="Group 83"/>
          <p:cNvGrpSpPr/>
          <p:nvPr userDrawn="1"/>
        </p:nvGrpSpPr>
        <p:grpSpPr bwMode="auto">
          <a:xfrm>
            <a:off x="8875599" y="5433147"/>
            <a:ext cx="564102" cy="427512"/>
            <a:chOff x="6773882" y="5879779"/>
            <a:chExt cx="447482" cy="451477"/>
          </a:xfrm>
        </p:grpSpPr>
        <p:sp>
          <p:nvSpPr>
            <p:cNvPr id="25" name="Freeform 56"/>
            <p:cNvSpPr/>
            <p:nvPr userDrawn="1"/>
          </p:nvSpPr>
          <p:spPr bwMode="auto">
            <a:xfrm>
              <a:off x="6773882" y="5960570"/>
              <a:ext cx="52364" cy="209105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0" y="66"/>
                </a:cxn>
                <a:cxn ang="0">
                  <a:pos x="4" y="95"/>
                </a:cxn>
              </a:cxnLst>
              <a:rect l="0" t="0" r="r" b="b"/>
              <a:pathLst>
                <a:path w="24" h="95">
                  <a:moveTo>
                    <a:pt x="24" y="0"/>
                  </a:moveTo>
                  <a:cubicBezTo>
                    <a:pt x="9" y="18"/>
                    <a:pt x="0" y="41"/>
                    <a:pt x="0" y="66"/>
                  </a:cubicBezTo>
                  <a:cubicBezTo>
                    <a:pt x="0" y="76"/>
                    <a:pt x="1" y="86"/>
                    <a:pt x="4" y="95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0">
                <a:solidFill>
                  <a:srgbClr val="000000"/>
                </a:solidFill>
                <a:latin typeface="Arial" panose="020B0604020202090204" pitchFamily="34" charset="0"/>
                <a:ea typeface="MS PGothic" pitchFamily="34" charset="-128"/>
              </a:endParaRPr>
            </a:p>
          </p:txBody>
        </p:sp>
        <p:sp>
          <p:nvSpPr>
            <p:cNvPr id="26" name="Freeform 57"/>
            <p:cNvSpPr/>
            <p:nvPr userDrawn="1"/>
          </p:nvSpPr>
          <p:spPr bwMode="auto">
            <a:xfrm>
              <a:off x="6826246" y="5879779"/>
              <a:ext cx="342752" cy="80791"/>
            </a:xfrm>
            <a:custGeom>
              <a:avLst/>
              <a:gdLst/>
              <a:ahLst/>
              <a:cxnLst>
                <a:cxn ang="0">
                  <a:pos x="0" y="37"/>
                </a:cxn>
                <a:cxn ang="0">
                  <a:pos x="79" y="0"/>
                </a:cxn>
                <a:cxn ang="0">
                  <a:pos x="158" y="37"/>
                </a:cxn>
              </a:cxnLst>
              <a:rect l="0" t="0" r="r" b="b"/>
              <a:pathLst>
                <a:path w="158" h="37">
                  <a:moveTo>
                    <a:pt x="0" y="37"/>
                  </a:moveTo>
                  <a:cubicBezTo>
                    <a:pt x="19" y="15"/>
                    <a:pt x="47" y="0"/>
                    <a:pt x="79" y="0"/>
                  </a:cubicBezTo>
                  <a:cubicBezTo>
                    <a:pt x="111" y="0"/>
                    <a:pt x="139" y="15"/>
                    <a:pt x="158" y="37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0">
                <a:solidFill>
                  <a:srgbClr val="000000"/>
                </a:solidFill>
                <a:latin typeface="Arial" panose="020B0604020202090204" pitchFamily="34" charset="0"/>
                <a:ea typeface="MS PGothic" pitchFamily="34" charset="-128"/>
              </a:endParaRPr>
            </a:p>
          </p:txBody>
        </p:sp>
        <p:sp>
          <p:nvSpPr>
            <p:cNvPr id="27" name="Freeform 58"/>
            <p:cNvSpPr/>
            <p:nvPr userDrawn="1"/>
          </p:nvSpPr>
          <p:spPr bwMode="auto">
            <a:xfrm>
              <a:off x="6826246" y="5960570"/>
              <a:ext cx="342752" cy="3960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79" y="18"/>
                </a:cxn>
                <a:cxn ang="0">
                  <a:pos x="115" y="15"/>
                </a:cxn>
                <a:cxn ang="0">
                  <a:pos x="137" y="9"/>
                </a:cxn>
                <a:cxn ang="0">
                  <a:pos x="158" y="0"/>
                </a:cxn>
              </a:cxnLst>
              <a:rect l="0" t="0" r="r" b="b"/>
              <a:pathLst>
                <a:path w="158" h="18">
                  <a:moveTo>
                    <a:pt x="0" y="0"/>
                  </a:moveTo>
                  <a:cubicBezTo>
                    <a:pt x="19" y="11"/>
                    <a:pt x="47" y="18"/>
                    <a:pt x="79" y="18"/>
                  </a:cubicBezTo>
                  <a:cubicBezTo>
                    <a:pt x="91" y="18"/>
                    <a:pt x="103" y="17"/>
                    <a:pt x="115" y="15"/>
                  </a:cubicBezTo>
                  <a:cubicBezTo>
                    <a:pt x="137" y="9"/>
                    <a:pt x="137" y="9"/>
                    <a:pt x="137" y="9"/>
                  </a:cubicBezTo>
                  <a:cubicBezTo>
                    <a:pt x="145" y="7"/>
                    <a:pt x="151" y="4"/>
                    <a:pt x="158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0">
                <a:solidFill>
                  <a:srgbClr val="000000"/>
                </a:solidFill>
                <a:latin typeface="Arial" panose="020B0604020202090204" pitchFamily="34" charset="0"/>
                <a:ea typeface="MS PGothic" pitchFamily="34" charset="-128"/>
              </a:endParaRPr>
            </a:p>
          </p:txBody>
        </p:sp>
        <p:sp>
          <p:nvSpPr>
            <p:cNvPr id="28" name="Freeform 59"/>
            <p:cNvSpPr/>
            <p:nvPr userDrawn="1"/>
          </p:nvSpPr>
          <p:spPr bwMode="auto">
            <a:xfrm>
              <a:off x="6826246" y="6210862"/>
              <a:ext cx="342752" cy="39603"/>
            </a:xfrm>
            <a:custGeom>
              <a:avLst/>
              <a:gdLst/>
              <a:ahLst/>
              <a:cxnLst>
                <a:cxn ang="0">
                  <a:pos x="158" y="18"/>
                </a:cxn>
                <a:cxn ang="0">
                  <a:pos x="79" y="0"/>
                </a:cxn>
                <a:cxn ang="0">
                  <a:pos x="0" y="18"/>
                </a:cxn>
              </a:cxnLst>
              <a:rect l="0" t="0" r="r" b="b"/>
              <a:pathLst>
                <a:path w="158" h="18">
                  <a:moveTo>
                    <a:pt x="158" y="18"/>
                  </a:moveTo>
                  <a:cubicBezTo>
                    <a:pt x="139" y="7"/>
                    <a:pt x="111" y="0"/>
                    <a:pt x="79" y="0"/>
                  </a:cubicBezTo>
                  <a:cubicBezTo>
                    <a:pt x="47" y="0"/>
                    <a:pt x="19" y="7"/>
                    <a:pt x="0" y="18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0">
                <a:solidFill>
                  <a:srgbClr val="000000"/>
                </a:solidFill>
                <a:latin typeface="Arial" panose="020B0604020202090204" pitchFamily="34" charset="0"/>
                <a:ea typeface="MS PGothic" pitchFamily="34" charset="-128"/>
              </a:endParaRPr>
            </a:p>
          </p:txBody>
        </p:sp>
        <p:sp>
          <p:nvSpPr>
            <p:cNvPr id="29" name="Line 61"/>
            <p:cNvSpPr>
              <a:spLocks noChangeShapeType="1"/>
            </p:cNvSpPr>
            <p:nvPr userDrawn="1"/>
          </p:nvSpPr>
          <p:spPr bwMode="auto">
            <a:xfrm>
              <a:off x="7081724" y="6106310"/>
              <a:ext cx="139640" cy="0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0">
                <a:solidFill>
                  <a:srgbClr val="000000"/>
                </a:solidFill>
                <a:latin typeface="Arial" panose="020B0604020202090204" pitchFamily="34" charset="0"/>
                <a:ea typeface="MS PGothic" pitchFamily="34" charset="-128"/>
              </a:endParaRPr>
            </a:p>
          </p:txBody>
        </p:sp>
        <p:sp>
          <p:nvSpPr>
            <p:cNvPr id="30" name="Freeform 55"/>
            <p:cNvSpPr/>
            <p:nvPr userDrawn="1"/>
          </p:nvSpPr>
          <p:spPr bwMode="auto">
            <a:xfrm>
              <a:off x="6826246" y="5960570"/>
              <a:ext cx="395118" cy="370686"/>
            </a:xfrm>
            <a:custGeom>
              <a:avLst/>
              <a:gdLst/>
              <a:ahLst/>
              <a:cxnLst>
                <a:cxn ang="0">
                  <a:pos x="0" y="133"/>
                </a:cxn>
                <a:cxn ang="0">
                  <a:pos x="79" y="169"/>
                </a:cxn>
                <a:cxn ang="0">
                  <a:pos x="182" y="66"/>
                </a:cxn>
                <a:cxn ang="0">
                  <a:pos x="158" y="0"/>
                </a:cxn>
              </a:cxnLst>
              <a:rect l="0" t="0" r="r" b="b"/>
              <a:pathLst>
                <a:path w="182" h="169">
                  <a:moveTo>
                    <a:pt x="0" y="133"/>
                  </a:moveTo>
                  <a:cubicBezTo>
                    <a:pt x="19" y="155"/>
                    <a:pt x="47" y="169"/>
                    <a:pt x="79" y="169"/>
                  </a:cubicBezTo>
                  <a:cubicBezTo>
                    <a:pt x="136" y="169"/>
                    <a:pt x="182" y="123"/>
                    <a:pt x="182" y="66"/>
                  </a:cubicBezTo>
                  <a:cubicBezTo>
                    <a:pt x="182" y="41"/>
                    <a:pt x="173" y="18"/>
                    <a:pt x="158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0">
                <a:solidFill>
                  <a:srgbClr val="000000"/>
                </a:solidFill>
                <a:latin typeface="Arial" panose="020B0604020202090204" pitchFamily="34" charset="0"/>
                <a:ea typeface="MS PGothic" pitchFamily="34" charset="-128"/>
              </a:endParaRPr>
            </a:p>
          </p:txBody>
        </p:sp>
        <p:sp>
          <p:nvSpPr>
            <p:cNvPr id="31" name="Freeform 60"/>
            <p:cNvSpPr/>
            <p:nvPr userDrawn="1"/>
          </p:nvSpPr>
          <p:spPr bwMode="auto">
            <a:xfrm>
              <a:off x="6875438" y="5879779"/>
              <a:ext cx="244370" cy="451477"/>
            </a:xfrm>
            <a:custGeom>
              <a:avLst/>
              <a:gdLst/>
              <a:ahLst/>
              <a:cxnLst>
                <a:cxn ang="0">
                  <a:pos x="4" y="66"/>
                </a:cxn>
                <a:cxn ang="0">
                  <a:pos x="56" y="0"/>
                </a:cxn>
                <a:cxn ang="0">
                  <a:pos x="99" y="38"/>
                </a:cxn>
                <a:cxn ang="0">
                  <a:pos x="107" y="60"/>
                </a:cxn>
                <a:cxn ang="0">
                  <a:pos x="112" y="103"/>
                </a:cxn>
                <a:cxn ang="0">
                  <a:pos x="56" y="206"/>
                </a:cxn>
                <a:cxn ang="0">
                  <a:pos x="0" y="103"/>
                </a:cxn>
                <a:cxn ang="0">
                  <a:pos x="1" y="91"/>
                </a:cxn>
                <a:cxn ang="0">
                  <a:pos x="4" y="66"/>
                </a:cxn>
              </a:cxnLst>
              <a:rect l="0" t="0" r="r" b="b"/>
              <a:pathLst>
                <a:path w="112" h="206">
                  <a:moveTo>
                    <a:pt x="4" y="66"/>
                  </a:moveTo>
                  <a:cubicBezTo>
                    <a:pt x="11" y="27"/>
                    <a:pt x="32" y="0"/>
                    <a:pt x="56" y="0"/>
                  </a:cubicBezTo>
                  <a:cubicBezTo>
                    <a:pt x="73" y="0"/>
                    <a:pt x="89" y="15"/>
                    <a:pt x="99" y="38"/>
                  </a:cubicBezTo>
                  <a:cubicBezTo>
                    <a:pt x="107" y="60"/>
                    <a:pt x="107" y="60"/>
                    <a:pt x="107" y="60"/>
                  </a:cubicBezTo>
                  <a:cubicBezTo>
                    <a:pt x="110" y="73"/>
                    <a:pt x="112" y="87"/>
                    <a:pt x="112" y="103"/>
                  </a:cubicBezTo>
                  <a:cubicBezTo>
                    <a:pt x="112" y="160"/>
                    <a:pt x="87" y="206"/>
                    <a:pt x="56" y="206"/>
                  </a:cubicBezTo>
                  <a:cubicBezTo>
                    <a:pt x="25" y="206"/>
                    <a:pt x="0" y="160"/>
                    <a:pt x="0" y="103"/>
                  </a:cubicBezTo>
                  <a:cubicBezTo>
                    <a:pt x="0" y="99"/>
                    <a:pt x="0" y="95"/>
                    <a:pt x="1" y="91"/>
                  </a:cubicBezTo>
                  <a:lnTo>
                    <a:pt x="4" y="66"/>
                  </a:ln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0">
                <a:solidFill>
                  <a:srgbClr val="000000"/>
                </a:solidFill>
                <a:latin typeface="Arial" panose="020B0604020202090204" pitchFamily="34" charset="0"/>
                <a:ea typeface="MS PGothic" pitchFamily="34" charset="-128"/>
              </a:endParaRPr>
            </a:p>
          </p:txBody>
        </p:sp>
        <p:sp>
          <p:nvSpPr>
            <p:cNvPr id="32" name="Line 64"/>
            <p:cNvSpPr>
              <a:spLocks noChangeShapeType="1"/>
            </p:cNvSpPr>
            <p:nvPr userDrawn="1"/>
          </p:nvSpPr>
          <p:spPr bwMode="auto">
            <a:xfrm flipV="1">
              <a:off x="6997623" y="5879779"/>
              <a:ext cx="1587" cy="451477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0">
                <a:solidFill>
                  <a:srgbClr val="000000"/>
                </a:solidFill>
                <a:latin typeface="Arial" panose="020B0604020202090204" pitchFamily="34" charset="0"/>
                <a:ea typeface="MS PGothic" pitchFamily="34" charset="-128"/>
              </a:endParaRPr>
            </a:p>
          </p:txBody>
        </p:sp>
        <p:sp>
          <p:nvSpPr>
            <p:cNvPr id="33" name="Freeform 63"/>
            <p:cNvSpPr/>
            <p:nvPr userDrawn="1"/>
          </p:nvSpPr>
          <p:spPr bwMode="auto">
            <a:xfrm>
              <a:off x="6775468" y="6106310"/>
              <a:ext cx="307842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26" y="0"/>
                </a:cxn>
                <a:cxn ang="0">
                  <a:pos x="386" y="0"/>
                </a:cxn>
              </a:cxnLst>
              <a:rect l="0" t="0" r="r" b="b"/>
              <a:pathLst>
                <a:path w="386">
                  <a:moveTo>
                    <a:pt x="0" y="0"/>
                  </a:moveTo>
                  <a:lnTo>
                    <a:pt x="326" y="0"/>
                  </a:lnTo>
                  <a:lnTo>
                    <a:pt x="386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0">
                <a:solidFill>
                  <a:srgbClr val="000000"/>
                </a:solidFill>
                <a:latin typeface="Arial" panose="020B0604020202090204" pitchFamily="34" charset="0"/>
                <a:ea typeface="MS PGothic" pitchFamily="34" charset="-128"/>
              </a:endParaRPr>
            </a:p>
          </p:txBody>
        </p:sp>
      </p:grpSp>
      <p:sp>
        <p:nvSpPr>
          <p:cNvPr id="34" name="Line 65"/>
          <p:cNvSpPr>
            <a:spLocks noChangeShapeType="1"/>
          </p:cNvSpPr>
          <p:nvPr userDrawn="1"/>
        </p:nvSpPr>
        <p:spPr bwMode="auto">
          <a:xfrm>
            <a:off x="9429699" y="5646152"/>
            <a:ext cx="284051" cy="0"/>
          </a:xfrm>
          <a:prstGeom prst="line">
            <a:avLst/>
          </a:prstGeom>
          <a:noFill/>
          <a:ln w="19050" cap="rnd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700">
              <a:solidFill>
                <a:srgbClr val="000000"/>
              </a:solidFill>
              <a:latin typeface="Arial" panose="020B0604020202090204" pitchFamily="34" charset="0"/>
              <a:ea typeface="MS PGothic" pitchFamily="34" charset="-128"/>
            </a:endParaRPr>
          </a:p>
        </p:txBody>
      </p:sp>
      <p:grpSp>
        <p:nvGrpSpPr>
          <p:cNvPr id="12" name="Group 94"/>
          <p:cNvGrpSpPr/>
          <p:nvPr userDrawn="1"/>
        </p:nvGrpSpPr>
        <p:grpSpPr bwMode="auto">
          <a:xfrm>
            <a:off x="9705748" y="5211141"/>
            <a:ext cx="344062" cy="429012"/>
            <a:chOff x="7764121" y="5644568"/>
            <a:chExt cx="271804" cy="453811"/>
          </a:xfrm>
        </p:grpSpPr>
        <p:sp>
          <p:nvSpPr>
            <p:cNvPr id="36" name="Freeform 49"/>
            <p:cNvSpPr/>
            <p:nvPr userDrawn="1"/>
          </p:nvSpPr>
          <p:spPr>
            <a:xfrm>
              <a:off x="7764121" y="5644568"/>
              <a:ext cx="271804" cy="171369"/>
            </a:xfrm>
            <a:custGeom>
              <a:avLst/>
              <a:gdLst>
                <a:gd name="connsiteX0" fmla="*/ 844550 w 844550"/>
                <a:gd name="connsiteY0" fmla="*/ 234950 h 425450"/>
                <a:gd name="connsiteX1" fmla="*/ 457200 w 844550"/>
                <a:gd name="connsiteY1" fmla="*/ 425450 h 425450"/>
                <a:gd name="connsiteX2" fmla="*/ 0 w 844550"/>
                <a:gd name="connsiteY2" fmla="*/ 222250 h 425450"/>
                <a:gd name="connsiteX3" fmla="*/ 463550 w 844550"/>
                <a:gd name="connsiteY3" fmla="*/ 0 h 425450"/>
                <a:gd name="connsiteX4" fmla="*/ 844550 w 844550"/>
                <a:gd name="connsiteY4" fmla="*/ 234950 h 425450"/>
                <a:gd name="connsiteX0-1" fmla="*/ 844550 w 935990"/>
                <a:gd name="connsiteY0-2" fmla="*/ 234950 h 425450"/>
                <a:gd name="connsiteX1-3" fmla="*/ 457200 w 935990"/>
                <a:gd name="connsiteY1-4" fmla="*/ 425450 h 425450"/>
                <a:gd name="connsiteX2-5" fmla="*/ 0 w 935990"/>
                <a:gd name="connsiteY2-6" fmla="*/ 222250 h 425450"/>
                <a:gd name="connsiteX3-7" fmla="*/ 463550 w 935990"/>
                <a:gd name="connsiteY3-8" fmla="*/ 0 h 425450"/>
                <a:gd name="connsiteX4-9" fmla="*/ 935990 w 935990"/>
                <a:gd name="connsiteY4-10" fmla="*/ 326390 h 425450"/>
                <a:gd name="connsiteX0-11" fmla="*/ 844550 w 885983"/>
                <a:gd name="connsiteY0-12" fmla="*/ 234950 h 425450"/>
                <a:gd name="connsiteX1-13" fmla="*/ 457200 w 885983"/>
                <a:gd name="connsiteY1-14" fmla="*/ 425450 h 425450"/>
                <a:gd name="connsiteX2-15" fmla="*/ 0 w 885983"/>
                <a:gd name="connsiteY2-16" fmla="*/ 222250 h 425450"/>
                <a:gd name="connsiteX3-17" fmla="*/ 463550 w 885983"/>
                <a:gd name="connsiteY3-18" fmla="*/ 0 h 425450"/>
                <a:gd name="connsiteX4-19" fmla="*/ 885983 w 885983"/>
                <a:gd name="connsiteY4-20" fmla="*/ 207327 h 425450"/>
                <a:gd name="connsiteX0-21" fmla="*/ 844550 w 883602"/>
                <a:gd name="connsiteY0-22" fmla="*/ 234950 h 595471"/>
                <a:gd name="connsiteX1-23" fmla="*/ 457200 w 883602"/>
                <a:gd name="connsiteY1-24" fmla="*/ 425450 h 595471"/>
                <a:gd name="connsiteX2-25" fmla="*/ 0 w 883602"/>
                <a:gd name="connsiteY2-26" fmla="*/ 222250 h 595471"/>
                <a:gd name="connsiteX3-27" fmla="*/ 463550 w 883602"/>
                <a:gd name="connsiteY3-28" fmla="*/ 0 h 595471"/>
                <a:gd name="connsiteX4-29" fmla="*/ 883602 w 883602"/>
                <a:gd name="connsiteY4-30" fmla="*/ 595471 h 595471"/>
                <a:gd name="connsiteX0-31" fmla="*/ 844550 w 946310"/>
                <a:gd name="connsiteY0-32" fmla="*/ 234950 h 595471"/>
                <a:gd name="connsiteX1-33" fmla="*/ 457200 w 946310"/>
                <a:gd name="connsiteY1-34" fmla="*/ 425450 h 595471"/>
                <a:gd name="connsiteX2-35" fmla="*/ 0 w 946310"/>
                <a:gd name="connsiteY2-36" fmla="*/ 222250 h 595471"/>
                <a:gd name="connsiteX3-37" fmla="*/ 463550 w 946310"/>
                <a:gd name="connsiteY3-38" fmla="*/ 0 h 595471"/>
                <a:gd name="connsiteX4-39" fmla="*/ 876301 w 946310"/>
                <a:gd name="connsiteY4-40" fmla="*/ 206375 h 595471"/>
                <a:gd name="connsiteX5" fmla="*/ 883602 w 946310"/>
                <a:gd name="connsiteY5" fmla="*/ 595471 h 595471"/>
                <a:gd name="connsiteX0-41" fmla="*/ 844550 w 946310"/>
                <a:gd name="connsiteY0-42" fmla="*/ 234950 h 595471"/>
                <a:gd name="connsiteX1-43" fmla="*/ 457200 w 946310"/>
                <a:gd name="connsiteY1-44" fmla="*/ 425450 h 595471"/>
                <a:gd name="connsiteX2-45" fmla="*/ 0 w 946310"/>
                <a:gd name="connsiteY2-46" fmla="*/ 222250 h 595471"/>
                <a:gd name="connsiteX3-47" fmla="*/ 463550 w 946310"/>
                <a:gd name="connsiteY3-48" fmla="*/ 0 h 595471"/>
                <a:gd name="connsiteX4-49" fmla="*/ 876301 w 946310"/>
                <a:gd name="connsiteY4-50" fmla="*/ 206375 h 595471"/>
                <a:gd name="connsiteX5-51" fmla="*/ 883602 w 946310"/>
                <a:gd name="connsiteY5-52" fmla="*/ 595471 h 595471"/>
                <a:gd name="connsiteX0-53" fmla="*/ 844550 w 946310"/>
                <a:gd name="connsiteY0-54" fmla="*/ 234950 h 595471"/>
                <a:gd name="connsiteX1-55" fmla="*/ 457200 w 946310"/>
                <a:gd name="connsiteY1-56" fmla="*/ 425450 h 595471"/>
                <a:gd name="connsiteX2-57" fmla="*/ 0 w 946310"/>
                <a:gd name="connsiteY2-58" fmla="*/ 222250 h 595471"/>
                <a:gd name="connsiteX3-59" fmla="*/ 463550 w 946310"/>
                <a:gd name="connsiteY3-60" fmla="*/ 0 h 595471"/>
                <a:gd name="connsiteX4-61" fmla="*/ 876301 w 946310"/>
                <a:gd name="connsiteY4-62" fmla="*/ 206375 h 595471"/>
                <a:gd name="connsiteX5-63" fmla="*/ 883602 w 946310"/>
                <a:gd name="connsiteY5-64" fmla="*/ 595471 h 595471"/>
                <a:gd name="connsiteX0-65" fmla="*/ 844550 w 946310"/>
                <a:gd name="connsiteY0-66" fmla="*/ 234950 h 595471"/>
                <a:gd name="connsiteX1-67" fmla="*/ 457200 w 946310"/>
                <a:gd name="connsiteY1-68" fmla="*/ 425450 h 595471"/>
                <a:gd name="connsiteX2-69" fmla="*/ 0 w 946310"/>
                <a:gd name="connsiteY2-70" fmla="*/ 222250 h 595471"/>
                <a:gd name="connsiteX3-71" fmla="*/ 463550 w 946310"/>
                <a:gd name="connsiteY3-72" fmla="*/ 0 h 595471"/>
                <a:gd name="connsiteX4-73" fmla="*/ 876301 w 946310"/>
                <a:gd name="connsiteY4-74" fmla="*/ 206375 h 595471"/>
                <a:gd name="connsiteX5-75" fmla="*/ 883602 w 946310"/>
                <a:gd name="connsiteY5-76" fmla="*/ 595471 h 595471"/>
                <a:gd name="connsiteX0-77" fmla="*/ 844550 w 946310"/>
                <a:gd name="connsiteY0-78" fmla="*/ 234950 h 595471"/>
                <a:gd name="connsiteX1-79" fmla="*/ 457200 w 946310"/>
                <a:gd name="connsiteY1-80" fmla="*/ 425450 h 595471"/>
                <a:gd name="connsiteX2-81" fmla="*/ 0 w 946310"/>
                <a:gd name="connsiteY2-82" fmla="*/ 222250 h 595471"/>
                <a:gd name="connsiteX3-83" fmla="*/ 463550 w 946310"/>
                <a:gd name="connsiteY3-84" fmla="*/ 0 h 595471"/>
                <a:gd name="connsiteX4-85" fmla="*/ 876301 w 946310"/>
                <a:gd name="connsiteY4-86" fmla="*/ 206375 h 595471"/>
                <a:gd name="connsiteX5-87" fmla="*/ 883602 w 946310"/>
                <a:gd name="connsiteY5-88" fmla="*/ 595471 h 595471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51" y="connsiteY5-52"/>
                </a:cxn>
              </a:cxnLst>
              <a:rect l="l" t="t" r="r" b="b"/>
              <a:pathLst>
                <a:path w="946310" h="595471">
                  <a:moveTo>
                    <a:pt x="844550" y="234950"/>
                  </a:moveTo>
                  <a:lnTo>
                    <a:pt x="457200" y="425450"/>
                  </a:lnTo>
                  <a:lnTo>
                    <a:pt x="0" y="222250"/>
                  </a:lnTo>
                  <a:lnTo>
                    <a:pt x="463550" y="0"/>
                  </a:lnTo>
                  <a:cubicBezTo>
                    <a:pt x="634604" y="85858"/>
                    <a:pt x="696755" y="119037"/>
                    <a:pt x="876301" y="206375"/>
                  </a:cubicBezTo>
                  <a:cubicBezTo>
                    <a:pt x="946310" y="305620"/>
                    <a:pt x="859763" y="554831"/>
                    <a:pt x="883602" y="595471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700">
                <a:solidFill>
                  <a:srgbClr val="000000"/>
                </a:solidFill>
                <a:latin typeface="Arial" panose="020B0604020202090204" pitchFamily="34" charset="0"/>
                <a:ea typeface="MS PGothic" pitchFamily="34" charset="-128"/>
              </a:endParaRPr>
            </a:p>
          </p:txBody>
        </p:sp>
        <p:grpSp>
          <p:nvGrpSpPr>
            <p:cNvPr id="16" name="Group 87"/>
            <p:cNvGrpSpPr/>
            <p:nvPr userDrawn="1"/>
          </p:nvGrpSpPr>
          <p:grpSpPr bwMode="auto">
            <a:xfrm>
              <a:off x="7809949" y="5733426"/>
              <a:ext cx="165926" cy="79338"/>
              <a:chOff x="8343349" y="5780967"/>
              <a:chExt cx="165926" cy="64990"/>
            </a:xfrm>
          </p:grpSpPr>
          <p:sp>
            <p:nvSpPr>
              <p:cNvPr id="43" name="Freeform 56"/>
              <p:cNvSpPr/>
              <p:nvPr userDrawn="1"/>
            </p:nvSpPr>
            <p:spPr>
              <a:xfrm>
                <a:off x="8343349" y="5780967"/>
                <a:ext cx="31605" cy="64990"/>
              </a:xfrm>
              <a:custGeom>
                <a:avLst/>
                <a:gdLst>
                  <a:gd name="connsiteX0" fmla="*/ 2381 w 52387"/>
                  <a:gd name="connsiteY0" fmla="*/ 0 h 216694"/>
                  <a:gd name="connsiteX1" fmla="*/ 0 w 52387"/>
                  <a:gd name="connsiteY1" fmla="*/ 188119 h 216694"/>
                  <a:gd name="connsiteX2" fmla="*/ 52387 w 52387"/>
                  <a:gd name="connsiteY2" fmla="*/ 216694 h 216694"/>
                  <a:gd name="connsiteX0-1" fmla="*/ 2381 w 52387"/>
                  <a:gd name="connsiteY0-2" fmla="*/ 0 h 216694"/>
                  <a:gd name="connsiteX1-3" fmla="*/ 0 w 52387"/>
                  <a:gd name="connsiteY1-4" fmla="*/ 159544 h 216694"/>
                  <a:gd name="connsiteX2-5" fmla="*/ 52387 w 52387"/>
                  <a:gd name="connsiteY2-6" fmla="*/ 216694 h 216694"/>
                  <a:gd name="connsiteX0-7" fmla="*/ 2381 w 97630"/>
                  <a:gd name="connsiteY0-8" fmla="*/ 0 h 178594"/>
                  <a:gd name="connsiteX1-9" fmla="*/ 0 w 97630"/>
                  <a:gd name="connsiteY1-10" fmla="*/ 159544 h 178594"/>
                  <a:gd name="connsiteX2-11" fmla="*/ 97630 w 97630"/>
                  <a:gd name="connsiteY2-12" fmla="*/ 178594 h 178594"/>
                  <a:gd name="connsiteX0-13" fmla="*/ 19050 w 114299"/>
                  <a:gd name="connsiteY0-14" fmla="*/ 0 h 178594"/>
                  <a:gd name="connsiteX1-15" fmla="*/ 14286 w 114299"/>
                  <a:gd name="connsiteY1-16" fmla="*/ 119062 h 178594"/>
                  <a:gd name="connsiteX2-17" fmla="*/ 16669 w 114299"/>
                  <a:gd name="connsiteY2-18" fmla="*/ 159544 h 178594"/>
                  <a:gd name="connsiteX3" fmla="*/ 114299 w 114299"/>
                  <a:gd name="connsiteY3" fmla="*/ 178594 h 178594"/>
                  <a:gd name="connsiteX0-19" fmla="*/ 19050 w 114299"/>
                  <a:gd name="connsiteY0-20" fmla="*/ 0 h 178594"/>
                  <a:gd name="connsiteX1-21" fmla="*/ 16669 w 114299"/>
                  <a:gd name="connsiteY1-22" fmla="*/ 85724 h 178594"/>
                  <a:gd name="connsiteX2-23" fmla="*/ 16669 w 114299"/>
                  <a:gd name="connsiteY2-24" fmla="*/ 159544 h 178594"/>
                  <a:gd name="connsiteX3-25" fmla="*/ 114299 w 114299"/>
                  <a:gd name="connsiteY3-26" fmla="*/ 178594 h 178594"/>
                  <a:gd name="connsiteX0-27" fmla="*/ 8334 w 103583"/>
                  <a:gd name="connsiteY0-28" fmla="*/ 0 h 178594"/>
                  <a:gd name="connsiteX1-29" fmla="*/ 5953 w 103583"/>
                  <a:gd name="connsiteY1-30" fmla="*/ 85724 h 178594"/>
                  <a:gd name="connsiteX2-31" fmla="*/ 44053 w 103583"/>
                  <a:gd name="connsiteY2-32" fmla="*/ 159544 h 178594"/>
                  <a:gd name="connsiteX3-33" fmla="*/ 103583 w 103583"/>
                  <a:gd name="connsiteY3-34" fmla="*/ 178594 h 178594"/>
                  <a:gd name="connsiteX0-35" fmla="*/ 8334 w 103583"/>
                  <a:gd name="connsiteY0-36" fmla="*/ 0 h 178594"/>
                  <a:gd name="connsiteX1-37" fmla="*/ 5953 w 103583"/>
                  <a:gd name="connsiteY1-38" fmla="*/ 66674 h 178594"/>
                  <a:gd name="connsiteX2-39" fmla="*/ 44053 w 103583"/>
                  <a:gd name="connsiteY2-40" fmla="*/ 159544 h 178594"/>
                  <a:gd name="connsiteX3-41" fmla="*/ 103583 w 103583"/>
                  <a:gd name="connsiteY3-42" fmla="*/ 178594 h 178594"/>
                  <a:gd name="connsiteX0-43" fmla="*/ 8334 w 103583"/>
                  <a:gd name="connsiteY0-44" fmla="*/ 0 h 178594"/>
                  <a:gd name="connsiteX1-45" fmla="*/ 5953 w 103583"/>
                  <a:gd name="connsiteY1-46" fmla="*/ 66674 h 178594"/>
                  <a:gd name="connsiteX2-47" fmla="*/ 44053 w 103583"/>
                  <a:gd name="connsiteY2-48" fmla="*/ 150019 h 178594"/>
                  <a:gd name="connsiteX3-49" fmla="*/ 103583 w 103583"/>
                  <a:gd name="connsiteY3-50" fmla="*/ 178594 h 178594"/>
                  <a:gd name="connsiteX0-51" fmla="*/ 8334 w 127395"/>
                  <a:gd name="connsiteY0-52" fmla="*/ 0 h 171450"/>
                  <a:gd name="connsiteX1-53" fmla="*/ 5953 w 127395"/>
                  <a:gd name="connsiteY1-54" fmla="*/ 66674 h 171450"/>
                  <a:gd name="connsiteX2-55" fmla="*/ 44053 w 127395"/>
                  <a:gd name="connsiteY2-56" fmla="*/ 150019 h 171450"/>
                  <a:gd name="connsiteX3-57" fmla="*/ 127395 w 127395"/>
                  <a:gd name="connsiteY3-58" fmla="*/ 171450 h 171450"/>
                  <a:gd name="connsiteX0-59" fmla="*/ 8334 w 127395"/>
                  <a:gd name="connsiteY0-60" fmla="*/ 0 h 171450"/>
                  <a:gd name="connsiteX1-61" fmla="*/ 5953 w 127395"/>
                  <a:gd name="connsiteY1-62" fmla="*/ 66674 h 171450"/>
                  <a:gd name="connsiteX2-63" fmla="*/ 44053 w 127395"/>
                  <a:gd name="connsiteY2-64" fmla="*/ 150019 h 171450"/>
                  <a:gd name="connsiteX3-65" fmla="*/ 127395 w 127395"/>
                  <a:gd name="connsiteY3-66" fmla="*/ 171450 h 171450"/>
                  <a:gd name="connsiteX0-67" fmla="*/ 8334 w 92928"/>
                  <a:gd name="connsiteY0-68" fmla="*/ 0 h 171450"/>
                  <a:gd name="connsiteX1-69" fmla="*/ 5953 w 92928"/>
                  <a:gd name="connsiteY1-70" fmla="*/ 66674 h 171450"/>
                  <a:gd name="connsiteX2-71" fmla="*/ 44053 w 92928"/>
                  <a:gd name="connsiteY2-72" fmla="*/ 150019 h 171450"/>
                  <a:gd name="connsiteX3-73" fmla="*/ 92928 w 92928"/>
                  <a:gd name="connsiteY3-74" fmla="*/ 171450 h 171450"/>
                  <a:gd name="connsiteX0-75" fmla="*/ 8334 w 83858"/>
                  <a:gd name="connsiteY0-76" fmla="*/ 0 h 167515"/>
                  <a:gd name="connsiteX1-77" fmla="*/ 5953 w 83858"/>
                  <a:gd name="connsiteY1-78" fmla="*/ 66674 h 167515"/>
                  <a:gd name="connsiteX2-79" fmla="*/ 44053 w 83858"/>
                  <a:gd name="connsiteY2-80" fmla="*/ 150019 h 167515"/>
                  <a:gd name="connsiteX3-81" fmla="*/ 83858 w 83858"/>
                  <a:gd name="connsiteY3-82" fmla="*/ 167515 h 167515"/>
                  <a:gd name="connsiteX0-83" fmla="*/ 8514 w 84038"/>
                  <a:gd name="connsiteY0-84" fmla="*/ 20667 h 188182"/>
                  <a:gd name="connsiteX1-85" fmla="*/ 7435 w 84038"/>
                  <a:gd name="connsiteY1-86" fmla="*/ 11112 h 188182"/>
                  <a:gd name="connsiteX2-87" fmla="*/ 6133 w 84038"/>
                  <a:gd name="connsiteY2-88" fmla="*/ 87341 h 188182"/>
                  <a:gd name="connsiteX3-89" fmla="*/ 44233 w 84038"/>
                  <a:gd name="connsiteY3-90" fmla="*/ 170686 h 188182"/>
                  <a:gd name="connsiteX4" fmla="*/ 84038 w 84038"/>
                  <a:gd name="connsiteY4" fmla="*/ 188182 h 188182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25" y="connsiteY3-26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4038" h="188182">
                    <a:moveTo>
                      <a:pt x="8514" y="20667"/>
                    </a:moveTo>
                    <a:cubicBezTo>
                      <a:pt x="8334" y="21042"/>
                      <a:pt x="7832" y="0"/>
                      <a:pt x="7435" y="11112"/>
                    </a:cubicBezTo>
                    <a:cubicBezTo>
                      <a:pt x="7038" y="22224"/>
                      <a:pt x="0" y="60745"/>
                      <a:pt x="6133" y="87341"/>
                    </a:cubicBezTo>
                    <a:cubicBezTo>
                      <a:pt x="12266" y="113937"/>
                      <a:pt x="8514" y="141714"/>
                      <a:pt x="44233" y="170686"/>
                    </a:cubicBezTo>
                    <a:lnTo>
                      <a:pt x="84038" y="188182"/>
                    </a:lnTo>
                  </a:path>
                </a:pathLst>
              </a:custGeom>
              <a:noFill/>
              <a:ln w="19050" cap="rnd">
                <a:solidFill>
                  <a:schemeClr val="bg1"/>
                </a:solidFill>
                <a:prstDash val="solid"/>
                <a:round/>
              </a:ln>
            </p:spPr>
            <p:txBody>
              <a:bodyPr/>
              <a:lstStyle/>
              <a:p>
                <a:pPr defTabSz="4318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700">
                  <a:solidFill>
                    <a:srgbClr val="000000"/>
                  </a:solidFill>
                  <a:latin typeface="Arial" panose="020B0604020202090204" pitchFamily="34" charset="0"/>
                  <a:ea typeface="MS PGothic" pitchFamily="34" charset="-128"/>
                </a:endParaRPr>
              </a:p>
            </p:txBody>
          </p:sp>
          <p:sp>
            <p:nvSpPr>
              <p:cNvPr id="44" name="Freeform 57"/>
              <p:cNvSpPr/>
              <p:nvPr userDrawn="1"/>
            </p:nvSpPr>
            <p:spPr>
              <a:xfrm flipH="1">
                <a:off x="8477670" y="5780967"/>
                <a:ext cx="31605" cy="64990"/>
              </a:xfrm>
              <a:custGeom>
                <a:avLst/>
                <a:gdLst>
                  <a:gd name="connsiteX0" fmla="*/ 2381 w 52387"/>
                  <a:gd name="connsiteY0" fmla="*/ 0 h 216694"/>
                  <a:gd name="connsiteX1" fmla="*/ 0 w 52387"/>
                  <a:gd name="connsiteY1" fmla="*/ 188119 h 216694"/>
                  <a:gd name="connsiteX2" fmla="*/ 52387 w 52387"/>
                  <a:gd name="connsiteY2" fmla="*/ 216694 h 216694"/>
                  <a:gd name="connsiteX0-1" fmla="*/ 2381 w 52387"/>
                  <a:gd name="connsiteY0-2" fmla="*/ 0 h 216694"/>
                  <a:gd name="connsiteX1-3" fmla="*/ 0 w 52387"/>
                  <a:gd name="connsiteY1-4" fmla="*/ 159544 h 216694"/>
                  <a:gd name="connsiteX2-5" fmla="*/ 52387 w 52387"/>
                  <a:gd name="connsiteY2-6" fmla="*/ 216694 h 216694"/>
                  <a:gd name="connsiteX0-7" fmla="*/ 2381 w 97630"/>
                  <a:gd name="connsiteY0-8" fmla="*/ 0 h 178594"/>
                  <a:gd name="connsiteX1-9" fmla="*/ 0 w 97630"/>
                  <a:gd name="connsiteY1-10" fmla="*/ 159544 h 178594"/>
                  <a:gd name="connsiteX2-11" fmla="*/ 97630 w 97630"/>
                  <a:gd name="connsiteY2-12" fmla="*/ 178594 h 178594"/>
                  <a:gd name="connsiteX0-13" fmla="*/ 19050 w 114299"/>
                  <a:gd name="connsiteY0-14" fmla="*/ 0 h 178594"/>
                  <a:gd name="connsiteX1-15" fmla="*/ 14286 w 114299"/>
                  <a:gd name="connsiteY1-16" fmla="*/ 119062 h 178594"/>
                  <a:gd name="connsiteX2-17" fmla="*/ 16669 w 114299"/>
                  <a:gd name="connsiteY2-18" fmla="*/ 159544 h 178594"/>
                  <a:gd name="connsiteX3" fmla="*/ 114299 w 114299"/>
                  <a:gd name="connsiteY3" fmla="*/ 178594 h 178594"/>
                  <a:gd name="connsiteX0-19" fmla="*/ 19050 w 114299"/>
                  <a:gd name="connsiteY0-20" fmla="*/ 0 h 178594"/>
                  <a:gd name="connsiteX1-21" fmla="*/ 16669 w 114299"/>
                  <a:gd name="connsiteY1-22" fmla="*/ 85724 h 178594"/>
                  <a:gd name="connsiteX2-23" fmla="*/ 16669 w 114299"/>
                  <a:gd name="connsiteY2-24" fmla="*/ 159544 h 178594"/>
                  <a:gd name="connsiteX3-25" fmla="*/ 114299 w 114299"/>
                  <a:gd name="connsiteY3-26" fmla="*/ 178594 h 178594"/>
                  <a:gd name="connsiteX0-27" fmla="*/ 8334 w 103583"/>
                  <a:gd name="connsiteY0-28" fmla="*/ 0 h 178594"/>
                  <a:gd name="connsiteX1-29" fmla="*/ 5953 w 103583"/>
                  <a:gd name="connsiteY1-30" fmla="*/ 85724 h 178594"/>
                  <a:gd name="connsiteX2-31" fmla="*/ 44053 w 103583"/>
                  <a:gd name="connsiteY2-32" fmla="*/ 159544 h 178594"/>
                  <a:gd name="connsiteX3-33" fmla="*/ 103583 w 103583"/>
                  <a:gd name="connsiteY3-34" fmla="*/ 178594 h 178594"/>
                  <a:gd name="connsiteX0-35" fmla="*/ 8334 w 103583"/>
                  <a:gd name="connsiteY0-36" fmla="*/ 0 h 178594"/>
                  <a:gd name="connsiteX1-37" fmla="*/ 5953 w 103583"/>
                  <a:gd name="connsiteY1-38" fmla="*/ 66674 h 178594"/>
                  <a:gd name="connsiteX2-39" fmla="*/ 44053 w 103583"/>
                  <a:gd name="connsiteY2-40" fmla="*/ 159544 h 178594"/>
                  <a:gd name="connsiteX3-41" fmla="*/ 103583 w 103583"/>
                  <a:gd name="connsiteY3-42" fmla="*/ 178594 h 178594"/>
                  <a:gd name="connsiteX0-43" fmla="*/ 8334 w 103583"/>
                  <a:gd name="connsiteY0-44" fmla="*/ 0 h 178594"/>
                  <a:gd name="connsiteX1-45" fmla="*/ 5953 w 103583"/>
                  <a:gd name="connsiteY1-46" fmla="*/ 66674 h 178594"/>
                  <a:gd name="connsiteX2-47" fmla="*/ 44053 w 103583"/>
                  <a:gd name="connsiteY2-48" fmla="*/ 150019 h 178594"/>
                  <a:gd name="connsiteX3-49" fmla="*/ 103583 w 103583"/>
                  <a:gd name="connsiteY3-50" fmla="*/ 178594 h 178594"/>
                  <a:gd name="connsiteX0-51" fmla="*/ 8334 w 127395"/>
                  <a:gd name="connsiteY0-52" fmla="*/ 0 h 171450"/>
                  <a:gd name="connsiteX1-53" fmla="*/ 5953 w 127395"/>
                  <a:gd name="connsiteY1-54" fmla="*/ 66674 h 171450"/>
                  <a:gd name="connsiteX2-55" fmla="*/ 44053 w 127395"/>
                  <a:gd name="connsiteY2-56" fmla="*/ 150019 h 171450"/>
                  <a:gd name="connsiteX3-57" fmla="*/ 127395 w 127395"/>
                  <a:gd name="connsiteY3-58" fmla="*/ 171450 h 171450"/>
                  <a:gd name="connsiteX0-59" fmla="*/ 8334 w 127395"/>
                  <a:gd name="connsiteY0-60" fmla="*/ 0 h 171450"/>
                  <a:gd name="connsiteX1-61" fmla="*/ 5953 w 127395"/>
                  <a:gd name="connsiteY1-62" fmla="*/ 66674 h 171450"/>
                  <a:gd name="connsiteX2-63" fmla="*/ 44053 w 127395"/>
                  <a:gd name="connsiteY2-64" fmla="*/ 150019 h 171450"/>
                  <a:gd name="connsiteX3-65" fmla="*/ 127395 w 127395"/>
                  <a:gd name="connsiteY3-66" fmla="*/ 171450 h 171450"/>
                  <a:gd name="connsiteX0-67" fmla="*/ 8334 w 92928"/>
                  <a:gd name="connsiteY0-68" fmla="*/ 0 h 171450"/>
                  <a:gd name="connsiteX1-69" fmla="*/ 5953 w 92928"/>
                  <a:gd name="connsiteY1-70" fmla="*/ 66674 h 171450"/>
                  <a:gd name="connsiteX2-71" fmla="*/ 44053 w 92928"/>
                  <a:gd name="connsiteY2-72" fmla="*/ 150019 h 171450"/>
                  <a:gd name="connsiteX3-73" fmla="*/ 92928 w 92928"/>
                  <a:gd name="connsiteY3-74" fmla="*/ 171450 h 171450"/>
                  <a:gd name="connsiteX0-75" fmla="*/ 8334 w 83858"/>
                  <a:gd name="connsiteY0-76" fmla="*/ 0 h 167515"/>
                  <a:gd name="connsiteX1-77" fmla="*/ 5953 w 83858"/>
                  <a:gd name="connsiteY1-78" fmla="*/ 66674 h 167515"/>
                  <a:gd name="connsiteX2-79" fmla="*/ 44053 w 83858"/>
                  <a:gd name="connsiteY2-80" fmla="*/ 150019 h 167515"/>
                  <a:gd name="connsiteX3-81" fmla="*/ 83858 w 83858"/>
                  <a:gd name="connsiteY3-82" fmla="*/ 167515 h 167515"/>
                  <a:gd name="connsiteX0-83" fmla="*/ 8514 w 84038"/>
                  <a:gd name="connsiteY0-84" fmla="*/ 20667 h 188182"/>
                  <a:gd name="connsiteX1-85" fmla="*/ 7435 w 84038"/>
                  <a:gd name="connsiteY1-86" fmla="*/ 11112 h 188182"/>
                  <a:gd name="connsiteX2-87" fmla="*/ 6133 w 84038"/>
                  <a:gd name="connsiteY2-88" fmla="*/ 87341 h 188182"/>
                  <a:gd name="connsiteX3-89" fmla="*/ 44233 w 84038"/>
                  <a:gd name="connsiteY3-90" fmla="*/ 170686 h 188182"/>
                  <a:gd name="connsiteX4" fmla="*/ 84038 w 84038"/>
                  <a:gd name="connsiteY4" fmla="*/ 188182 h 188182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25" y="connsiteY3-26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4038" h="188182">
                    <a:moveTo>
                      <a:pt x="8514" y="20667"/>
                    </a:moveTo>
                    <a:cubicBezTo>
                      <a:pt x="8334" y="21042"/>
                      <a:pt x="7832" y="0"/>
                      <a:pt x="7435" y="11112"/>
                    </a:cubicBezTo>
                    <a:cubicBezTo>
                      <a:pt x="7038" y="22224"/>
                      <a:pt x="0" y="60745"/>
                      <a:pt x="6133" y="87341"/>
                    </a:cubicBezTo>
                    <a:cubicBezTo>
                      <a:pt x="12266" y="113937"/>
                      <a:pt x="8514" y="141714"/>
                      <a:pt x="44233" y="170686"/>
                    </a:cubicBezTo>
                    <a:lnTo>
                      <a:pt x="84038" y="188182"/>
                    </a:lnTo>
                  </a:path>
                </a:pathLst>
              </a:custGeom>
              <a:noFill/>
              <a:ln w="19050" cap="rnd">
                <a:solidFill>
                  <a:schemeClr val="bg1"/>
                </a:solidFill>
                <a:prstDash val="solid"/>
                <a:round/>
              </a:ln>
            </p:spPr>
            <p:txBody>
              <a:bodyPr/>
              <a:lstStyle/>
              <a:p>
                <a:pPr defTabSz="4318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700">
                  <a:solidFill>
                    <a:srgbClr val="000000"/>
                  </a:solidFill>
                  <a:latin typeface="Arial" panose="020B0604020202090204" pitchFamily="34" charset="0"/>
                  <a:ea typeface="MS PGothic" pitchFamily="34" charset="-128"/>
                </a:endParaRPr>
              </a:p>
            </p:txBody>
          </p:sp>
        </p:grpSp>
        <p:sp>
          <p:nvSpPr>
            <p:cNvPr id="38" name="Freeform 24"/>
            <p:cNvSpPr/>
            <p:nvPr userDrawn="1"/>
          </p:nvSpPr>
          <p:spPr bwMode="auto">
            <a:xfrm>
              <a:off x="7833652" y="5792136"/>
              <a:ext cx="41087" cy="66644"/>
            </a:xfrm>
            <a:custGeom>
              <a:avLst/>
              <a:gdLst/>
              <a:ahLst/>
              <a:cxnLst>
                <a:cxn ang="0">
                  <a:pos x="0" y="29"/>
                </a:cxn>
                <a:cxn ang="0">
                  <a:pos x="18" y="0"/>
                </a:cxn>
              </a:cxnLst>
              <a:rect l="0" t="0" r="r" b="b"/>
              <a:pathLst>
                <a:path w="18" h="29">
                  <a:moveTo>
                    <a:pt x="0" y="29"/>
                  </a:moveTo>
                  <a:cubicBezTo>
                    <a:pt x="1" y="15"/>
                    <a:pt x="8" y="4"/>
                    <a:pt x="18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0">
                <a:solidFill>
                  <a:srgbClr val="000000"/>
                </a:solidFill>
                <a:latin typeface="Arial" panose="020B0604020202090204" pitchFamily="34" charset="0"/>
                <a:ea typeface="MS PGothic" pitchFamily="34" charset="-128"/>
              </a:endParaRPr>
            </a:p>
          </p:txBody>
        </p:sp>
        <p:sp>
          <p:nvSpPr>
            <p:cNvPr id="39" name="Freeform 25"/>
            <p:cNvSpPr/>
            <p:nvPr userDrawn="1"/>
          </p:nvSpPr>
          <p:spPr bwMode="auto">
            <a:xfrm>
              <a:off x="7772023" y="5858780"/>
              <a:ext cx="96395" cy="239599"/>
            </a:xfrm>
            <a:custGeom>
              <a:avLst/>
              <a:gdLst>
                <a:gd name="connsiteX0" fmla="*/ 6429 w 10000"/>
                <a:gd name="connsiteY0" fmla="*/ 0 h 8863"/>
                <a:gd name="connsiteX1" fmla="*/ 6429 w 10000"/>
                <a:gd name="connsiteY1" fmla="*/ 171 h 8863"/>
                <a:gd name="connsiteX2" fmla="*/ 10000 w 10000"/>
                <a:gd name="connsiteY2" fmla="*/ 2735 h 8863"/>
                <a:gd name="connsiteX3" fmla="*/ 0 w 10000"/>
                <a:gd name="connsiteY3" fmla="*/ 8863 h 8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00" h="8863">
                  <a:moveTo>
                    <a:pt x="6429" y="0"/>
                  </a:moveTo>
                  <a:lnTo>
                    <a:pt x="6429" y="171"/>
                  </a:lnTo>
                  <a:cubicBezTo>
                    <a:pt x="6429" y="1197"/>
                    <a:pt x="8333" y="2222"/>
                    <a:pt x="10000" y="2735"/>
                  </a:cubicBezTo>
                  <a:cubicBezTo>
                    <a:pt x="2381" y="3504"/>
                    <a:pt x="0" y="5359"/>
                    <a:pt x="0" y="8863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0">
                <a:solidFill>
                  <a:srgbClr val="000000"/>
                </a:solidFill>
                <a:latin typeface="Arial" panose="020B0604020202090204" pitchFamily="34" charset="0"/>
                <a:ea typeface="MS PGothic" pitchFamily="34" charset="-128"/>
              </a:endParaRPr>
            </a:p>
          </p:txBody>
        </p:sp>
        <p:sp>
          <p:nvSpPr>
            <p:cNvPr id="40" name="Freeform 26"/>
            <p:cNvSpPr/>
            <p:nvPr userDrawn="1"/>
          </p:nvSpPr>
          <p:spPr bwMode="auto">
            <a:xfrm>
              <a:off x="7974296" y="5961918"/>
              <a:ext cx="45827" cy="130114"/>
            </a:xfrm>
            <a:custGeom>
              <a:avLst/>
              <a:gdLst>
                <a:gd name="connsiteX0" fmla="*/ 0 w 10514"/>
                <a:gd name="connsiteY0" fmla="*/ 0 h 11311"/>
                <a:gd name="connsiteX1" fmla="*/ 10514 w 10514"/>
                <a:gd name="connsiteY1" fmla="*/ 11311 h 11311"/>
                <a:gd name="connsiteX0-1" fmla="*/ 0 w 10000"/>
                <a:gd name="connsiteY0-2" fmla="*/ 0 h 10188"/>
                <a:gd name="connsiteX1-3" fmla="*/ 10000 w 10000"/>
                <a:gd name="connsiteY1-4" fmla="*/ 10188 h 1018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</a:cxnLst>
              <a:rect l="l" t="t" r="r" b="b"/>
              <a:pathLst>
                <a:path w="10000" h="10188">
                  <a:moveTo>
                    <a:pt x="0" y="0"/>
                  </a:moveTo>
                  <a:cubicBezTo>
                    <a:pt x="6000" y="2364"/>
                    <a:pt x="9000" y="6006"/>
                    <a:pt x="10000" y="10188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0">
                <a:solidFill>
                  <a:srgbClr val="000000"/>
                </a:solidFill>
                <a:latin typeface="Arial" panose="020B0604020202090204" pitchFamily="34" charset="0"/>
                <a:ea typeface="MS PGothic" pitchFamily="34" charset="-128"/>
              </a:endParaRPr>
            </a:p>
          </p:txBody>
        </p:sp>
        <p:sp>
          <p:nvSpPr>
            <p:cNvPr id="41" name="Freeform 27"/>
            <p:cNvSpPr/>
            <p:nvPr userDrawn="1"/>
          </p:nvSpPr>
          <p:spPr bwMode="auto">
            <a:xfrm>
              <a:off x="7874739" y="5788963"/>
              <a:ext cx="74273" cy="38082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9" y="0"/>
                </a:cxn>
                <a:cxn ang="0">
                  <a:pos x="32" y="16"/>
                </a:cxn>
              </a:cxnLst>
              <a:rect l="0" t="0" r="r" b="b"/>
              <a:pathLst>
                <a:path w="32" h="16">
                  <a:moveTo>
                    <a:pt x="0" y="1"/>
                  </a:moveTo>
                  <a:cubicBezTo>
                    <a:pt x="3" y="0"/>
                    <a:pt x="6" y="0"/>
                    <a:pt x="9" y="0"/>
                  </a:cubicBezTo>
                  <a:cubicBezTo>
                    <a:pt x="19" y="0"/>
                    <a:pt x="28" y="6"/>
                    <a:pt x="32" y="16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0">
                <a:solidFill>
                  <a:srgbClr val="000000"/>
                </a:solidFill>
                <a:latin typeface="Arial" panose="020B0604020202090204" pitchFamily="34" charset="0"/>
                <a:ea typeface="MS PGothic" pitchFamily="34" charset="-128"/>
              </a:endParaRPr>
            </a:p>
          </p:txBody>
        </p:sp>
        <p:sp>
          <p:nvSpPr>
            <p:cNvPr id="42" name="Freeform 28"/>
            <p:cNvSpPr/>
            <p:nvPr userDrawn="1"/>
          </p:nvSpPr>
          <p:spPr bwMode="auto">
            <a:xfrm>
              <a:off x="7923727" y="5827045"/>
              <a:ext cx="50568" cy="134873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5" y="16"/>
                </a:cxn>
                <a:cxn ang="0">
                  <a:pos x="0" y="46"/>
                </a:cxn>
                <a:cxn ang="0">
                  <a:pos x="22" y="59"/>
                </a:cxn>
              </a:cxnLst>
              <a:rect l="0" t="0" r="r" b="b"/>
              <a:pathLst>
                <a:path w="22" h="59">
                  <a:moveTo>
                    <a:pt x="11" y="0"/>
                  </a:moveTo>
                  <a:cubicBezTo>
                    <a:pt x="13" y="4"/>
                    <a:pt x="15" y="10"/>
                    <a:pt x="15" y="16"/>
                  </a:cubicBezTo>
                  <a:cubicBezTo>
                    <a:pt x="15" y="28"/>
                    <a:pt x="7" y="40"/>
                    <a:pt x="0" y="46"/>
                  </a:cubicBezTo>
                  <a:cubicBezTo>
                    <a:pt x="9" y="49"/>
                    <a:pt x="16" y="53"/>
                    <a:pt x="22" y="59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0">
                <a:solidFill>
                  <a:srgbClr val="000000"/>
                </a:solidFill>
                <a:latin typeface="Arial" panose="020B0604020202090204" pitchFamily="34" charset="0"/>
                <a:ea typeface="MS PGothic" pitchFamily="34" charset="-128"/>
              </a:endParaRPr>
            </a:p>
          </p:txBody>
        </p:sp>
      </p:grpSp>
      <p:sp>
        <p:nvSpPr>
          <p:cNvPr id="45" name="Line 65"/>
          <p:cNvSpPr>
            <a:spLocks noChangeShapeType="1"/>
          </p:cNvSpPr>
          <p:nvPr userDrawn="1"/>
        </p:nvSpPr>
        <p:spPr bwMode="auto">
          <a:xfrm>
            <a:off x="11140007" y="5692654"/>
            <a:ext cx="382068" cy="0"/>
          </a:xfrm>
          <a:prstGeom prst="line">
            <a:avLst/>
          </a:prstGeom>
          <a:noFill/>
          <a:ln w="19050" cap="rnd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700">
              <a:solidFill>
                <a:srgbClr val="000000"/>
              </a:solidFill>
              <a:latin typeface="Arial" panose="020B0604020202090204" pitchFamily="34" charset="0"/>
              <a:ea typeface="MS PGothic" pitchFamily="34" charset="-128"/>
            </a:endParaRPr>
          </a:p>
        </p:txBody>
      </p:sp>
      <p:sp>
        <p:nvSpPr>
          <p:cNvPr id="46" name="Freeform 59"/>
          <p:cNvSpPr/>
          <p:nvPr userDrawn="1"/>
        </p:nvSpPr>
        <p:spPr>
          <a:xfrm flipH="1" flipV="1">
            <a:off x="552100" y="4182113"/>
            <a:ext cx="7611371" cy="1572042"/>
          </a:xfrm>
          <a:custGeom>
            <a:avLst/>
            <a:gdLst>
              <a:gd name="connsiteX0" fmla="*/ 8521700 w 8521700"/>
              <a:gd name="connsiteY0" fmla="*/ 3124200 h 4356100"/>
              <a:gd name="connsiteX1" fmla="*/ 8521700 w 8521700"/>
              <a:gd name="connsiteY1" fmla="*/ 203200 h 4356100"/>
              <a:gd name="connsiteX2" fmla="*/ 8318500 w 8521700"/>
              <a:gd name="connsiteY2" fmla="*/ 0 h 4356100"/>
              <a:gd name="connsiteX3" fmla="*/ 228600 w 8521700"/>
              <a:gd name="connsiteY3" fmla="*/ 0 h 4356100"/>
              <a:gd name="connsiteX4" fmla="*/ 0 w 8521700"/>
              <a:gd name="connsiteY4" fmla="*/ 215900 h 4356100"/>
              <a:gd name="connsiteX5" fmla="*/ 0 w 8521700"/>
              <a:gd name="connsiteY5" fmla="*/ 4356100 h 4356100"/>
              <a:gd name="connsiteX6" fmla="*/ 6578600 w 8521700"/>
              <a:gd name="connsiteY6" fmla="*/ 4318000 h 4356100"/>
              <a:gd name="connsiteX0-1" fmla="*/ 8532812 w 8532812"/>
              <a:gd name="connsiteY0-2" fmla="*/ 3124200 h 4318000"/>
              <a:gd name="connsiteX1-3" fmla="*/ 8532812 w 8532812"/>
              <a:gd name="connsiteY1-4" fmla="*/ 203200 h 4318000"/>
              <a:gd name="connsiteX2-5" fmla="*/ 8329612 w 8532812"/>
              <a:gd name="connsiteY2-6" fmla="*/ 0 h 4318000"/>
              <a:gd name="connsiteX3-7" fmla="*/ 239712 w 8532812"/>
              <a:gd name="connsiteY3-8" fmla="*/ 0 h 4318000"/>
              <a:gd name="connsiteX4-9" fmla="*/ 11112 w 8532812"/>
              <a:gd name="connsiteY4-10" fmla="*/ 215900 h 4318000"/>
              <a:gd name="connsiteX5-11" fmla="*/ 0 w 8532812"/>
              <a:gd name="connsiteY5-12" fmla="*/ 4318000 h 4318000"/>
              <a:gd name="connsiteX6-13" fmla="*/ 6589712 w 8532812"/>
              <a:gd name="connsiteY6-14" fmla="*/ 4318000 h 4318000"/>
              <a:gd name="connsiteX0-15" fmla="*/ 8532812 w 8532812"/>
              <a:gd name="connsiteY0-16" fmla="*/ 3125893 h 4319693"/>
              <a:gd name="connsiteX1-17" fmla="*/ 8532812 w 8532812"/>
              <a:gd name="connsiteY1-18" fmla="*/ 204893 h 4319693"/>
              <a:gd name="connsiteX2-19" fmla="*/ 8329612 w 8532812"/>
              <a:gd name="connsiteY2-20" fmla="*/ 1693 h 4319693"/>
              <a:gd name="connsiteX3-21" fmla="*/ 239712 w 8532812"/>
              <a:gd name="connsiteY3-22" fmla="*/ 1693 h 4319693"/>
              <a:gd name="connsiteX4-23" fmla="*/ 11112 w 8532812"/>
              <a:gd name="connsiteY4-24" fmla="*/ 217593 h 4319693"/>
              <a:gd name="connsiteX5-25" fmla="*/ 0 w 8532812"/>
              <a:gd name="connsiteY5-26" fmla="*/ 4319693 h 4319693"/>
              <a:gd name="connsiteX6-27" fmla="*/ 6589712 w 8532812"/>
              <a:gd name="connsiteY6-28" fmla="*/ 4319693 h 4319693"/>
              <a:gd name="connsiteX0-29" fmla="*/ 8532812 w 8532812"/>
              <a:gd name="connsiteY0-30" fmla="*/ 3125893 h 4319693"/>
              <a:gd name="connsiteX1-31" fmla="*/ 8532812 w 8532812"/>
              <a:gd name="connsiteY1-32" fmla="*/ 204893 h 4319693"/>
              <a:gd name="connsiteX2-33" fmla="*/ 8329612 w 8532812"/>
              <a:gd name="connsiteY2-34" fmla="*/ 1693 h 4319693"/>
              <a:gd name="connsiteX3-35" fmla="*/ 239712 w 8532812"/>
              <a:gd name="connsiteY3-36" fmla="*/ 1693 h 4319693"/>
              <a:gd name="connsiteX4-37" fmla="*/ 11112 w 8532812"/>
              <a:gd name="connsiteY4-38" fmla="*/ 217593 h 4319693"/>
              <a:gd name="connsiteX5-39" fmla="*/ 0 w 8532812"/>
              <a:gd name="connsiteY5-40" fmla="*/ 4319693 h 4319693"/>
              <a:gd name="connsiteX6-41" fmla="*/ 6589712 w 8532812"/>
              <a:gd name="connsiteY6-42" fmla="*/ 4319693 h 4319693"/>
              <a:gd name="connsiteX0-43" fmla="*/ 8532812 w 8543819"/>
              <a:gd name="connsiteY0-44" fmla="*/ 3141768 h 4335568"/>
              <a:gd name="connsiteX1-45" fmla="*/ 8532812 w 8543819"/>
              <a:gd name="connsiteY1-46" fmla="*/ 220768 h 4335568"/>
              <a:gd name="connsiteX2-47" fmla="*/ 8329612 w 8543819"/>
              <a:gd name="connsiteY2-48" fmla="*/ 17568 h 4335568"/>
              <a:gd name="connsiteX3-49" fmla="*/ 239712 w 8543819"/>
              <a:gd name="connsiteY3-50" fmla="*/ 17568 h 4335568"/>
              <a:gd name="connsiteX4-51" fmla="*/ 11112 w 8543819"/>
              <a:gd name="connsiteY4-52" fmla="*/ 233468 h 4335568"/>
              <a:gd name="connsiteX5-53" fmla="*/ 0 w 8543819"/>
              <a:gd name="connsiteY5-54" fmla="*/ 4335568 h 4335568"/>
              <a:gd name="connsiteX6-55" fmla="*/ 6589712 w 8543819"/>
              <a:gd name="connsiteY6-56" fmla="*/ 4335568 h 4335568"/>
              <a:gd name="connsiteX0-57" fmla="*/ 8582660 w 8593667"/>
              <a:gd name="connsiteY0-58" fmla="*/ 3163147 h 4356947"/>
              <a:gd name="connsiteX1-59" fmla="*/ 8582660 w 8593667"/>
              <a:gd name="connsiteY1-60" fmla="*/ 242147 h 4356947"/>
              <a:gd name="connsiteX2-61" fmla="*/ 8379460 w 8593667"/>
              <a:gd name="connsiteY2-62" fmla="*/ 38947 h 4356947"/>
              <a:gd name="connsiteX3-63" fmla="*/ 289560 w 8593667"/>
              <a:gd name="connsiteY3-64" fmla="*/ 38947 h 4356947"/>
              <a:gd name="connsiteX4-65" fmla="*/ 60960 w 8593667"/>
              <a:gd name="connsiteY4-66" fmla="*/ 254847 h 4356947"/>
              <a:gd name="connsiteX5-67" fmla="*/ 49848 w 8593667"/>
              <a:gd name="connsiteY5-68" fmla="*/ 4356947 h 4356947"/>
              <a:gd name="connsiteX6-69" fmla="*/ 6639560 w 8593667"/>
              <a:gd name="connsiteY6-70" fmla="*/ 4356947 h 4356947"/>
              <a:gd name="connsiteX0-71" fmla="*/ 8582660 w 8593667"/>
              <a:gd name="connsiteY0-72" fmla="*/ 3163147 h 4356947"/>
              <a:gd name="connsiteX1-73" fmla="*/ 8582660 w 8593667"/>
              <a:gd name="connsiteY1-74" fmla="*/ 242147 h 4356947"/>
              <a:gd name="connsiteX2-75" fmla="*/ 8379460 w 8593667"/>
              <a:gd name="connsiteY2-76" fmla="*/ 38947 h 4356947"/>
              <a:gd name="connsiteX3-77" fmla="*/ 289560 w 8593667"/>
              <a:gd name="connsiteY3-78" fmla="*/ 38947 h 4356947"/>
              <a:gd name="connsiteX4-79" fmla="*/ 60960 w 8593667"/>
              <a:gd name="connsiteY4-80" fmla="*/ 254847 h 4356947"/>
              <a:gd name="connsiteX5-81" fmla="*/ 49848 w 8593667"/>
              <a:gd name="connsiteY5-82" fmla="*/ 4356947 h 4356947"/>
              <a:gd name="connsiteX6-83" fmla="*/ 6639560 w 8593667"/>
              <a:gd name="connsiteY6-84" fmla="*/ 4356947 h 4356947"/>
              <a:gd name="connsiteX0-85" fmla="*/ 8566468 w 8577475"/>
              <a:gd name="connsiteY0-86" fmla="*/ 3217122 h 4410922"/>
              <a:gd name="connsiteX1-87" fmla="*/ 8566468 w 8577475"/>
              <a:gd name="connsiteY1-88" fmla="*/ 296122 h 4410922"/>
              <a:gd name="connsiteX2-89" fmla="*/ 8363268 w 8577475"/>
              <a:gd name="connsiteY2-90" fmla="*/ 92922 h 4410922"/>
              <a:gd name="connsiteX3-91" fmla="*/ 273368 w 8577475"/>
              <a:gd name="connsiteY3-92" fmla="*/ 92922 h 4410922"/>
              <a:gd name="connsiteX4-93" fmla="*/ 44768 w 8577475"/>
              <a:gd name="connsiteY4-94" fmla="*/ 308822 h 4410922"/>
              <a:gd name="connsiteX5-95" fmla="*/ 33656 w 8577475"/>
              <a:gd name="connsiteY5-96" fmla="*/ 4410922 h 4410922"/>
              <a:gd name="connsiteX6-97" fmla="*/ 6623368 w 8577475"/>
              <a:gd name="connsiteY6-98" fmla="*/ 4410922 h 4410922"/>
              <a:gd name="connsiteX0-99" fmla="*/ 8566468 w 8577475"/>
              <a:gd name="connsiteY0-100" fmla="*/ 3217122 h 4410922"/>
              <a:gd name="connsiteX1-101" fmla="*/ 8566468 w 8577475"/>
              <a:gd name="connsiteY1-102" fmla="*/ 296122 h 4410922"/>
              <a:gd name="connsiteX2-103" fmla="*/ 8363268 w 8577475"/>
              <a:gd name="connsiteY2-104" fmla="*/ 92922 h 4410922"/>
              <a:gd name="connsiteX3-105" fmla="*/ 273368 w 8577475"/>
              <a:gd name="connsiteY3-106" fmla="*/ 92922 h 4410922"/>
              <a:gd name="connsiteX4-107" fmla="*/ 44768 w 8577475"/>
              <a:gd name="connsiteY4-108" fmla="*/ 308822 h 4410922"/>
              <a:gd name="connsiteX5-109" fmla="*/ 33656 w 8577475"/>
              <a:gd name="connsiteY5-110" fmla="*/ 4410922 h 4410922"/>
              <a:gd name="connsiteX6-111" fmla="*/ 6623368 w 8577475"/>
              <a:gd name="connsiteY6-112" fmla="*/ 4410922 h 4410922"/>
              <a:gd name="connsiteX0-113" fmla="*/ 8577580 w 8588587"/>
              <a:gd name="connsiteY0-114" fmla="*/ 3174259 h 4368059"/>
              <a:gd name="connsiteX1-115" fmla="*/ 8577580 w 8588587"/>
              <a:gd name="connsiteY1-116" fmla="*/ 253259 h 4368059"/>
              <a:gd name="connsiteX2-117" fmla="*/ 8374380 w 8588587"/>
              <a:gd name="connsiteY2-118" fmla="*/ 50059 h 4368059"/>
              <a:gd name="connsiteX3-119" fmla="*/ 284480 w 8588587"/>
              <a:gd name="connsiteY3-120" fmla="*/ 50059 h 4368059"/>
              <a:gd name="connsiteX4-121" fmla="*/ 44768 w 8588587"/>
              <a:gd name="connsiteY4-122" fmla="*/ 308822 h 4368059"/>
              <a:gd name="connsiteX5-123" fmla="*/ 44768 w 8588587"/>
              <a:gd name="connsiteY5-124" fmla="*/ 4368059 h 4368059"/>
              <a:gd name="connsiteX6-125" fmla="*/ 6634480 w 8588587"/>
              <a:gd name="connsiteY6-126" fmla="*/ 4368059 h 4368059"/>
              <a:gd name="connsiteX0-127" fmla="*/ 8553768 w 8564775"/>
              <a:gd name="connsiteY0-128" fmla="*/ 3164734 h 4358534"/>
              <a:gd name="connsiteX1-129" fmla="*/ 8553768 w 8564775"/>
              <a:gd name="connsiteY1-130" fmla="*/ 243734 h 4358534"/>
              <a:gd name="connsiteX2-131" fmla="*/ 8350568 w 8564775"/>
              <a:gd name="connsiteY2-132" fmla="*/ 40534 h 4358534"/>
              <a:gd name="connsiteX3-133" fmla="*/ 260668 w 8564775"/>
              <a:gd name="connsiteY3-134" fmla="*/ 40534 h 4358534"/>
              <a:gd name="connsiteX4-135" fmla="*/ 20956 w 8564775"/>
              <a:gd name="connsiteY4-136" fmla="*/ 299297 h 4358534"/>
              <a:gd name="connsiteX5-137" fmla="*/ 20956 w 8564775"/>
              <a:gd name="connsiteY5-138" fmla="*/ 4358534 h 4358534"/>
              <a:gd name="connsiteX6-139" fmla="*/ 6610668 w 8564775"/>
              <a:gd name="connsiteY6-140" fmla="*/ 4358534 h 4358534"/>
              <a:gd name="connsiteX0-141" fmla="*/ 8553768 w 8564775"/>
              <a:gd name="connsiteY0-142" fmla="*/ 3164734 h 4358534"/>
              <a:gd name="connsiteX1-143" fmla="*/ 8553768 w 8564775"/>
              <a:gd name="connsiteY1-144" fmla="*/ 243734 h 4358534"/>
              <a:gd name="connsiteX2-145" fmla="*/ 8350568 w 8564775"/>
              <a:gd name="connsiteY2-146" fmla="*/ 40534 h 4358534"/>
              <a:gd name="connsiteX3-147" fmla="*/ 260668 w 8564775"/>
              <a:gd name="connsiteY3-148" fmla="*/ 40534 h 4358534"/>
              <a:gd name="connsiteX4-149" fmla="*/ 20956 w 8564775"/>
              <a:gd name="connsiteY4-150" fmla="*/ 299297 h 4358534"/>
              <a:gd name="connsiteX5-151" fmla="*/ 20956 w 8564775"/>
              <a:gd name="connsiteY5-152" fmla="*/ 4302179 h 4358534"/>
              <a:gd name="connsiteX6-153" fmla="*/ 20956 w 8564775"/>
              <a:gd name="connsiteY6-154" fmla="*/ 4358534 h 4358534"/>
              <a:gd name="connsiteX7" fmla="*/ 6610668 w 8564775"/>
              <a:gd name="connsiteY7" fmla="*/ 4358534 h 4358534"/>
              <a:gd name="connsiteX0-155" fmla="*/ 8553768 w 8564775"/>
              <a:gd name="connsiteY0-156" fmla="*/ 3164734 h 4358534"/>
              <a:gd name="connsiteX1-157" fmla="*/ 8553768 w 8564775"/>
              <a:gd name="connsiteY1-158" fmla="*/ 243734 h 4358534"/>
              <a:gd name="connsiteX2-159" fmla="*/ 8350568 w 8564775"/>
              <a:gd name="connsiteY2-160" fmla="*/ 40534 h 4358534"/>
              <a:gd name="connsiteX3-161" fmla="*/ 260668 w 8564775"/>
              <a:gd name="connsiteY3-162" fmla="*/ 40534 h 4358534"/>
              <a:gd name="connsiteX4-163" fmla="*/ 20956 w 8564775"/>
              <a:gd name="connsiteY4-164" fmla="*/ 299297 h 4358534"/>
              <a:gd name="connsiteX5-165" fmla="*/ 20956 w 8564775"/>
              <a:gd name="connsiteY5-166" fmla="*/ 4302179 h 4358534"/>
              <a:gd name="connsiteX6-167" fmla="*/ 20956 w 8564775"/>
              <a:gd name="connsiteY6-168" fmla="*/ 4358534 h 4358534"/>
              <a:gd name="connsiteX7-169" fmla="*/ 78106 w 8564775"/>
              <a:gd name="connsiteY7-170" fmla="*/ 4356948 h 4358534"/>
              <a:gd name="connsiteX8" fmla="*/ 6610668 w 8564775"/>
              <a:gd name="connsiteY8" fmla="*/ 4358534 h 4358534"/>
              <a:gd name="connsiteX0-171" fmla="*/ 8553768 w 8564775"/>
              <a:gd name="connsiteY0-172" fmla="*/ 3164734 h 4358534"/>
              <a:gd name="connsiteX1-173" fmla="*/ 8553768 w 8564775"/>
              <a:gd name="connsiteY1-174" fmla="*/ 243734 h 4358534"/>
              <a:gd name="connsiteX2-175" fmla="*/ 8350568 w 8564775"/>
              <a:gd name="connsiteY2-176" fmla="*/ 40534 h 4358534"/>
              <a:gd name="connsiteX3-177" fmla="*/ 260668 w 8564775"/>
              <a:gd name="connsiteY3-178" fmla="*/ 40534 h 4358534"/>
              <a:gd name="connsiteX4-179" fmla="*/ 20956 w 8564775"/>
              <a:gd name="connsiteY4-180" fmla="*/ 299297 h 4358534"/>
              <a:gd name="connsiteX5-181" fmla="*/ 20956 w 8564775"/>
              <a:gd name="connsiteY5-182" fmla="*/ 4302179 h 4358534"/>
              <a:gd name="connsiteX6-183" fmla="*/ 78106 w 8564775"/>
              <a:gd name="connsiteY6-184" fmla="*/ 4356948 h 4358534"/>
              <a:gd name="connsiteX7-185" fmla="*/ 6610668 w 8564775"/>
              <a:gd name="connsiteY7-186" fmla="*/ 4358534 h 4358534"/>
              <a:gd name="connsiteX0-187" fmla="*/ 8553768 w 8564775"/>
              <a:gd name="connsiteY0-188" fmla="*/ 3164734 h 4389492"/>
              <a:gd name="connsiteX1-189" fmla="*/ 8553768 w 8564775"/>
              <a:gd name="connsiteY1-190" fmla="*/ 243734 h 4389492"/>
              <a:gd name="connsiteX2-191" fmla="*/ 8350568 w 8564775"/>
              <a:gd name="connsiteY2-192" fmla="*/ 40534 h 4389492"/>
              <a:gd name="connsiteX3-193" fmla="*/ 260668 w 8564775"/>
              <a:gd name="connsiteY3-194" fmla="*/ 40534 h 4389492"/>
              <a:gd name="connsiteX4-195" fmla="*/ 20956 w 8564775"/>
              <a:gd name="connsiteY4-196" fmla="*/ 299297 h 4389492"/>
              <a:gd name="connsiteX5-197" fmla="*/ 20956 w 8564775"/>
              <a:gd name="connsiteY5-198" fmla="*/ 4302179 h 4389492"/>
              <a:gd name="connsiteX6-199" fmla="*/ 78106 w 8564775"/>
              <a:gd name="connsiteY6-200" fmla="*/ 4356948 h 4389492"/>
              <a:gd name="connsiteX7-201" fmla="*/ 6610668 w 8564775"/>
              <a:gd name="connsiteY7-202" fmla="*/ 4358534 h 4389492"/>
              <a:gd name="connsiteX0-203" fmla="*/ 8553768 w 8564775"/>
              <a:gd name="connsiteY0-204" fmla="*/ 3164734 h 4358534"/>
              <a:gd name="connsiteX1-205" fmla="*/ 8553768 w 8564775"/>
              <a:gd name="connsiteY1-206" fmla="*/ 243734 h 4358534"/>
              <a:gd name="connsiteX2-207" fmla="*/ 8350568 w 8564775"/>
              <a:gd name="connsiteY2-208" fmla="*/ 40534 h 4358534"/>
              <a:gd name="connsiteX3-209" fmla="*/ 260668 w 8564775"/>
              <a:gd name="connsiteY3-210" fmla="*/ 40534 h 4358534"/>
              <a:gd name="connsiteX4-211" fmla="*/ 20956 w 8564775"/>
              <a:gd name="connsiteY4-212" fmla="*/ 299297 h 4358534"/>
              <a:gd name="connsiteX5-213" fmla="*/ 20956 w 8564775"/>
              <a:gd name="connsiteY5-214" fmla="*/ 4256935 h 4358534"/>
              <a:gd name="connsiteX6-215" fmla="*/ 78106 w 8564775"/>
              <a:gd name="connsiteY6-216" fmla="*/ 4356948 h 4358534"/>
              <a:gd name="connsiteX7-217" fmla="*/ 6610668 w 8564775"/>
              <a:gd name="connsiteY7-218" fmla="*/ 4358534 h 4358534"/>
              <a:gd name="connsiteX0-219" fmla="*/ 8553768 w 8564775"/>
              <a:gd name="connsiteY0-220" fmla="*/ 3164734 h 4358535"/>
              <a:gd name="connsiteX1-221" fmla="*/ 8553768 w 8564775"/>
              <a:gd name="connsiteY1-222" fmla="*/ 243734 h 4358535"/>
              <a:gd name="connsiteX2-223" fmla="*/ 8350568 w 8564775"/>
              <a:gd name="connsiteY2-224" fmla="*/ 40534 h 4358535"/>
              <a:gd name="connsiteX3-225" fmla="*/ 260668 w 8564775"/>
              <a:gd name="connsiteY3-226" fmla="*/ 40534 h 4358535"/>
              <a:gd name="connsiteX4-227" fmla="*/ 20956 w 8564775"/>
              <a:gd name="connsiteY4-228" fmla="*/ 299297 h 4358535"/>
              <a:gd name="connsiteX5-229" fmla="*/ 20956 w 8564775"/>
              <a:gd name="connsiteY5-230" fmla="*/ 4256935 h 4358535"/>
              <a:gd name="connsiteX6-231" fmla="*/ 113825 w 8564775"/>
              <a:gd name="connsiteY6-232" fmla="*/ 4358535 h 4358535"/>
              <a:gd name="connsiteX7-233" fmla="*/ 6610668 w 8564775"/>
              <a:gd name="connsiteY7-234" fmla="*/ 4358534 h 4358535"/>
              <a:gd name="connsiteX0-235" fmla="*/ 8553768 w 8564775"/>
              <a:gd name="connsiteY0-236" fmla="*/ 3164734 h 4367267"/>
              <a:gd name="connsiteX1-237" fmla="*/ 8553768 w 8564775"/>
              <a:gd name="connsiteY1-238" fmla="*/ 243734 h 4367267"/>
              <a:gd name="connsiteX2-239" fmla="*/ 8350568 w 8564775"/>
              <a:gd name="connsiteY2-240" fmla="*/ 40534 h 4367267"/>
              <a:gd name="connsiteX3-241" fmla="*/ 260668 w 8564775"/>
              <a:gd name="connsiteY3-242" fmla="*/ 40534 h 4367267"/>
              <a:gd name="connsiteX4-243" fmla="*/ 20956 w 8564775"/>
              <a:gd name="connsiteY4-244" fmla="*/ 299297 h 4367267"/>
              <a:gd name="connsiteX5-245" fmla="*/ 20956 w 8564775"/>
              <a:gd name="connsiteY5-246" fmla="*/ 4256935 h 4367267"/>
              <a:gd name="connsiteX6-247" fmla="*/ 113825 w 8564775"/>
              <a:gd name="connsiteY6-248" fmla="*/ 4358535 h 4367267"/>
              <a:gd name="connsiteX7-249" fmla="*/ 6610668 w 8564775"/>
              <a:gd name="connsiteY7-250" fmla="*/ 4358534 h 4367267"/>
              <a:gd name="connsiteX0-251" fmla="*/ 8553768 w 8564775"/>
              <a:gd name="connsiteY0-252" fmla="*/ 3164734 h 4367267"/>
              <a:gd name="connsiteX1-253" fmla="*/ 8553768 w 8564775"/>
              <a:gd name="connsiteY1-254" fmla="*/ 243734 h 4367267"/>
              <a:gd name="connsiteX2-255" fmla="*/ 8350568 w 8564775"/>
              <a:gd name="connsiteY2-256" fmla="*/ 40534 h 4367267"/>
              <a:gd name="connsiteX3-257" fmla="*/ 167799 w 8564775"/>
              <a:gd name="connsiteY3-258" fmla="*/ 43710 h 4367267"/>
              <a:gd name="connsiteX4-259" fmla="*/ 20956 w 8564775"/>
              <a:gd name="connsiteY4-260" fmla="*/ 299297 h 4367267"/>
              <a:gd name="connsiteX5-261" fmla="*/ 20956 w 8564775"/>
              <a:gd name="connsiteY5-262" fmla="*/ 4256935 h 4367267"/>
              <a:gd name="connsiteX6-263" fmla="*/ 113825 w 8564775"/>
              <a:gd name="connsiteY6-264" fmla="*/ 4358535 h 4367267"/>
              <a:gd name="connsiteX7-265" fmla="*/ 6610668 w 8564775"/>
              <a:gd name="connsiteY7-266" fmla="*/ 4358534 h 4367267"/>
              <a:gd name="connsiteX0-267" fmla="*/ 8553768 w 8564775"/>
              <a:gd name="connsiteY0-268" fmla="*/ 3309991 h 4512524"/>
              <a:gd name="connsiteX1-269" fmla="*/ 8553768 w 8564775"/>
              <a:gd name="connsiteY1-270" fmla="*/ 388991 h 4512524"/>
              <a:gd name="connsiteX2-271" fmla="*/ 8350568 w 8564775"/>
              <a:gd name="connsiteY2-272" fmla="*/ 185791 h 4512524"/>
              <a:gd name="connsiteX3-273" fmla="*/ 167799 w 8564775"/>
              <a:gd name="connsiteY3-274" fmla="*/ 188967 h 4512524"/>
              <a:gd name="connsiteX4-275" fmla="*/ 20956 w 8564775"/>
              <a:gd name="connsiteY4-276" fmla="*/ 299297 h 4512524"/>
              <a:gd name="connsiteX5-277" fmla="*/ 20956 w 8564775"/>
              <a:gd name="connsiteY5-278" fmla="*/ 4402192 h 4512524"/>
              <a:gd name="connsiteX6-279" fmla="*/ 113825 w 8564775"/>
              <a:gd name="connsiteY6-280" fmla="*/ 4503792 h 4512524"/>
              <a:gd name="connsiteX7-281" fmla="*/ 6610668 w 8564775"/>
              <a:gd name="connsiteY7-282" fmla="*/ 4503791 h 4512524"/>
              <a:gd name="connsiteX0-283" fmla="*/ 8553768 w 8564775"/>
              <a:gd name="connsiteY0-284" fmla="*/ 3343329 h 4545862"/>
              <a:gd name="connsiteX1-285" fmla="*/ 8553768 w 8564775"/>
              <a:gd name="connsiteY1-286" fmla="*/ 422329 h 4545862"/>
              <a:gd name="connsiteX2-287" fmla="*/ 8350568 w 8564775"/>
              <a:gd name="connsiteY2-288" fmla="*/ 219129 h 4545862"/>
              <a:gd name="connsiteX3-289" fmla="*/ 167799 w 8564775"/>
              <a:gd name="connsiteY3-290" fmla="*/ 222305 h 4545862"/>
              <a:gd name="connsiteX4-291" fmla="*/ 20956 w 8564775"/>
              <a:gd name="connsiteY4-292" fmla="*/ 299297 h 4545862"/>
              <a:gd name="connsiteX5-293" fmla="*/ 20956 w 8564775"/>
              <a:gd name="connsiteY5-294" fmla="*/ 4435530 h 4545862"/>
              <a:gd name="connsiteX6-295" fmla="*/ 113825 w 8564775"/>
              <a:gd name="connsiteY6-296" fmla="*/ 4537130 h 4545862"/>
              <a:gd name="connsiteX7-297" fmla="*/ 6610668 w 8564775"/>
              <a:gd name="connsiteY7-298" fmla="*/ 4537129 h 4545862"/>
              <a:gd name="connsiteX0-299" fmla="*/ 8545037 w 8556044"/>
              <a:gd name="connsiteY0-300" fmla="*/ 3152829 h 4355362"/>
              <a:gd name="connsiteX1-301" fmla="*/ 8545037 w 8556044"/>
              <a:gd name="connsiteY1-302" fmla="*/ 231829 h 4355362"/>
              <a:gd name="connsiteX2-303" fmla="*/ 8341837 w 8556044"/>
              <a:gd name="connsiteY2-304" fmla="*/ 28629 h 4355362"/>
              <a:gd name="connsiteX3-305" fmla="*/ 159068 w 8556044"/>
              <a:gd name="connsiteY3-306" fmla="*/ 31805 h 4355362"/>
              <a:gd name="connsiteX4-307" fmla="*/ 12225 w 8556044"/>
              <a:gd name="connsiteY4-308" fmla="*/ 108797 h 4355362"/>
              <a:gd name="connsiteX5-309" fmla="*/ 12225 w 8556044"/>
              <a:gd name="connsiteY5-310" fmla="*/ 4245030 h 4355362"/>
              <a:gd name="connsiteX6-311" fmla="*/ 105094 w 8556044"/>
              <a:gd name="connsiteY6-312" fmla="*/ 4346630 h 4355362"/>
              <a:gd name="connsiteX7-313" fmla="*/ 6601937 w 8556044"/>
              <a:gd name="connsiteY7-314" fmla="*/ 4346629 h 4355362"/>
              <a:gd name="connsiteX0-315" fmla="*/ 8590280 w 8601287"/>
              <a:gd name="connsiteY0-316" fmla="*/ 3152829 h 4355362"/>
              <a:gd name="connsiteX1-317" fmla="*/ 8590280 w 8601287"/>
              <a:gd name="connsiteY1-318" fmla="*/ 231829 h 4355362"/>
              <a:gd name="connsiteX2-319" fmla="*/ 8387080 w 8601287"/>
              <a:gd name="connsiteY2-320" fmla="*/ 28629 h 4355362"/>
              <a:gd name="connsiteX3-321" fmla="*/ 159068 w 8601287"/>
              <a:gd name="connsiteY3-322" fmla="*/ 31805 h 4355362"/>
              <a:gd name="connsiteX4-323" fmla="*/ 57468 w 8601287"/>
              <a:gd name="connsiteY4-324" fmla="*/ 108797 h 4355362"/>
              <a:gd name="connsiteX5-325" fmla="*/ 57468 w 8601287"/>
              <a:gd name="connsiteY5-326" fmla="*/ 4245030 h 4355362"/>
              <a:gd name="connsiteX6-327" fmla="*/ 150337 w 8601287"/>
              <a:gd name="connsiteY6-328" fmla="*/ 4346630 h 4355362"/>
              <a:gd name="connsiteX7-329" fmla="*/ 6647180 w 8601287"/>
              <a:gd name="connsiteY7-330" fmla="*/ 4346629 h 4355362"/>
              <a:gd name="connsiteX0-331" fmla="*/ 8537575 w 8548582"/>
              <a:gd name="connsiteY0-332" fmla="*/ 3152829 h 4355362"/>
              <a:gd name="connsiteX1-333" fmla="*/ 8537575 w 8548582"/>
              <a:gd name="connsiteY1-334" fmla="*/ 231829 h 4355362"/>
              <a:gd name="connsiteX2-335" fmla="*/ 8334375 w 8548582"/>
              <a:gd name="connsiteY2-336" fmla="*/ 28629 h 4355362"/>
              <a:gd name="connsiteX3-337" fmla="*/ 106363 w 8548582"/>
              <a:gd name="connsiteY3-338" fmla="*/ 31805 h 4355362"/>
              <a:gd name="connsiteX4-339" fmla="*/ 4763 w 8548582"/>
              <a:gd name="connsiteY4-340" fmla="*/ 108797 h 4355362"/>
              <a:gd name="connsiteX5-341" fmla="*/ 4763 w 8548582"/>
              <a:gd name="connsiteY5-342" fmla="*/ 4245030 h 4355362"/>
              <a:gd name="connsiteX6-343" fmla="*/ 97632 w 8548582"/>
              <a:gd name="connsiteY6-344" fmla="*/ 4346630 h 4355362"/>
              <a:gd name="connsiteX7-345" fmla="*/ 6594475 w 8548582"/>
              <a:gd name="connsiteY7-346" fmla="*/ 4346629 h 4355362"/>
              <a:gd name="connsiteX0-347" fmla="*/ 8537575 w 8548582"/>
              <a:gd name="connsiteY0-348" fmla="*/ 3152829 h 4355362"/>
              <a:gd name="connsiteX1-349" fmla="*/ 8537575 w 8548582"/>
              <a:gd name="connsiteY1-350" fmla="*/ 231829 h 4355362"/>
              <a:gd name="connsiteX2-351" fmla="*/ 8334375 w 8548582"/>
              <a:gd name="connsiteY2-352" fmla="*/ 28629 h 4355362"/>
              <a:gd name="connsiteX3-353" fmla="*/ 106363 w 8548582"/>
              <a:gd name="connsiteY3-354" fmla="*/ 31805 h 4355362"/>
              <a:gd name="connsiteX4-355" fmla="*/ 4763 w 8548582"/>
              <a:gd name="connsiteY4-356" fmla="*/ 108797 h 4355362"/>
              <a:gd name="connsiteX5-357" fmla="*/ 4763 w 8548582"/>
              <a:gd name="connsiteY5-358" fmla="*/ 4245030 h 4355362"/>
              <a:gd name="connsiteX6-359" fmla="*/ 97632 w 8548582"/>
              <a:gd name="connsiteY6-360" fmla="*/ 4346630 h 4355362"/>
              <a:gd name="connsiteX7-361" fmla="*/ 6594475 w 8548582"/>
              <a:gd name="connsiteY7-362" fmla="*/ 4346629 h 4355362"/>
              <a:gd name="connsiteX0-363" fmla="*/ 8537575 w 8548582"/>
              <a:gd name="connsiteY0-364" fmla="*/ 3152829 h 4355362"/>
              <a:gd name="connsiteX1-365" fmla="*/ 8537575 w 8548582"/>
              <a:gd name="connsiteY1-366" fmla="*/ 231829 h 4355362"/>
              <a:gd name="connsiteX2-367" fmla="*/ 8334375 w 8548582"/>
              <a:gd name="connsiteY2-368" fmla="*/ 28629 h 4355362"/>
              <a:gd name="connsiteX3-369" fmla="*/ 106363 w 8548582"/>
              <a:gd name="connsiteY3-370" fmla="*/ 31805 h 4355362"/>
              <a:gd name="connsiteX4-371" fmla="*/ 4763 w 8548582"/>
              <a:gd name="connsiteY4-372" fmla="*/ 108797 h 4355362"/>
              <a:gd name="connsiteX5-373" fmla="*/ 4763 w 8548582"/>
              <a:gd name="connsiteY5-374" fmla="*/ 4245030 h 4355362"/>
              <a:gd name="connsiteX6-375" fmla="*/ 97632 w 8548582"/>
              <a:gd name="connsiteY6-376" fmla="*/ 4346630 h 4355362"/>
              <a:gd name="connsiteX7-377" fmla="*/ 6594475 w 8548582"/>
              <a:gd name="connsiteY7-378" fmla="*/ 4346629 h 4355362"/>
              <a:gd name="connsiteX0-379" fmla="*/ 8537575 w 8548582"/>
              <a:gd name="connsiteY0-380" fmla="*/ 3152829 h 4355362"/>
              <a:gd name="connsiteX1-381" fmla="*/ 8537575 w 8548582"/>
              <a:gd name="connsiteY1-382" fmla="*/ 231829 h 4355362"/>
              <a:gd name="connsiteX2-383" fmla="*/ 8334375 w 8548582"/>
              <a:gd name="connsiteY2-384" fmla="*/ 28629 h 4355362"/>
              <a:gd name="connsiteX3-385" fmla="*/ 106363 w 8548582"/>
              <a:gd name="connsiteY3-386" fmla="*/ 31805 h 4355362"/>
              <a:gd name="connsiteX4-387" fmla="*/ 4763 w 8548582"/>
              <a:gd name="connsiteY4-388" fmla="*/ 108797 h 4355362"/>
              <a:gd name="connsiteX5-389" fmla="*/ 4763 w 8548582"/>
              <a:gd name="connsiteY5-390" fmla="*/ 4245030 h 4355362"/>
              <a:gd name="connsiteX6-391" fmla="*/ 97632 w 8548582"/>
              <a:gd name="connsiteY6-392" fmla="*/ 4346630 h 4355362"/>
              <a:gd name="connsiteX7-393" fmla="*/ 6594475 w 8548582"/>
              <a:gd name="connsiteY7-394" fmla="*/ 4346629 h 4355362"/>
              <a:gd name="connsiteX0-395" fmla="*/ 8537575 w 8548582"/>
              <a:gd name="connsiteY0-396" fmla="*/ 3152829 h 4355362"/>
              <a:gd name="connsiteX1-397" fmla="*/ 8537575 w 8548582"/>
              <a:gd name="connsiteY1-398" fmla="*/ 231829 h 4355362"/>
              <a:gd name="connsiteX2-399" fmla="*/ 8334375 w 8548582"/>
              <a:gd name="connsiteY2-400" fmla="*/ 28629 h 4355362"/>
              <a:gd name="connsiteX3-401" fmla="*/ 106363 w 8548582"/>
              <a:gd name="connsiteY3-402" fmla="*/ 31805 h 4355362"/>
              <a:gd name="connsiteX4-403" fmla="*/ 4763 w 8548582"/>
              <a:gd name="connsiteY4-404" fmla="*/ 108797 h 4355362"/>
              <a:gd name="connsiteX5-405" fmla="*/ 4763 w 8548582"/>
              <a:gd name="connsiteY5-406" fmla="*/ 4245030 h 4355362"/>
              <a:gd name="connsiteX6-407" fmla="*/ 97632 w 8548582"/>
              <a:gd name="connsiteY6-408" fmla="*/ 4346630 h 4355362"/>
              <a:gd name="connsiteX7-409" fmla="*/ 6594475 w 8548582"/>
              <a:gd name="connsiteY7-410" fmla="*/ 4346629 h 4355362"/>
              <a:gd name="connsiteX0-411" fmla="*/ 8537575 w 8548582"/>
              <a:gd name="connsiteY0-412" fmla="*/ 3152829 h 4355362"/>
              <a:gd name="connsiteX1-413" fmla="*/ 8537575 w 8548582"/>
              <a:gd name="connsiteY1-414" fmla="*/ 231829 h 4355362"/>
              <a:gd name="connsiteX2-415" fmla="*/ 8334375 w 8548582"/>
              <a:gd name="connsiteY2-416" fmla="*/ 28629 h 4355362"/>
              <a:gd name="connsiteX3-417" fmla="*/ 106363 w 8548582"/>
              <a:gd name="connsiteY3-418" fmla="*/ 31805 h 4355362"/>
              <a:gd name="connsiteX4-419" fmla="*/ 4763 w 8548582"/>
              <a:gd name="connsiteY4-420" fmla="*/ 108797 h 4355362"/>
              <a:gd name="connsiteX5-421" fmla="*/ 4763 w 8548582"/>
              <a:gd name="connsiteY5-422" fmla="*/ 4245030 h 4355362"/>
              <a:gd name="connsiteX6-423" fmla="*/ 97632 w 8548582"/>
              <a:gd name="connsiteY6-424" fmla="*/ 4346630 h 4355362"/>
              <a:gd name="connsiteX7-425" fmla="*/ 6594475 w 8548582"/>
              <a:gd name="connsiteY7-426" fmla="*/ 4346629 h 4355362"/>
              <a:gd name="connsiteX0-427" fmla="*/ 8537575 w 8548582"/>
              <a:gd name="connsiteY0-428" fmla="*/ 3141768 h 4344301"/>
              <a:gd name="connsiteX1-429" fmla="*/ 8537575 w 8548582"/>
              <a:gd name="connsiteY1-430" fmla="*/ 220768 h 4344301"/>
              <a:gd name="connsiteX2-431" fmla="*/ 8334375 w 8548582"/>
              <a:gd name="connsiteY2-432" fmla="*/ 17568 h 4344301"/>
              <a:gd name="connsiteX3-433" fmla="*/ 106363 w 8548582"/>
              <a:gd name="connsiteY3-434" fmla="*/ 20744 h 4344301"/>
              <a:gd name="connsiteX4-435" fmla="*/ 4762 w 8548582"/>
              <a:gd name="connsiteY4-436" fmla="*/ 109642 h 4344301"/>
              <a:gd name="connsiteX5-437" fmla="*/ 4763 w 8548582"/>
              <a:gd name="connsiteY5-438" fmla="*/ 4233969 h 4344301"/>
              <a:gd name="connsiteX6-439" fmla="*/ 97632 w 8548582"/>
              <a:gd name="connsiteY6-440" fmla="*/ 4335569 h 4344301"/>
              <a:gd name="connsiteX7-441" fmla="*/ 6594475 w 8548582"/>
              <a:gd name="connsiteY7-442" fmla="*/ 4335568 h 4344301"/>
              <a:gd name="connsiteX0-443" fmla="*/ 8539482 w 8550489"/>
              <a:gd name="connsiteY0-444" fmla="*/ 3154417 h 4356950"/>
              <a:gd name="connsiteX1-445" fmla="*/ 8539482 w 8550489"/>
              <a:gd name="connsiteY1-446" fmla="*/ 233417 h 4356950"/>
              <a:gd name="connsiteX2-447" fmla="*/ 8336282 w 8550489"/>
              <a:gd name="connsiteY2-448" fmla="*/ 30217 h 4356950"/>
              <a:gd name="connsiteX3-449" fmla="*/ 108270 w 8550489"/>
              <a:gd name="connsiteY3-450" fmla="*/ 33393 h 4356950"/>
              <a:gd name="connsiteX4-451" fmla="*/ 6669 w 8550489"/>
              <a:gd name="connsiteY4-452" fmla="*/ 122291 h 4356950"/>
              <a:gd name="connsiteX5-453" fmla="*/ 6670 w 8550489"/>
              <a:gd name="connsiteY5-454" fmla="*/ 4246618 h 4356950"/>
              <a:gd name="connsiteX6-455" fmla="*/ 99539 w 8550489"/>
              <a:gd name="connsiteY6-456" fmla="*/ 4348218 h 4356950"/>
              <a:gd name="connsiteX7-457" fmla="*/ 6596382 w 8550489"/>
              <a:gd name="connsiteY7-458" fmla="*/ 4348217 h 4356950"/>
              <a:gd name="connsiteX0-459" fmla="*/ 8539482 w 8550489"/>
              <a:gd name="connsiteY0-460" fmla="*/ 3154417 h 4356950"/>
              <a:gd name="connsiteX1-461" fmla="*/ 8539482 w 8550489"/>
              <a:gd name="connsiteY1-462" fmla="*/ 233417 h 4356950"/>
              <a:gd name="connsiteX2-463" fmla="*/ 8336282 w 8550489"/>
              <a:gd name="connsiteY2-464" fmla="*/ 30217 h 4356950"/>
              <a:gd name="connsiteX3-465" fmla="*/ 103508 w 8550489"/>
              <a:gd name="connsiteY3-466" fmla="*/ 33393 h 4356950"/>
              <a:gd name="connsiteX4-467" fmla="*/ 6669 w 8550489"/>
              <a:gd name="connsiteY4-468" fmla="*/ 122291 h 4356950"/>
              <a:gd name="connsiteX5-469" fmla="*/ 6670 w 8550489"/>
              <a:gd name="connsiteY5-470" fmla="*/ 4246618 h 4356950"/>
              <a:gd name="connsiteX6-471" fmla="*/ 99539 w 8550489"/>
              <a:gd name="connsiteY6-472" fmla="*/ 4348218 h 4356950"/>
              <a:gd name="connsiteX7-473" fmla="*/ 6596382 w 8550489"/>
              <a:gd name="connsiteY7-474" fmla="*/ 4348217 h 4356950"/>
              <a:gd name="connsiteX0-475" fmla="*/ 8539482 w 8550489"/>
              <a:gd name="connsiteY0-476" fmla="*/ 3154417 h 4356950"/>
              <a:gd name="connsiteX1-477" fmla="*/ 8539482 w 8550489"/>
              <a:gd name="connsiteY1-478" fmla="*/ 233417 h 4356950"/>
              <a:gd name="connsiteX2-479" fmla="*/ 8336282 w 8550489"/>
              <a:gd name="connsiteY2-480" fmla="*/ 30217 h 4356950"/>
              <a:gd name="connsiteX3-481" fmla="*/ 103508 w 8550489"/>
              <a:gd name="connsiteY3-482" fmla="*/ 33393 h 4356950"/>
              <a:gd name="connsiteX4-483" fmla="*/ 6669 w 8550489"/>
              <a:gd name="connsiteY4-484" fmla="*/ 122291 h 4356950"/>
              <a:gd name="connsiteX5-485" fmla="*/ 6670 w 8550489"/>
              <a:gd name="connsiteY5-486" fmla="*/ 4246618 h 4356950"/>
              <a:gd name="connsiteX6-487" fmla="*/ 99539 w 8550489"/>
              <a:gd name="connsiteY6-488" fmla="*/ 4348218 h 4356950"/>
              <a:gd name="connsiteX7-489" fmla="*/ 6596382 w 8550489"/>
              <a:gd name="connsiteY7-490" fmla="*/ 4348217 h 4356950"/>
              <a:gd name="connsiteX0-491" fmla="*/ 8539482 w 8550489"/>
              <a:gd name="connsiteY0-492" fmla="*/ 3154417 h 4356950"/>
              <a:gd name="connsiteX1-493" fmla="*/ 8539482 w 8550489"/>
              <a:gd name="connsiteY1-494" fmla="*/ 233417 h 4356950"/>
              <a:gd name="connsiteX2-495" fmla="*/ 8336282 w 8550489"/>
              <a:gd name="connsiteY2-496" fmla="*/ 30217 h 4356950"/>
              <a:gd name="connsiteX3-497" fmla="*/ 103508 w 8550489"/>
              <a:gd name="connsiteY3-498" fmla="*/ 33393 h 4356950"/>
              <a:gd name="connsiteX4-499" fmla="*/ 6669 w 8550489"/>
              <a:gd name="connsiteY4-500" fmla="*/ 122291 h 4356950"/>
              <a:gd name="connsiteX5-501" fmla="*/ 6670 w 8550489"/>
              <a:gd name="connsiteY5-502" fmla="*/ 4246618 h 4356950"/>
              <a:gd name="connsiteX6-503" fmla="*/ 99539 w 8550489"/>
              <a:gd name="connsiteY6-504" fmla="*/ 4348218 h 4356950"/>
              <a:gd name="connsiteX7-505" fmla="*/ 6596382 w 8550489"/>
              <a:gd name="connsiteY7-506" fmla="*/ 4348217 h 4356950"/>
              <a:gd name="connsiteX0-507" fmla="*/ 8539482 w 8550489"/>
              <a:gd name="connsiteY0-508" fmla="*/ 3154417 h 4356950"/>
              <a:gd name="connsiteX1-509" fmla="*/ 8539482 w 8550489"/>
              <a:gd name="connsiteY1-510" fmla="*/ 233417 h 4356950"/>
              <a:gd name="connsiteX2-511" fmla="*/ 8336282 w 8550489"/>
              <a:gd name="connsiteY2-512" fmla="*/ 30217 h 4356950"/>
              <a:gd name="connsiteX3-513" fmla="*/ 103508 w 8550489"/>
              <a:gd name="connsiteY3-514" fmla="*/ 33393 h 4356950"/>
              <a:gd name="connsiteX4-515" fmla="*/ 6669 w 8550489"/>
              <a:gd name="connsiteY4-516" fmla="*/ 122291 h 4356950"/>
              <a:gd name="connsiteX5-517" fmla="*/ 6670 w 8550489"/>
              <a:gd name="connsiteY5-518" fmla="*/ 4246618 h 4356950"/>
              <a:gd name="connsiteX6-519" fmla="*/ 99539 w 8550489"/>
              <a:gd name="connsiteY6-520" fmla="*/ 4348218 h 4356950"/>
              <a:gd name="connsiteX7-521" fmla="*/ 6596382 w 8550489"/>
              <a:gd name="connsiteY7-522" fmla="*/ 4348217 h 4356950"/>
              <a:gd name="connsiteX0-523" fmla="*/ 8539482 w 8550489"/>
              <a:gd name="connsiteY0-524" fmla="*/ 3154417 h 4356950"/>
              <a:gd name="connsiteX1-525" fmla="*/ 8539482 w 8550489"/>
              <a:gd name="connsiteY1-526" fmla="*/ 233417 h 4356950"/>
              <a:gd name="connsiteX2-527" fmla="*/ 8336282 w 8550489"/>
              <a:gd name="connsiteY2-528" fmla="*/ 30217 h 4356950"/>
              <a:gd name="connsiteX3-529" fmla="*/ 103508 w 8550489"/>
              <a:gd name="connsiteY3-530" fmla="*/ 33393 h 4356950"/>
              <a:gd name="connsiteX4-531" fmla="*/ 6669 w 8550489"/>
              <a:gd name="connsiteY4-532" fmla="*/ 122291 h 4356950"/>
              <a:gd name="connsiteX5-533" fmla="*/ 6670 w 8550489"/>
              <a:gd name="connsiteY5-534" fmla="*/ 4246618 h 4356950"/>
              <a:gd name="connsiteX6-535" fmla="*/ 99539 w 8550489"/>
              <a:gd name="connsiteY6-536" fmla="*/ 4348218 h 4356950"/>
              <a:gd name="connsiteX7-537" fmla="*/ 6596382 w 8550489"/>
              <a:gd name="connsiteY7-538" fmla="*/ 4348217 h 4356950"/>
              <a:gd name="connsiteX0-539" fmla="*/ 8539482 w 8550489"/>
              <a:gd name="connsiteY0-540" fmla="*/ 3159230 h 4361763"/>
              <a:gd name="connsiteX1-541" fmla="*/ 8539482 w 8550489"/>
              <a:gd name="connsiteY1-542" fmla="*/ 238230 h 4361763"/>
              <a:gd name="connsiteX2-543" fmla="*/ 8336282 w 8550489"/>
              <a:gd name="connsiteY2-544" fmla="*/ 35030 h 4361763"/>
              <a:gd name="connsiteX3-545" fmla="*/ 103508 w 8550489"/>
              <a:gd name="connsiteY3-546" fmla="*/ 38206 h 4361763"/>
              <a:gd name="connsiteX4-547" fmla="*/ 6669 w 8550489"/>
              <a:gd name="connsiteY4-548" fmla="*/ 127104 h 4361763"/>
              <a:gd name="connsiteX5-549" fmla="*/ 6670 w 8550489"/>
              <a:gd name="connsiteY5-550" fmla="*/ 4251431 h 4361763"/>
              <a:gd name="connsiteX6-551" fmla="*/ 99539 w 8550489"/>
              <a:gd name="connsiteY6-552" fmla="*/ 4353031 h 4361763"/>
              <a:gd name="connsiteX7-553" fmla="*/ 6596382 w 8550489"/>
              <a:gd name="connsiteY7-554" fmla="*/ 4353030 h 4361763"/>
              <a:gd name="connsiteX0-555" fmla="*/ 8539482 w 8550489"/>
              <a:gd name="connsiteY0-556" fmla="*/ 3154417 h 4356950"/>
              <a:gd name="connsiteX1-557" fmla="*/ 8539482 w 8550489"/>
              <a:gd name="connsiteY1-558" fmla="*/ 233417 h 4356950"/>
              <a:gd name="connsiteX2-559" fmla="*/ 8336282 w 8550489"/>
              <a:gd name="connsiteY2-560" fmla="*/ 30217 h 4356950"/>
              <a:gd name="connsiteX3-561" fmla="*/ 103508 w 8550489"/>
              <a:gd name="connsiteY3-562" fmla="*/ 33393 h 4356950"/>
              <a:gd name="connsiteX4-563" fmla="*/ 6669 w 8550489"/>
              <a:gd name="connsiteY4-564" fmla="*/ 122291 h 4356950"/>
              <a:gd name="connsiteX5-565" fmla="*/ 6670 w 8550489"/>
              <a:gd name="connsiteY5-566" fmla="*/ 4246618 h 4356950"/>
              <a:gd name="connsiteX6-567" fmla="*/ 99539 w 8550489"/>
              <a:gd name="connsiteY6-568" fmla="*/ 4348218 h 4356950"/>
              <a:gd name="connsiteX7-569" fmla="*/ 6596382 w 8550489"/>
              <a:gd name="connsiteY7-570" fmla="*/ 4348217 h 4356950"/>
              <a:gd name="connsiteX0-571" fmla="*/ 8539482 w 8550489"/>
              <a:gd name="connsiteY0-572" fmla="*/ 3154417 h 4356950"/>
              <a:gd name="connsiteX1-573" fmla="*/ 8539482 w 8550489"/>
              <a:gd name="connsiteY1-574" fmla="*/ 233417 h 4356950"/>
              <a:gd name="connsiteX2-575" fmla="*/ 8336282 w 8550489"/>
              <a:gd name="connsiteY2-576" fmla="*/ 30217 h 4356950"/>
              <a:gd name="connsiteX3-577" fmla="*/ 103508 w 8550489"/>
              <a:gd name="connsiteY3-578" fmla="*/ 33393 h 4356950"/>
              <a:gd name="connsiteX4-579" fmla="*/ 6669 w 8550489"/>
              <a:gd name="connsiteY4-580" fmla="*/ 122291 h 4356950"/>
              <a:gd name="connsiteX5-581" fmla="*/ 6670 w 8550489"/>
              <a:gd name="connsiteY5-582" fmla="*/ 4246618 h 4356950"/>
              <a:gd name="connsiteX6-583" fmla="*/ 99539 w 8550489"/>
              <a:gd name="connsiteY6-584" fmla="*/ 4348218 h 4356950"/>
              <a:gd name="connsiteX7-585" fmla="*/ 6596382 w 8550489"/>
              <a:gd name="connsiteY7-586" fmla="*/ 4348217 h 4356950"/>
              <a:gd name="connsiteX0-587" fmla="*/ 8539482 w 8550489"/>
              <a:gd name="connsiteY0-588" fmla="*/ 3154417 h 4356950"/>
              <a:gd name="connsiteX1-589" fmla="*/ 8539482 w 8550489"/>
              <a:gd name="connsiteY1-590" fmla="*/ 233417 h 4356950"/>
              <a:gd name="connsiteX2-591" fmla="*/ 8336282 w 8550489"/>
              <a:gd name="connsiteY2-592" fmla="*/ 30217 h 4356950"/>
              <a:gd name="connsiteX3-593" fmla="*/ 103508 w 8550489"/>
              <a:gd name="connsiteY3-594" fmla="*/ 33393 h 4356950"/>
              <a:gd name="connsiteX4-595" fmla="*/ 6669 w 8550489"/>
              <a:gd name="connsiteY4-596" fmla="*/ 122291 h 4356950"/>
              <a:gd name="connsiteX5-597" fmla="*/ 6670 w 8550489"/>
              <a:gd name="connsiteY5-598" fmla="*/ 4246618 h 4356950"/>
              <a:gd name="connsiteX6-599" fmla="*/ 99539 w 8550489"/>
              <a:gd name="connsiteY6-600" fmla="*/ 4348218 h 4356950"/>
              <a:gd name="connsiteX7-601" fmla="*/ 6596382 w 8550489"/>
              <a:gd name="connsiteY7-602" fmla="*/ 4348217 h 4356950"/>
              <a:gd name="connsiteX0-603" fmla="*/ 8539481 w 8550488"/>
              <a:gd name="connsiteY0-604" fmla="*/ 3142511 h 4345044"/>
              <a:gd name="connsiteX1-605" fmla="*/ 8539481 w 8550488"/>
              <a:gd name="connsiteY1-606" fmla="*/ 221511 h 4345044"/>
              <a:gd name="connsiteX2-607" fmla="*/ 8336281 w 8550488"/>
              <a:gd name="connsiteY2-608" fmla="*/ 18311 h 4345044"/>
              <a:gd name="connsiteX3-609" fmla="*/ 103507 w 8550488"/>
              <a:gd name="connsiteY3-610" fmla="*/ 21487 h 4345044"/>
              <a:gd name="connsiteX4-611" fmla="*/ 6669 w 8550488"/>
              <a:gd name="connsiteY4-612" fmla="*/ 122291 h 4345044"/>
              <a:gd name="connsiteX5-613" fmla="*/ 6669 w 8550488"/>
              <a:gd name="connsiteY5-614" fmla="*/ 4234712 h 4345044"/>
              <a:gd name="connsiteX6-615" fmla="*/ 99538 w 8550488"/>
              <a:gd name="connsiteY6-616" fmla="*/ 4336312 h 4345044"/>
              <a:gd name="connsiteX7-617" fmla="*/ 6596381 w 8550488"/>
              <a:gd name="connsiteY7-618" fmla="*/ 4336311 h 4345044"/>
              <a:gd name="connsiteX0-619" fmla="*/ 8539481 w 8550487"/>
              <a:gd name="connsiteY0-620" fmla="*/ 3246543 h 4449076"/>
              <a:gd name="connsiteX1-621" fmla="*/ 8539480 w 8550487"/>
              <a:gd name="connsiteY1-622" fmla="*/ 220768 h 4449076"/>
              <a:gd name="connsiteX2-623" fmla="*/ 8336281 w 8550487"/>
              <a:gd name="connsiteY2-624" fmla="*/ 122343 h 4449076"/>
              <a:gd name="connsiteX3-625" fmla="*/ 103507 w 8550487"/>
              <a:gd name="connsiteY3-626" fmla="*/ 125519 h 4449076"/>
              <a:gd name="connsiteX4-627" fmla="*/ 6669 w 8550487"/>
              <a:gd name="connsiteY4-628" fmla="*/ 226323 h 4449076"/>
              <a:gd name="connsiteX5-629" fmla="*/ 6669 w 8550487"/>
              <a:gd name="connsiteY5-630" fmla="*/ 4338744 h 4449076"/>
              <a:gd name="connsiteX6-631" fmla="*/ 99538 w 8550487"/>
              <a:gd name="connsiteY6-632" fmla="*/ 4440344 h 4449076"/>
              <a:gd name="connsiteX7-633" fmla="*/ 6596381 w 8550487"/>
              <a:gd name="connsiteY7-634" fmla="*/ 4440343 h 4449076"/>
              <a:gd name="connsiteX0-635" fmla="*/ 8539481 w 8597847"/>
              <a:gd name="connsiteY0-636" fmla="*/ 3246543 h 4449076"/>
              <a:gd name="connsiteX1-637" fmla="*/ 8539480 w 8597847"/>
              <a:gd name="connsiteY1-638" fmla="*/ 220768 h 4449076"/>
              <a:gd name="connsiteX2-639" fmla="*/ 8438674 w 8597847"/>
              <a:gd name="connsiteY2-640" fmla="*/ 125519 h 4449076"/>
              <a:gd name="connsiteX3-641" fmla="*/ 103507 w 8597847"/>
              <a:gd name="connsiteY3-642" fmla="*/ 125519 h 4449076"/>
              <a:gd name="connsiteX4-643" fmla="*/ 6669 w 8597847"/>
              <a:gd name="connsiteY4-644" fmla="*/ 226323 h 4449076"/>
              <a:gd name="connsiteX5-645" fmla="*/ 6669 w 8597847"/>
              <a:gd name="connsiteY5-646" fmla="*/ 4338744 h 4449076"/>
              <a:gd name="connsiteX6-647" fmla="*/ 99538 w 8597847"/>
              <a:gd name="connsiteY6-648" fmla="*/ 4440344 h 4449076"/>
              <a:gd name="connsiteX7-649" fmla="*/ 6596381 w 8597847"/>
              <a:gd name="connsiteY7-650" fmla="*/ 4440343 h 4449076"/>
              <a:gd name="connsiteX0-651" fmla="*/ 8539481 w 8550487"/>
              <a:gd name="connsiteY0-652" fmla="*/ 3246543 h 4449076"/>
              <a:gd name="connsiteX1-653" fmla="*/ 8539480 w 8550487"/>
              <a:gd name="connsiteY1-654" fmla="*/ 220768 h 4449076"/>
              <a:gd name="connsiteX2-655" fmla="*/ 8438674 w 8550487"/>
              <a:gd name="connsiteY2-656" fmla="*/ 125519 h 4449076"/>
              <a:gd name="connsiteX3-657" fmla="*/ 103507 w 8550487"/>
              <a:gd name="connsiteY3-658" fmla="*/ 125519 h 4449076"/>
              <a:gd name="connsiteX4-659" fmla="*/ 6669 w 8550487"/>
              <a:gd name="connsiteY4-660" fmla="*/ 226323 h 4449076"/>
              <a:gd name="connsiteX5-661" fmla="*/ 6669 w 8550487"/>
              <a:gd name="connsiteY5-662" fmla="*/ 4338744 h 4449076"/>
              <a:gd name="connsiteX6-663" fmla="*/ 99538 w 8550487"/>
              <a:gd name="connsiteY6-664" fmla="*/ 4440344 h 4449076"/>
              <a:gd name="connsiteX7-665" fmla="*/ 6596381 w 8550487"/>
              <a:gd name="connsiteY7-666" fmla="*/ 4440343 h 4449076"/>
              <a:gd name="connsiteX0-667" fmla="*/ 8539481 w 8556837"/>
              <a:gd name="connsiteY0-668" fmla="*/ 3151293 h 4353826"/>
              <a:gd name="connsiteX1-669" fmla="*/ 8539480 w 8556837"/>
              <a:gd name="connsiteY1-670" fmla="*/ 125518 h 4353826"/>
              <a:gd name="connsiteX2-671" fmla="*/ 8438674 w 8556837"/>
              <a:gd name="connsiteY2-672" fmla="*/ 30269 h 4353826"/>
              <a:gd name="connsiteX3-673" fmla="*/ 103507 w 8556837"/>
              <a:gd name="connsiteY3-674" fmla="*/ 30269 h 4353826"/>
              <a:gd name="connsiteX4-675" fmla="*/ 6669 w 8556837"/>
              <a:gd name="connsiteY4-676" fmla="*/ 131073 h 4353826"/>
              <a:gd name="connsiteX5-677" fmla="*/ 6669 w 8556837"/>
              <a:gd name="connsiteY5-678" fmla="*/ 4243494 h 4353826"/>
              <a:gd name="connsiteX6-679" fmla="*/ 99538 w 8556837"/>
              <a:gd name="connsiteY6-680" fmla="*/ 4345094 h 4353826"/>
              <a:gd name="connsiteX7-681" fmla="*/ 6596381 w 8556837"/>
              <a:gd name="connsiteY7-682" fmla="*/ 4345093 h 4353826"/>
              <a:gd name="connsiteX0-683" fmla="*/ 8539481 w 8539481"/>
              <a:gd name="connsiteY0-684" fmla="*/ 3142511 h 4345044"/>
              <a:gd name="connsiteX1-685" fmla="*/ 8539480 w 8539481"/>
              <a:gd name="connsiteY1-686" fmla="*/ 116736 h 4345044"/>
              <a:gd name="connsiteX2-687" fmla="*/ 8438674 w 8539481"/>
              <a:gd name="connsiteY2-688" fmla="*/ 21487 h 4345044"/>
              <a:gd name="connsiteX3-689" fmla="*/ 103507 w 8539481"/>
              <a:gd name="connsiteY3-690" fmla="*/ 21487 h 4345044"/>
              <a:gd name="connsiteX4-691" fmla="*/ 6669 w 8539481"/>
              <a:gd name="connsiteY4-692" fmla="*/ 122291 h 4345044"/>
              <a:gd name="connsiteX5-693" fmla="*/ 6669 w 8539481"/>
              <a:gd name="connsiteY5-694" fmla="*/ 4234712 h 4345044"/>
              <a:gd name="connsiteX6-695" fmla="*/ 99538 w 8539481"/>
              <a:gd name="connsiteY6-696" fmla="*/ 4336312 h 4345044"/>
              <a:gd name="connsiteX7-697" fmla="*/ 6596381 w 8539481"/>
              <a:gd name="connsiteY7-698" fmla="*/ 4336311 h 4345044"/>
              <a:gd name="connsiteX0-699" fmla="*/ 8539481 w 8539481"/>
              <a:gd name="connsiteY0-700" fmla="*/ 3148119 h 4350652"/>
              <a:gd name="connsiteX1-701" fmla="*/ 8539480 w 8539481"/>
              <a:gd name="connsiteY1-702" fmla="*/ 122344 h 4350652"/>
              <a:gd name="connsiteX2-703" fmla="*/ 8438674 w 8539481"/>
              <a:gd name="connsiteY2-704" fmla="*/ 27095 h 4350652"/>
              <a:gd name="connsiteX3-705" fmla="*/ 103507 w 8539481"/>
              <a:gd name="connsiteY3-706" fmla="*/ 27095 h 4350652"/>
              <a:gd name="connsiteX4-707" fmla="*/ 6669 w 8539481"/>
              <a:gd name="connsiteY4-708" fmla="*/ 127899 h 4350652"/>
              <a:gd name="connsiteX5-709" fmla="*/ 6669 w 8539481"/>
              <a:gd name="connsiteY5-710" fmla="*/ 4240320 h 4350652"/>
              <a:gd name="connsiteX6-711" fmla="*/ 99538 w 8539481"/>
              <a:gd name="connsiteY6-712" fmla="*/ 4341920 h 4350652"/>
              <a:gd name="connsiteX7-713" fmla="*/ 6596381 w 8539481"/>
              <a:gd name="connsiteY7-714" fmla="*/ 4341919 h 4350652"/>
              <a:gd name="connsiteX0-715" fmla="*/ 8539481 w 8539481"/>
              <a:gd name="connsiteY0-716" fmla="*/ 3148119 h 4350652"/>
              <a:gd name="connsiteX1-717" fmla="*/ 8539480 w 8539481"/>
              <a:gd name="connsiteY1-718" fmla="*/ 122344 h 4350652"/>
              <a:gd name="connsiteX2-719" fmla="*/ 8438674 w 8539481"/>
              <a:gd name="connsiteY2-720" fmla="*/ 27095 h 4350652"/>
              <a:gd name="connsiteX3-721" fmla="*/ 103507 w 8539481"/>
              <a:gd name="connsiteY3-722" fmla="*/ 27095 h 4350652"/>
              <a:gd name="connsiteX4-723" fmla="*/ 6669 w 8539481"/>
              <a:gd name="connsiteY4-724" fmla="*/ 127899 h 4350652"/>
              <a:gd name="connsiteX5-725" fmla="*/ 6669 w 8539481"/>
              <a:gd name="connsiteY5-726" fmla="*/ 4240320 h 4350652"/>
              <a:gd name="connsiteX6-727" fmla="*/ 99538 w 8539481"/>
              <a:gd name="connsiteY6-728" fmla="*/ 4341920 h 4350652"/>
              <a:gd name="connsiteX7-729" fmla="*/ 6596381 w 8539481"/>
              <a:gd name="connsiteY7-730" fmla="*/ 4341919 h 4350652"/>
              <a:gd name="connsiteX0-731" fmla="*/ 8539481 w 8539481"/>
              <a:gd name="connsiteY0-732" fmla="*/ 3148119 h 4350652"/>
              <a:gd name="connsiteX1-733" fmla="*/ 8539480 w 8539481"/>
              <a:gd name="connsiteY1-734" fmla="*/ 122344 h 4350652"/>
              <a:gd name="connsiteX2-735" fmla="*/ 8438674 w 8539481"/>
              <a:gd name="connsiteY2-736" fmla="*/ 27095 h 4350652"/>
              <a:gd name="connsiteX3-737" fmla="*/ 103507 w 8539481"/>
              <a:gd name="connsiteY3-738" fmla="*/ 27095 h 4350652"/>
              <a:gd name="connsiteX4-739" fmla="*/ 6669 w 8539481"/>
              <a:gd name="connsiteY4-740" fmla="*/ 127899 h 4350652"/>
              <a:gd name="connsiteX5-741" fmla="*/ 6669 w 8539481"/>
              <a:gd name="connsiteY5-742" fmla="*/ 4240320 h 4350652"/>
              <a:gd name="connsiteX6-743" fmla="*/ 99538 w 8539481"/>
              <a:gd name="connsiteY6-744" fmla="*/ 4341920 h 4350652"/>
              <a:gd name="connsiteX7-745" fmla="*/ 6596381 w 8539481"/>
              <a:gd name="connsiteY7-746" fmla="*/ 4341919 h 4350652"/>
              <a:gd name="connsiteX0-747" fmla="*/ 8539481 w 8539481"/>
              <a:gd name="connsiteY0-748" fmla="*/ 3142511 h 4345044"/>
              <a:gd name="connsiteX1-749" fmla="*/ 8539481 w 8539481"/>
              <a:gd name="connsiteY1-750" fmla="*/ 131023 h 4345044"/>
              <a:gd name="connsiteX2-751" fmla="*/ 8438674 w 8539481"/>
              <a:gd name="connsiteY2-752" fmla="*/ 21487 h 4345044"/>
              <a:gd name="connsiteX3-753" fmla="*/ 103507 w 8539481"/>
              <a:gd name="connsiteY3-754" fmla="*/ 21487 h 4345044"/>
              <a:gd name="connsiteX4-755" fmla="*/ 6669 w 8539481"/>
              <a:gd name="connsiteY4-756" fmla="*/ 122291 h 4345044"/>
              <a:gd name="connsiteX5-757" fmla="*/ 6669 w 8539481"/>
              <a:gd name="connsiteY5-758" fmla="*/ 4234712 h 4345044"/>
              <a:gd name="connsiteX6-759" fmla="*/ 99538 w 8539481"/>
              <a:gd name="connsiteY6-760" fmla="*/ 4336312 h 4345044"/>
              <a:gd name="connsiteX7-761" fmla="*/ 6596381 w 8539481"/>
              <a:gd name="connsiteY7-762" fmla="*/ 4336311 h 4345044"/>
              <a:gd name="connsiteX0-763" fmla="*/ 8539481 w 8539481"/>
              <a:gd name="connsiteY0-764" fmla="*/ 3142511 h 4345044"/>
              <a:gd name="connsiteX1-765" fmla="*/ 8539481 w 8539481"/>
              <a:gd name="connsiteY1-766" fmla="*/ 131023 h 4345044"/>
              <a:gd name="connsiteX2-767" fmla="*/ 8438674 w 8539481"/>
              <a:gd name="connsiteY2-768" fmla="*/ 21487 h 4345044"/>
              <a:gd name="connsiteX3-769" fmla="*/ 103507 w 8539481"/>
              <a:gd name="connsiteY3-770" fmla="*/ 21487 h 4345044"/>
              <a:gd name="connsiteX4-771" fmla="*/ 6669 w 8539481"/>
              <a:gd name="connsiteY4-772" fmla="*/ 122291 h 4345044"/>
              <a:gd name="connsiteX5-773" fmla="*/ 6669 w 8539481"/>
              <a:gd name="connsiteY5-774" fmla="*/ 4234712 h 4345044"/>
              <a:gd name="connsiteX6-775" fmla="*/ 99538 w 8539481"/>
              <a:gd name="connsiteY6-776" fmla="*/ 4336312 h 4345044"/>
              <a:gd name="connsiteX7-777" fmla="*/ 6596381 w 8539481"/>
              <a:gd name="connsiteY7-778" fmla="*/ 4336311 h 4345044"/>
              <a:gd name="connsiteX0-779" fmla="*/ 8539481 w 8549428"/>
              <a:gd name="connsiteY0-780" fmla="*/ 3142511 h 4345044"/>
              <a:gd name="connsiteX1-781" fmla="*/ 8539481 w 8549428"/>
              <a:gd name="connsiteY1-782" fmla="*/ 131023 h 4345044"/>
              <a:gd name="connsiteX2-783" fmla="*/ 8438674 w 8549428"/>
              <a:gd name="connsiteY2-784" fmla="*/ 21487 h 4345044"/>
              <a:gd name="connsiteX3-785" fmla="*/ 103507 w 8549428"/>
              <a:gd name="connsiteY3-786" fmla="*/ 21487 h 4345044"/>
              <a:gd name="connsiteX4-787" fmla="*/ 6669 w 8549428"/>
              <a:gd name="connsiteY4-788" fmla="*/ 122291 h 4345044"/>
              <a:gd name="connsiteX5-789" fmla="*/ 6669 w 8549428"/>
              <a:gd name="connsiteY5-790" fmla="*/ 4234712 h 4345044"/>
              <a:gd name="connsiteX6-791" fmla="*/ 99538 w 8549428"/>
              <a:gd name="connsiteY6-792" fmla="*/ 4336312 h 4345044"/>
              <a:gd name="connsiteX7-793" fmla="*/ 6596381 w 8549428"/>
              <a:gd name="connsiteY7-794" fmla="*/ 4336311 h 4345044"/>
              <a:gd name="connsiteX0-795" fmla="*/ 8539481 w 8549428"/>
              <a:gd name="connsiteY0-796" fmla="*/ 3142511 h 4345044"/>
              <a:gd name="connsiteX1-797" fmla="*/ 8539480 w 8549428"/>
              <a:gd name="connsiteY1-798" fmla="*/ 131023 h 4345044"/>
              <a:gd name="connsiteX2-799" fmla="*/ 8438674 w 8549428"/>
              <a:gd name="connsiteY2-800" fmla="*/ 21487 h 4345044"/>
              <a:gd name="connsiteX3-801" fmla="*/ 103507 w 8549428"/>
              <a:gd name="connsiteY3-802" fmla="*/ 21487 h 4345044"/>
              <a:gd name="connsiteX4-803" fmla="*/ 6669 w 8549428"/>
              <a:gd name="connsiteY4-804" fmla="*/ 122291 h 4345044"/>
              <a:gd name="connsiteX5-805" fmla="*/ 6669 w 8549428"/>
              <a:gd name="connsiteY5-806" fmla="*/ 4234712 h 4345044"/>
              <a:gd name="connsiteX6-807" fmla="*/ 99538 w 8549428"/>
              <a:gd name="connsiteY6-808" fmla="*/ 4336312 h 4345044"/>
              <a:gd name="connsiteX7-809" fmla="*/ 6596381 w 8549428"/>
              <a:gd name="connsiteY7-810" fmla="*/ 4336311 h 4345044"/>
              <a:gd name="connsiteX0-811" fmla="*/ 8539481 w 8539481"/>
              <a:gd name="connsiteY0-812" fmla="*/ 3142511 h 4345044"/>
              <a:gd name="connsiteX1-813" fmla="*/ 8539480 w 8539481"/>
              <a:gd name="connsiteY1-814" fmla="*/ 131023 h 4345044"/>
              <a:gd name="connsiteX2-815" fmla="*/ 8422005 w 8539481"/>
              <a:gd name="connsiteY2-816" fmla="*/ 21487 h 4345044"/>
              <a:gd name="connsiteX3-817" fmla="*/ 103507 w 8539481"/>
              <a:gd name="connsiteY3-818" fmla="*/ 21487 h 4345044"/>
              <a:gd name="connsiteX4-819" fmla="*/ 6669 w 8539481"/>
              <a:gd name="connsiteY4-820" fmla="*/ 122291 h 4345044"/>
              <a:gd name="connsiteX5-821" fmla="*/ 6669 w 8539481"/>
              <a:gd name="connsiteY5-822" fmla="*/ 4234712 h 4345044"/>
              <a:gd name="connsiteX6-823" fmla="*/ 99538 w 8539481"/>
              <a:gd name="connsiteY6-824" fmla="*/ 4336312 h 4345044"/>
              <a:gd name="connsiteX7-825" fmla="*/ 6596381 w 8539481"/>
              <a:gd name="connsiteY7-826" fmla="*/ 4336311 h 4345044"/>
              <a:gd name="connsiteX0-827" fmla="*/ 8539481 w 8539481"/>
              <a:gd name="connsiteY0-828" fmla="*/ 3142511 h 4345044"/>
              <a:gd name="connsiteX1-829" fmla="*/ 8539480 w 8539481"/>
              <a:gd name="connsiteY1-830" fmla="*/ 131023 h 4345044"/>
              <a:gd name="connsiteX2-831" fmla="*/ 8410099 w 8539481"/>
              <a:gd name="connsiteY2-832" fmla="*/ 21487 h 4345044"/>
              <a:gd name="connsiteX3-833" fmla="*/ 103507 w 8539481"/>
              <a:gd name="connsiteY3-834" fmla="*/ 21487 h 4345044"/>
              <a:gd name="connsiteX4-835" fmla="*/ 6669 w 8539481"/>
              <a:gd name="connsiteY4-836" fmla="*/ 122291 h 4345044"/>
              <a:gd name="connsiteX5-837" fmla="*/ 6669 w 8539481"/>
              <a:gd name="connsiteY5-838" fmla="*/ 4234712 h 4345044"/>
              <a:gd name="connsiteX6-839" fmla="*/ 99538 w 8539481"/>
              <a:gd name="connsiteY6-840" fmla="*/ 4336312 h 4345044"/>
              <a:gd name="connsiteX7-841" fmla="*/ 6596381 w 8539481"/>
              <a:gd name="connsiteY7-842" fmla="*/ 4336311 h 4345044"/>
              <a:gd name="connsiteX0-843" fmla="*/ 8539481 w 8539481"/>
              <a:gd name="connsiteY0-844" fmla="*/ 3162407 h 4364940"/>
              <a:gd name="connsiteX1-845" fmla="*/ 8539481 w 8539481"/>
              <a:gd name="connsiteY1-846" fmla="*/ 122344 h 4364940"/>
              <a:gd name="connsiteX2-847" fmla="*/ 8410099 w 8539481"/>
              <a:gd name="connsiteY2-848" fmla="*/ 41383 h 4364940"/>
              <a:gd name="connsiteX3-849" fmla="*/ 103507 w 8539481"/>
              <a:gd name="connsiteY3-850" fmla="*/ 41383 h 4364940"/>
              <a:gd name="connsiteX4-851" fmla="*/ 6669 w 8539481"/>
              <a:gd name="connsiteY4-852" fmla="*/ 142187 h 4364940"/>
              <a:gd name="connsiteX5-853" fmla="*/ 6669 w 8539481"/>
              <a:gd name="connsiteY5-854" fmla="*/ 4254608 h 4364940"/>
              <a:gd name="connsiteX6-855" fmla="*/ 99538 w 8539481"/>
              <a:gd name="connsiteY6-856" fmla="*/ 4356208 h 4364940"/>
              <a:gd name="connsiteX7-857" fmla="*/ 6596381 w 8539481"/>
              <a:gd name="connsiteY7-858" fmla="*/ 4356207 h 4364940"/>
              <a:gd name="connsiteX0-859" fmla="*/ 8539481 w 8546253"/>
              <a:gd name="connsiteY0-860" fmla="*/ 3162407 h 4364940"/>
              <a:gd name="connsiteX1-861" fmla="*/ 8539481 w 8546253"/>
              <a:gd name="connsiteY1-862" fmla="*/ 122344 h 4364940"/>
              <a:gd name="connsiteX2-863" fmla="*/ 8410099 w 8546253"/>
              <a:gd name="connsiteY2-864" fmla="*/ 41383 h 4364940"/>
              <a:gd name="connsiteX3-865" fmla="*/ 103507 w 8546253"/>
              <a:gd name="connsiteY3-866" fmla="*/ 41383 h 4364940"/>
              <a:gd name="connsiteX4-867" fmla="*/ 6669 w 8546253"/>
              <a:gd name="connsiteY4-868" fmla="*/ 142187 h 4364940"/>
              <a:gd name="connsiteX5-869" fmla="*/ 6669 w 8546253"/>
              <a:gd name="connsiteY5-870" fmla="*/ 4254608 h 4364940"/>
              <a:gd name="connsiteX6-871" fmla="*/ 99538 w 8546253"/>
              <a:gd name="connsiteY6-872" fmla="*/ 4356208 h 4364940"/>
              <a:gd name="connsiteX7-873" fmla="*/ 6596381 w 8546253"/>
              <a:gd name="connsiteY7-874" fmla="*/ 4356207 h 4364940"/>
              <a:gd name="connsiteX0-875" fmla="*/ 8539481 w 8559747"/>
              <a:gd name="connsiteY0-876" fmla="*/ 3162407 h 4364940"/>
              <a:gd name="connsiteX1-877" fmla="*/ 8539481 w 8559747"/>
              <a:gd name="connsiteY1-878" fmla="*/ 122344 h 4364940"/>
              <a:gd name="connsiteX2-879" fmla="*/ 8410099 w 8559747"/>
              <a:gd name="connsiteY2-880" fmla="*/ 41383 h 4364940"/>
              <a:gd name="connsiteX3-881" fmla="*/ 103507 w 8559747"/>
              <a:gd name="connsiteY3-882" fmla="*/ 41383 h 4364940"/>
              <a:gd name="connsiteX4-883" fmla="*/ 6669 w 8559747"/>
              <a:gd name="connsiteY4-884" fmla="*/ 142187 h 4364940"/>
              <a:gd name="connsiteX5-885" fmla="*/ 6669 w 8559747"/>
              <a:gd name="connsiteY5-886" fmla="*/ 4254608 h 4364940"/>
              <a:gd name="connsiteX6-887" fmla="*/ 99538 w 8559747"/>
              <a:gd name="connsiteY6-888" fmla="*/ 4356208 h 4364940"/>
              <a:gd name="connsiteX7-889" fmla="*/ 6596381 w 8559747"/>
              <a:gd name="connsiteY7-890" fmla="*/ 4356207 h 4364940"/>
              <a:gd name="connsiteX0-891" fmla="*/ 8539481 w 8582766"/>
              <a:gd name="connsiteY0-892" fmla="*/ 3162407 h 4364940"/>
              <a:gd name="connsiteX1-893" fmla="*/ 8539481 w 8582766"/>
              <a:gd name="connsiteY1-894" fmla="*/ 122344 h 4364940"/>
              <a:gd name="connsiteX2-895" fmla="*/ 8410099 w 8582766"/>
              <a:gd name="connsiteY2-896" fmla="*/ 41383 h 4364940"/>
              <a:gd name="connsiteX3-897" fmla="*/ 103507 w 8582766"/>
              <a:gd name="connsiteY3-898" fmla="*/ 41383 h 4364940"/>
              <a:gd name="connsiteX4-899" fmla="*/ 6669 w 8582766"/>
              <a:gd name="connsiteY4-900" fmla="*/ 142187 h 4364940"/>
              <a:gd name="connsiteX5-901" fmla="*/ 6669 w 8582766"/>
              <a:gd name="connsiteY5-902" fmla="*/ 4254608 h 4364940"/>
              <a:gd name="connsiteX6-903" fmla="*/ 99538 w 8582766"/>
              <a:gd name="connsiteY6-904" fmla="*/ 4356208 h 4364940"/>
              <a:gd name="connsiteX7-905" fmla="*/ 6596381 w 8582766"/>
              <a:gd name="connsiteY7-906" fmla="*/ 4356207 h 4364940"/>
              <a:gd name="connsiteX0-907" fmla="*/ 8539481 w 8628010"/>
              <a:gd name="connsiteY0-908" fmla="*/ 3162407 h 4364940"/>
              <a:gd name="connsiteX1-909" fmla="*/ 8539481 w 8628010"/>
              <a:gd name="connsiteY1-910" fmla="*/ 122344 h 4364940"/>
              <a:gd name="connsiteX2-911" fmla="*/ 8455343 w 8628010"/>
              <a:gd name="connsiteY2-912" fmla="*/ 41383 h 4364940"/>
              <a:gd name="connsiteX3-913" fmla="*/ 103507 w 8628010"/>
              <a:gd name="connsiteY3-914" fmla="*/ 41383 h 4364940"/>
              <a:gd name="connsiteX4-915" fmla="*/ 6669 w 8628010"/>
              <a:gd name="connsiteY4-916" fmla="*/ 142187 h 4364940"/>
              <a:gd name="connsiteX5-917" fmla="*/ 6669 w 8628010"/>
              <a:gd name="connsiteY5-918" fmla="*/ 4254608 h 4364940"/>
              <a:gd name="connsiteX6-919" fmla="*/ 99538 w 8628010"/>
              <a:gd name="connsiteY6-920" fmla="*/ 4356208 h 4364940"/>
              <a:gd name="connsiteX7-921" fmla="*/ 6596381 w 8628010"/>
              <a:gd name="connsiteY7-922" fmla="*/ 4356207 h 4364940"/>
              <a:gd name="connsiteX0-923" fmla="*/ 8539481 w 8539481"/>
              <a:gd name="connsiteY0-924" fmla="*/ 3162407 h 4364940"/>
              <a:gd name="connsiteX1-925" fmla="*/ 8539481 w 8539481"/>
              <a:gd name="connsiteY1-926" fmla="*/ 122344 h 4364940"/>
              <a:gd name="connsiteX2-927" fmla="*/ 8455343 w 8539481"/>
              <a:gd name="connsiteY2-928" fmla="*/ 41383 h 4364940"/>
              <a:gd name="connsiteX3-929" fmla="*/ 103507 w 8539481"/>
              <a:gd name="connsiteY3-930" fmla="*/ 41383 h 4364940"/>
              <a:gd name="connsiteX4-931" fmla="*/ 6669 w 8539481"/>
              <a:gd name="connsiteY4-932" fmla="*/ 142187 h 4364940"/>
              <a:gd name="connsiteX5-933" fmla="*/ 6669 w 8539481"/>
              <a:gd name="connsiteY5-934" fmla="*/ 4254608 h 4364940"/>
              <a:gd name="connsiteX6-935" fmla="*/ 99538 w 8539481"/>
              <a:gd name="connsiteY6-936" fmla="*/ 4356208 h 4364940"/>
              <a:gd name="connsiteX7-937" fmla="*/ 6596381 w 8539481"/>
              <a:gd name="connsiteY7-938" fmla="*/ 4356207 h 4364940"/>
              <a:gd name="connsiteX0-939" fmla="*/ 8539481 w 8539481"/>
              <a:gd name="connsiteY0-940" fmla="*/ 3162407 h 4364940"/>
              <a:gd name="connsiteX1-941" fmla="*/ 8539481 w 8539481"/>
              <a:gd name="connsiteY1-942" fmla="*/ 122344 h 4364940"/>
              <a:gd name="connsiteX2-943" fmla="*/ 8455343 w 8539481"/>
              <a:gd name="connsiteY2-944" fmla="*/ 41383 h 4364940"/>
              <a:gd name="connsiteX3-945" fmla="*/ 103507 w 8539481"/>
              <a:gd name="connsiteY3-946" fmla="*/ 41383 h 4364940"/>
              <a:gd name="connsiteX4-947" fmla="*/ 6669 w 8539481"/>
              <a:gd name="connsiteY4-948" fmla="*/ 142187 h 4364940"/>
              <a:gd name="connsiteX5-949" fmla="*/ 6669 w 8539481"/>
              <a:gd name="connsiteY5-950" fmla="*/ 4254608 h 4364940"/>
              <a:gd name="connsiteX6-951" fmla="*/ 99538 w 8539481"/>
              <a:gd name="connsiteY6-952" fmla="*/ 4356208 h 4364940"/>
              <a:gd name="connsiteX7-953" fmla="*/ 6596381 w 8539481"/>
              <a:gd name="connsiteY7-954" fmla="*/ 4356207 h 4364940"/>
              <a:gd name="connsiteX0-955" fmla="*/ 8539481 w 8539481"/>
              <a:gd name="connsiteY0-956" fmla="*/ 3142511 h 4345044"/>
              <a:gd name="connsiteX1-957" fmla="*/ 8539481 w 8539481"/>
              <a:gd name="connsiteY1-958" fmla="*/ 102448 h 4345044"/>
              <a:gd name="connsiteX2-959" fmla="*/ 8455343 w 8539481"/>
              <a:gd name="connsiteY2-960" fmla="*/ 21487 h 4345044"/>
              <a:gd name="connsiteX3-961" fmla="*/ 103507 w 8539481"/>
              <a:gd name="connsiteY3-962" fmla="*/ 21487 h 4345044"/>
              <a:gd name="connsiteX4-963" fmla="*/ 6669 w 8539481"/>
              <a:gd name="connsiteY4-964" fmla="*/ 122291 h 4345044"/>
              <a:gd name="connsiteX5-965" fmla="*/ 6669 w 8539481"/>
              <a:gd name="connsiteY5-966" fmla="*/ 4234712 h 4345044"/>
              <a:gd name="connsiteX6-967" fmla="*/ 99538 w 8539481"/>
              <a:gd name="connsiteY6-968" fmla="*/ 4336312 h 4345044"/>
              <a:gd name="connsiteX7-969" fmla="*/ 6596381 w 8539481"/>
              <a:gd name="connsiteY7-970" fmla="*/ 4336311 h 4345044"/>
              <a:gd name="connsiteX0-971" fmla="*/ 8542656 w 8542656"/>
              <a:gd name="connsiteY0-972" fmla="*/ 558061 h 4345044"/>
              <a:gd name="connsiteX1-973" fmla="*/ 8539481 w 8542656"/>
              <a:gd name="connsiteY1-974" fmla="*/ 102448 h 4345044"/>
              <a:gd name="connsiteX2-975" fmla="*/ 8455343 w 8542656"/>
              <a:gd name="connsiteY2-976" fmla="*/ 21487 h 4345044"/>
              <a:gd name="connsiteX3-977" fmla="*/ 103507 w 8542656"/>
              <a:gd name="connsiteY3-978" fmla="*/ 21487 h 4345044"/>
              <a:gd name="connsiteX4-979" fmla="*/ 6669 w 8542656"/>
              <a:gd name="connsiteY4-980" fmla="*/ 122291 h 4345044"/>
              <a:gd name="connsiteX5-981" fmla="*/ 6669 w 8542656"/>
              <a:gd name="connsiteY5-982" fmla="*/ 4234712 h 4345044"/>
              <a:gd name="connsiteX6-983" fmla="*/ 99538 w 8542656"/>
              <a:gd name="connsiteY6-984" fmla="*/ 4336312 h 4345044"/>
              <a:gd name="connsiteX7-985" fmla="*/ 6596381 w 8542656"/>
              <a:gd name="connsiteY7-986" fmla="*/ 4336311 h 4345044"/>
              <a:gd name="connsiteX0-987" fmla="*/ 8542655 w 8542655"/>
              <a:gd name="connsiteY0-988" fmla="*/ 881912 h 4345044"/>
              <a:gd name="connsiteX1-989" fmla="*/ 8539481 w 8542655"/>
              <a:gd name="connsiteY1-990" fmla="*/ 102448 h 4345044"/>
              <a:gd name="connsiteX2-991" fmla="*/ 8455343 w 8542655"/>
              <a:gd name="connsiteY2-992" fmla="*/ 21487 h 4345044"/>
              <a:gd name="connsiteX3-993" fmla="*/ 103507 w 8542655"/>
              <a:gd name="connsiteY3-994" fmla="*/ 21487 h 4345044"/>
              <a:gd name="connsiteX4-995" fmla="*/ 6669 w 8542655"/>
              <a:gd name="connsiteY4-996" fmla="*/ 122291 h 4345044"/>
              <a:gd name="connsiteX5-997" fmla="*/ 6669 w 8542655"/>
              <a:gd name="connsiteY5-998" fmla="*/ 4234712 h 4345044"/>
              <a:gd name="connsiteX6-999" fmla="*/ 99538 w 8542655"/>
              <a:gd name="connsiteY6-1000" fmla="*/ 4336312 h 4345044"/>
              <a:gd name="connsiteX7-1001" fmla="*/ 6596381 w 8542655"/>
              <a:gd name="connsiteY7-1002" fmla="*/ 4336311 h 4345044"/>
              <a:gd name="connsiteX0-1003" fmla="*/ 8542655 w 8542655"/>
              <a:gd name="connsiteY0-1004" fmla="*/ 881912 h 4345044"/>
              <a:gd name="connsiteX1-1005" fmla="*/ 8539481 w 8542655"/>
              <a:gd name="connsiteY1-1006" fmla="*/ 102448 h 4345044"/>
              <a:gd name="connsiteX2-1007" fmla="*/ 8455343 w 8542655"/>
              <a:gd name="connsiteY2-1008" fmla="*/ 21487 h 4345044"/>
              <a:gd name="connsiteX3-1009" fmla="*/ 103507 w 8542655"/>
              <a:gd name="connsiteY3-1010" fmla="*/ 21487 h 4345044"/>
              <a:gd name="connsiteX4-1011" fmla="*/ 6669 w 8542655"/>
              <a:gd name="connsiteY4-1012" fmla="*/ 122291 h 4345044"/>
              <a:gd name="connsiteX5-1013" fmla="*/ 6669 w 8542655"/>
              <a:gd name="connsiteY5-1014" fmla="*/ 4234712 h 4345044"/>
              <a:gd name="connsiteX6-1015" fmla="*/ 99538 w 8542655"/>
              <a:gd name="connsiteY6-1016" fmla="*/ 4336312 h 4345044"/>
              <a:gd name="connsiteX0-1017" fmla="*/ 8542655 w 8542655"/>
              <a:gd name="connsiteY0-1018" fmla="*/ 881912 h 4234712"/>
              <a:gd name="connsiteX1-1019" fmla="*/ 8539481 w 8542655"/>
              <a:gd name="connsiteY1-1020" fmla="*/ 102448 h 4234712"/>
              <a:gd name="connsiteX2-1021" fmla="*/ 8455343 w 8542655"/>
              <a:gd name="connsiteY2-1022" fmla="*/ 21487 h 4234712"/>
              <a:gd name="connsiteX3-1023" fmla="*/ 103507 w 8542655"/>
              <a:gd name="connsiteY3-1024" fmla="*/ 21487 h 4234712"/>
              <a:gd name="connsiteX4-1025" fmla="*/ 6669 w 8542655"/>
              <a:gd name="connsiteY4-1026" fmla="*/ 122291 h 4234712"/>
              <a:gd name="connsiteX5-1027" fmla="*/ 6669 w 8542655"/>
              <a:gd name="connsiteY5-1028" fmla="*/ 4234712 h 4234712"/>
              <a:gd name="connsiteX0-1029" fmla="*/ 8542655 w 8542655"/>
              <a:gd name="connsiteY0-1030" fmla="*/ 881912 h 881912"/>
              <a:gd name="connsiteX1-1031" fmla="*/ 8539481 w 8542655"/>
              <a:gd name="connsiteY1-1032" fmla="*/ 102448 h 881912"/>
              <a:gd name="connsiteX2-1033" fmla="*/ 8455343 w 8542655"/>
              <a:gd name="connsiteY2-1034" fmla="*/ 21487 h 881912"/>
              <a:gd name="connsiteX3-1035" fmla="*/ 103507 w 8542655"/>
              <a:gd name="connsiteY3-1036" fmla="*/ 21487 h 881912"/>
              <a:gd name="connsiteX4-1037" fmla="*/ 6669 w 8542655"/>
              <a:gd name="connsiteY4-1038" fmla="*/ 122291 h 881912"/>
              <a:gd name="connsiteX0-1039" fmla="*/ 8439148 w 8439148"/>
              <a:gd name="connsiteY0-1040" fmla="*/ 870852 h 870852"/>
              <a:gd name="connsiteX1-1041" fmla="*/ 8435974 w 8439148"/>
              <a:gd name="connsiteY1-1042" fmla="*/ 91388 h 870852"/>
              <a:gd name="connsiteX2-1043" fmla="*/ 8351836 w 8439148"/>
              <a:gd name="connsiteY2-1044" fmla="*/ 10427 h 870852"/>
              <a:gd name="connsiteX3-1045" fmla="*/ 0 w 8439148"/>
              <a:gd name="connsiteY3-1046" fmla="*/ 10427 h 870852"/>
              <a:gd name="connsiteX0-1047" fmla="*/ 5356223 w 5356223"/>
              <a:gd name="connsiteY0-1048" fmla="*/ 870852 h 870852"/>
              <a:gd name="connsiteX1-1049" fmla="*/ 5353049 w 5356223"/>
              <a:gd name="connsiteY1-1050" fmla="*/ 91388 h 870852"/>
              <a:gd name="connsiteX2-1051" fmla="*/ 5268911 w 5356223"/>
              <a:gd name="connsiteY2-1052" fmla="*/ 10427 h 870852"/>
              <a:gd name="connsiteX3-1053" fmla="*/ 0 w 5356223"/>
              <a:gd name="connsiteY3-1054" fmla="*/ 17515 h 870852"/>
              <a:gd name="connsiteX0-1055" fmla="*/ 6042023 w 6042023"/>
              <a:gd name="connsiteY0-1056" fmla="*/ 870852 h 870852"/>
              <a:gd name="connsiteX1-1057" fmla="*/ 6038849 w 6042023"/>
              <a:gd name="connsiteY1-1058" fmla="*/ 91388 h 870852"/>
              <a:gd name="connsiteX2-1059" fmla="*/ 5954711 w 6042023"/>
              <a:gd name="connsiteY2-1060" fmla="*/ 10427 h 870852"/>
              <a:gd name="connsiteX3-1061" fmla="*/ 0 w 6042023"/>
              <a:gd name="connsiteY3-1062" fmla="*/ 17515 h 870852"/>
              <a:gd name="connsiteX0-1063" fmla="*/ 6042023 w 6042023"/>
              <a:gd name="connsiteY0-1064" fmla="*/ 870852 h 870852"/>
              <a:gd name="connsiteX1-1065" fmla="*/ 6038849 w 6042023"/>
              <a:gd name="connsiteY1-1066" fmla="*/ 91388 h 870852"/>
              <a:gd name="connsiteX2-1067" fmla="*/ 5954711 w 6042023"/>
              <a:gd name="connsiteY2-1068" fmla="*/ 17515 h 870852"/>
              <a:gd name="connsiteX3-1069" fmla="*/ 0 w 6042023"/>
              <a:gd name="connsiteY3-1070" fmla="*/ 17515 h 870852"/>
              <a:gd name="connsiteX0-1071" fmla="*/ 6032178 w 6039907"/>
              <a:gd name="connsiteY0-1072" fmla="*/ 1664602 h 1664602"/>
              <a:gd name="connsiteX1-1073" fmla="*/ 6038849 w 6039907"/>
              <a:gd name="connsiteY1-1074" fmla="*/ 91388 h 1664602"/>
              <a:gd name="connsiteX2-1075" fmla="*/ 5954711 w 6039907"/>
              <a:gd name="connsiteY2-1076" fmla="*/ 17515 h 1664602"/>
              <a:gd name="connsiteX3-1077" fmla="*/ 0 w 6039907"/>
              <a:gd name="connsiteY3-1078" fmla="*/ 17515 h 1664602"/>
              <a:gd name="connsiteX0-1079" fmla="*/ 6038528 w 6039907"/>
              <a:gd name="connsiteY0-1080" fmla="*/ 1664602 h 1664602"/>
              <a:gd name="connsiteX1-1081" fmla="*/ 6038849 w 6039907"/>
              <a:gd name="connsiteY1-1082" fmla="*/ 91388 h 1664602"/>
              <a:gd name="connsiteX2-1083" fmla="*/ 5954711 w 6039907"/>
              <a:gd name="connsiteY2-1084" fmla="*/ 17515 h 1664602"/>
              <a:gd name="connsiteX3-1085" fmla="*/ 0 w 6039907"/>
              <a:gd name="connsiteY3-1086" fmla="*/ 17515 h 1664602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</a:cxnLst>
            <a:rect l="l" t="t" r="r" b="b"/>
            <a:pathLst>
              <a:path w="6039907" h="1664602">
                <a:moveTo>
                  <a:pt x="6038528" y="1664602"/>
                </a:moveTo>
                <a:cubicBezTo>
                  <a:pt x="6037470" y="1512731"/>
                  <a:pt x="6039907" y="243259"/>
                  <a:pt x="6038849" y="91388"/>
                </a:cubicBezTo>
                <a:cubicBezTo>
                  <a:pt x="6034775" y="0"/>
                  <a:pt x="5986091" y="23970"/>
                  <a:pt x="5954711" y="17515"/>
                </a:cubicBezTo>
                <a:lnTo>
                  <a:pt x="0" y="17515"/>
                </a:lnTo>
              </a:path>
            </a:pathLst>
          </a:custGeom>
          <a:noFill/>
          <a:ln w="19050" cap="rnd">
            <a:solidFill>
              <a:schemeClr val="bg1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srgbClr val="000000"/>
              </a:solidFill>
              <a:latin typeface="Arial" panose="020B0604020202090204" pitchFamily="34" charset="0"/>
              <a:ea typeface="MS PGothic" pitchFamily="34" charset="-128"/>
            </a:endParaRPr>
          </a:p>
        </p:txBody>
      </p:sp>
      <p:grpSp>
        <p:nvGrpSpPr>
          <p:cNvPr id="24" name="Group 106"/>
          <p:cNvGrpSpPr/>
          <p:nvPr userDrawn="1"/>
        </p:nvGrpSpPr>
        <p:grpSpPr bwMode="auto">
          <a:xfrm>
            <a:off x="10315859" y="5344645"/>
            <a:ext cx="820148" cy="388510"/>
            <a:chOff x="7715563" y="5785391"/>
            <a:chExt cx="651247" cy="411523"/>
          </a:xfrm>
        </p:grpSpPr>
        <p:sp>
          <p:nvSpPr>
            <p:cNvPr id="48" name="Freeform 29"/>
            <p:cNvSpPr/>
            <p:nvPr userDrawn="1"/>
          </p:nvSpPr>
          <p:spPr bwMode="auto">
            <a:xfrm>
              <a:off x="7715563" y="5785391"/>
              <a:ext cx="651247" cy="411523"/>
            </a:xfrm>
            <a:custGeom>
              <a:avLst/>
              <a:gdLst/>
              <a:ahLst/>
              <a:cxnLst>
                <a:cxn ang="0">
                  <a:pos x="300" y="168"/>
                </a:cxn>
                <a:cxn ang="0">
                  <a:pos x="280" y="188"/>
                </a:cxn>
                <a:cxn ang="0">
                  <a:pos x="20" y="188"/>
                </a:cxn>
                <a:cxn ang="0">
                  <a:pos x="0" y="168"/>
                </a:cxn>
                <a:cxn ang="0">
                  <a:pos x="273" y="168"/>
                </a:cxn>
                <a:cxn ang="0">
                  <a:pos x="273" y="0"/>
                </a:cxn>
                <a:cxn ang="0">
                  <a:pos x="27" y="0"/>
                </a:cxn>
                <a:cxn ang="0">
                  <a:pos x="27" y="145"/>
                </a:cxn>
              </a:cxnLst>
              <a:rect l="0" t="0" r="r" b="b"/>
              <a:pathLst>
                <a:path w="300" h="188">
                  <a:moveTo>
                    <a:pt x="300" y="168"/>
                  </a:moveTo>
                  <a:cubicBezTo>
                    <a:pt x="300" y="179"/>
                    <a:pt x="291" y="188"/>
                    <a:pt x="280" y="188"/>
                  </a:cubicBezTo>
                  <a:cubicBezTo>
                    <a:pt x="20" y="188"/>
                    <a:pt x="20" y="188"/>
                    <a:pt x="20" y="188"/>
                  </a:cubicBezTo>
                  <a:cubicBezTo>
                    <a:pt x="9" y="188"/>
                    <a:pt x="0" y="179"/>
                    <a:pt x="0" y="168"/>
                  </a:cubicBezTo>
                  <a:cubicBezTo>
                    <a:pt x="273" y="168"/>
                    <a:pt x="273" y="168"/>
                    <a:pt x="273" y="168"/>
                  </a:cubicBezTo>
                  <a:cubicBezTo>
                    <a:pt x="273" y="0"/>
                    <a:pt x="273" y="0"/>
                    <a:pt x="273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7" y="145"/>
                    <a:pt x="27" y="145"/>
                    <a:pt x="27" y="145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0">
                <a:solidFill>
                  <a:srgbClr val="000000"/>
                </a:solidFill>
                <a:latin typeface="Arial" panose="020B0604020202090204" pitchFamily="34" charset="0"/>
                <a:ea typeface="MS PGothic" pitchFamily="34" charset="-128"/>
              </a:endParaRPr>
            </a:p>
          </p:txBody>
        </p:sp>
        <p:grpSp>
          <p:nvGrpSpPr>
            <p:cNvPr id="35" name="Group 116"/>
            <p:cNvGrpSpPr/>
            <p:nvPr userDrawn="1"/>
          </p:nvGrpSpPr>
          <p:grpSpPr bwMode="auto">
            <a:xfrm>
              <a:off x="7904583" y="5833058"/>
              <a:ext cx="273206" cy="273289"/>
              <a:chOff x="7191463" y="5528164"/>
              <a:chExt cx="484324" cy="484471"/>
            </a:xfrm>
          </p:grpSpPr>
          <p:sp>
            <p:nvSpPr>
              <p:cNvPr id="50" name="Donut 63"/>
              <p:cNvSpPr/>
              <p:nvPr userDrawn="1"/>
            </p:nvSpPr>
            <p:spPr>
              <a:xfrm>
                <a:off x="7191463" y="5528164"/>
                <a:ext cx="484324" cy="484473"/>
              </a:xfrm>
              <a:prstGeom prst="donut">
                <a:avLst>
                  <a:gd name="adj" fmla="val 28950"/>
                </a:avLst>
              </a:prstGeom>
              <a:noFill/>
              <a:ln w="19050" cap="rnd">
                <a:solidFill>
                  <a:schemeClr val="bg1"/>
                </a:solidFill>
                <a:prstDash val="solid"/>
                <a:round/>
              </a:ln>
            </p:spPr>
            <p:txBody>
              <a:bodyPr/>
              <a:lstStyle/>
              <a:p>
                <a:pPr defTabSz="4318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700">
                  <a:solidFill>
                    <a:srgbClr val="000000"/>
                  </a:solidFill>
                  <a:latin typeface="Arial" panose="020B0604020202090204" pitchFamily="34" charset="0"/>
                  <a:ea typeface="MS PGothic" pitchFamily="34" charset="-128"/>
                </a:endParaRPr>
              </a:p>
            </p:txBody>
          </p:sp>
          <p:cxnSp>
            <p:nvCxnSpPr>
              <p:cNvPr id="51" name="Straight Connector 59"/>
              <p:cNvCxnSpPr>
                <a:cxnSpLocks noChangeShapeType="1"/>
              </p:cNvCxnSpPr>
              <p:nvPr userDrawn="1"/>
            </p:nvCxnSpPr>
            <p:spPr bwMode="auto">
              <a:xfrm>
                <a:off x="7433628" y="5536407"/>
                <a:ext cx="0" cy="130969"/>
              </a:xfrm>
              <a:prstGeom prst="line">
                <a:avLst/>
              </a:prstGeom>
              <a:noFill/>
              <a:ln w="19050" cap="rnd">
                <a:solidFill>
                  <a:schemeClr val="bg1"/>
                </a:solidFill>
                <a:round/>
              </a:ln>
            </p:spPr>
          </p:cxnSp>
          <p:cxnSp>
            <p:nvCxnSpPr>
              <p:cNvPr id="52" name="Straight Connector 60"/>
              <p:cNvCxnSpPr>
                <a:cxnSpLocks noChangeShapeType="1"/>
              </p:cNvCxnSpPr>
              <p:nvPr userDrawn="1"/>
            </p:nvCxnSpPr>
            <p:spPr bwMode="auto">
              <a:xfrm>
                <a:off x="7495541" y="5854700"/>
                <a:ext cx="72072" cy="103188"/>
              </a:xfrm>
              <a:prstGeom prst="line">
                <a:avLst/>
              </a:prstGeom>
              <a:noFill/>
              <a:ln w="19050" cap="rnd">
                <a:solidFill>
                  <a:schemeClr val="bg1"/>
                </a:solidFill>
                <a:round/>
              </a:ln>
            </p:spPr>
          </p:cxnSp>
          <p:cxnSp>
            <p:nvCxnSpPr>
              <p:cNvPr id="53" name="Straight Connector 61"/>
              <p:cNvCxnSpPr>
                <a:cxnSpLocks noChangeShapeType="1"/>
              </p:cNvCxnSpPr>
              <p:nvPr userDrawn="1"/>
            </p:nvCxnSpPr>
            <p:spPr bwMode="auto">
              <a:xfrm flipH="1">
                <a:off x="7297897" y="5854700"/>
                <a:ext cx="72072" cy="103188"/>
              </a:xfrm>
              <a:prstGeom prst="line">
                <a:avLst/>
              </a:prstGeom>
              <a:noFill/>
              <a:ln w="19050" cap="rnd">
                <a:solidFill>
                  <a:schemeClr val="bg1"/>
                </a:solidFill>
                <a:round/>
              </a:ln>
            </p:spPr>
          </p:cxnSp>
          <p:cxnSp>
            <p:nvCxnSpPr>
              <p:cNvPr id="54" name="Straight Connector 62"/>
              <p:cNvCxnSpPr>
                <a:cxnSpLocks noChangeShapeType="1"/>
              </p:cNvCxnSpPr>
              <p:nvPr userDrawn="1"/>
            </p:nvCxnSpPr>
            <p:spPr bwMode="auto">
              <a:xfrm flipH="1" flipV="1">
                <a:off x="7205030" y="5691982"/>
                <a:ext cx="124458" cy="44449"/>
              </a:xfrm>
              <a:prstGeom prst="line">
                <a:avLst/>
              </a:prstGeom>
              <a:noFill/>
              <a:ln w="19050" cap="rnd">
                <a:solidFill>
                  <a:schemeClr val="bg1"/>
                </a:solidFill>
                <a:round/>
              </a:ln>
            </p:spPr>
          </p:cxnSp>
          <p:cxnSp>
            <p:nvCxnSpPr>
              <p:cNvPr id="55" name="Straight Connector 63"/>
              <p:cNvCxnSpPr>
                <a:cxnSpLocks noChangeShapeType="1"/>
              </p:cNvCxnSpPr>
              <p:nvPr userDrawn="1"/>
            </p:nvCxnSpPr>
            <p:spPr bwMode="auto">
              <a:xfrm flipV="1">
                <a:off x="7536022" y="5691982"/>
                <a:ext cx="124458" cy="44449"/>
              </a:xfrm>
              <a:prstGeom prst="line">
                <a:avLst/>
              </a:prstGeom>
              <a:noFill/>
              <a:ln w="19050" cap="rnd">
                <a:solidFill>
                  <a:schemeClr val="bg1"/>
                </a:solidFill>
                <a:round/>
              </a:ln>
            </p:spPr>
          </p:cxnSp>
        </p:grpSp>
      </p:grpSp>
      <p:pic>
        <p:nvPicPr>
          <p:cNvPr id="56" name="Picture 13" descr="Capgemini_logo_closing.jpg"/>
          <p:cNvPicPr>
            <a:picLocks noChangeAspect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384070" y="646518"/>
            <a:ext cx="3174572" cy="5970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7" name="Title 1"/>
          <p:cNvSpPr>
            <a:spLocks noGrp="1"/>
          </p:cNvSpPr>
          <p:nvPr>
            <p:ph type="ctrTitle"/>
          </p:nvPr>
        </p:nvSpPr>
        <p:spPr>
          <a:xfrm>
            <a:off x="681723" y="4181890"/>
            <a:ext cx="9793764" cy="1002027"/>
          </a:xfrm>
          <a:prstGeom prst="rect">
            <a:avLst/>
          </a:prstGeom>
        </p:spPr>
        <p:txBody>
          <a:bodyPr anchor="t"/>
          <a:lstStyle>
            <a:lvl1pPr>
              <a:defRPr>
                <a:solidFill>
                  <a:schemeClr val="bg1"/>
                </a:solidFill>
                <a:latin typeface="University Handwriting" pitchFamily="2" charset="-128"/>
                <a:ea typeface="University Handwriting" pitchFamily="2" charset="-128"/>
                <a:cs typeface="University Handwriting" pitchFamily="2" charset="-128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8" name="Subtitle 2"/>
          <p:cNvSpPr>
            <a:spLocks noGrp="1"/>
          </p:cNvSpPr>
          <p:nvPr>
            <p:ph type="subTitle" idx="1"/>
          </p:nvPr>
        </p:nvSpPr>
        <p:spPr>
          <a:xfrm>
            <a:off x="681723" y="5191646"/>
            <a:ext cx="8929608" cy="51841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270">
                <a:solidFill>
                  <a:schemeClr val="bg1"/>
                </a:solidFill>
                <a:latin typeface="Arial" panose="020B0604020202090204" pitchFamily="34" charset="0"/>
                <a:ea typeface="University Handwriting" pitchFamily="2" charset="-128"/>
                <a:cs typeface="Arial" panose="020B0604020202090204" pitchFamily="34" charset="0"/>
              </a:defRPr>
            </a:lvl1pPr>
            <a:lvl2pPr marL="431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642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960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278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60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920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0238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4563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2073" y="1383038"/>
            <a:ext cx="5184934" cy="4449120"/>
          </a:xfrm>
          <a:prstGeom prst="rect">
            <a:avLst/>
          </a:prstGeom>
        </p:spPr>
        <p:txBody>
          <a:bodyPr/>
          <a:lstStyle>
            <a:lvl1pPr>
              <a:defRPr sz="1890"/>
            </a:lvl1pPr>
            <a:lvl2pPr>
              <a:defRPr sz="1700"/>
            </a:lvl2pPr>
            <a:lvl3pPr>
              <a:defRPr sz="1510"/>
            </a:lvl3pPr>
            <a:lvl4pPr>
              <a:defRPr sz="1325"/>
            </a:lvl4pPr>
            <a:lvl5pPr>
              <a:defRPr sz="1135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37069" y="1383038"/>
            <a:ext cx="5184934" cy="4449120"/>
          </a:xfrm>
          <a:prstGeom prst="rect">
            <a:avLst/>
          </a:prstGeom>
        </p:spPr>
        <p:txBody>
          <a:bodyPr/>
          <a:lstStyle>
            <a:lvl1pPr>
              <a:defRPr sz="1890"/>
            </a:lvl1pPr>
            <a:lvl2pPr>
              <a:defRPr sz="1700"/>
            </a:lvl2pPr>
            <a:lvl3pPr>
              <a:defRPr sz="1510"/>
            </a:lvl3pPr>
            <a:lvl4pPr>
              <a:defRPr sz="1325"/>
            </a:lvl4pPr>
            <a:lvl5pPr>
              <a:defRPr sz="1135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2073" y="1383037"/>
            <a:ext cx="5184934" cy="604516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90" b="1"/>
            </a:lvl1pPr>
            <a:lvl2pPr marL="431800" indent="0">
              <a:buNone/>
              <a:defRPr sz="1890" b="1"/>
            </a:lvl2pPr>
            <a:lvl3pPr marL="864235" indent="0">
              <a:buNone/>
              <a:defRPr sz="1700" b="1"/>
            </a:lvl3pPr>
            <a:lvl4pPr marL="1296035" indent="0">
              <a:buNone/>
              <a:defRPr sz="1510" b="1"/>
            </a:lvl4pPr>
            <a:lvl5pPr marL="1727835" indent="0">
              <a:buNone/>
              <a:defRPr sz="1510" b="1"/>
            </a:lvl5pPr>
            <a:lvl6pPr marL="2160270" indent="0">
              <a:buNone/>
              <a:defRPr sz="1510" b="1"/>
            </a:lvl6pPr>
            <a:lvl7pPr marL="2592070" indent="0">
              <a:buNone/>
              <a:defRPr sz="1510" b="1"/>
            </a:lvl7pPr>
            <a:lvl8pPr marL="3023870" indent="0">
              <a:buNone/>
              <a:defRPr sz="1510" b="1"/>
            </a:lvl8pPr>
            <a:lvl9pPr marL="3456305" indent="0">
              <a:buNone/>
              <a:defRPr sz="1510" b="1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2073" y="1987553"/>
            <a:ext cx="5184934" cy="3844604"/>
          </a:xfrm>
          <a:prstGeom prst="rect">
            <a:avLst/>
          </a:prstGeom>
        </p:spPr>
        <p:txBody>
          <a:bodyPr/>
          <a:lstStyle>
            <a:lvl1pPr>
              <a:defRPr sz="1890"/>
            </a:lvl1pPr>
            <a:lvl2pPr>
              <a:defRPr sz="1700"/>
            </a:lvl2pPr>
            <a:lvl3pPr>
              <a:defRPr sz="1510"/>
            </a:lvl3pPr>
            <a:lvl4pPr>
              <a:defRPr sz="1325"/>
            </a:lvl4pPr>
            <a:lvl5pPr>
              <a:defRPr sz="1135"/>
            </a:lvl5pPr>
            <a:lvl6pPr>
              <a:defRPr sz="1510"/>
            </a:lvl6pPr>
            <a:lvl7pPr>
              <a:defRPr sz="1510"/>
            </a:lvl7pPr>
            <a:lvl8pPr>
              <a:defRPr sz="1510"/>
            </a:lvl8pPr>
            <a:lvl9pPr>
              <a:defRPr sz="151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937069" y="1383037"/>
            <a:ext cx="5184934" cy="604516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90" b="1"/>
            </a:lvl1pPr>
            <a:lvl2pPr marL="431800" indent="0">
              <a:buNone/>
              <a:defRPr sz="1890" b="1"/>
            </a:lvl2pPr>
            <a:lvl3pPr marL="864235" indent="0">
              <a:buNone/>
              <a:defRPr sz="1700" b="1"/>
            </a:lvl3pPr>
            <a:lvl4pPr marL="1296035" indent="0">
              <a:buNone/>
              <a:defRPr sz="1510" b="1"/>
            </a:lvl4pPr>
            <a:lvl5pPr marL="1727835" indent="0">
              <a:buNone/>
              <a:defRPr sz="1510" b="1"/>
            </a:lvl5pPr>
            <a:lvl6pPr marL="2160270" indent="0">
              <a:buNone/>
              <a:defRPr sz="1510" b="1"/>
            </a:lvl6pPr>
            <a:lvl7pPr marL="2592070" indent="0">
              <a:buNone/>
              <a:defRPr sz="1510" b="1"/>
            </a:lvl7pPr>
            <a:lvl8pPr marL="3023870" indent="0">
              <a:buNone/>
              <a:defRPr sz="1510" b="1"/>
            </a:lvl8pPr>
            <a:lvl9pPr marL="3456305" indent="0">
              <a:buNone/>
              <a:defRPr sz="1510" b="1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937069" y="1987553"/>
            <a:ext cx="5184934" cy="3844604"/>
          </a:xfrm>
          <a:prstGeom prst="rect">
            <a:avLst/>
          </a:prstGeom>
        </p:spPr>
        <p:txBody>
          <a:bodyPr/>
          <a:lstStyle>
            <a:lvl1pPr>
              <a:defRPr sz="1890"/>
            </a:lvl1pPr>
            <a:lvl2pPr>
              <a:defRPr sz="1700"/>
            </a:lvl2pPr>
            <a:lvl3pPr>
              <a:defRPr sz="1510"/>
            </a:lvl3pPr>
            <a:lvl4pPr>
              <a:defRPr sz="1325"/>
            </a:lvl4pPr>
            <a:lvl5pPr>
              <a:defRPr sz="1135"/>
            </a:lvl5pPr>
            <a:lvl6pPr>
              <a:defRPr sz="1510"/>
            </a:lvl6pPr>
            <a:lvl7pPr>
              <a:defRPr sz="1510"/>
            </a:lvl7pPr>
            <a:lvl8pPr>
              <a:defRPr sz="1510"/>
            </a:lvl8pPr>
            <a:lvl9pPr>
              <a:defRPr sz="151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/>
          <p:nvPr userDrawn="1">
            <p:custDataLst>
              <p:tags r:id="rId1"/>
            </p:custDataLst>
          </p:nvPr>
        </p:nvSpPr>
        <p:spPr bwMode="auto">
          <a:xfrm>
            <a:off x="0" y="544516"/>
            <a:ext cx="11532077" cy="711019"/>
          </a:xfrm>
          <a:custGeom>
            <a:avLst/>
            <a:gdLst>
              <a:gd name="connsiteX0" fmla="*/ 9509 w 10000"/>
              <a:gd name="connsiteY0" fmla="*/ 4537 h 10000"/>
              <a:gd name="connsiteX1" fmla="*/ 972 w 10000"/>
              <a:gd name="connsiteY1" fmla="*/ 4537 h 10000"/>
              <a:gd name="connsiteX2" fmla="*/ 484 w 10000"/>
              <a:gd name="connsiteY2" fmla="*/ 9122 h 10000"/>
              <a:gd name="connsiteX3" fmla="*/ 0 w 10000"/>
              <a:gd name="connsiteY3" fmla="*/ 4537 h 10000"/>
              <a:gd name="connsiteX4" fmla="*/ 0 w 10000"/>
              <a:gd name="connsiteY4" fmla="*/ 5463 h 10000"/>
              <a:gd name="connsiteX5" fmla="*/ 484 w 10000"/>
              <a:gd name="connsiteY5" fmla="*/ 10000 h 10000"/>
              <a:gd name="connsiteX6" fmla="*/ 972 w 10000"/>
              <a:gd name="connsiteY6" fmla="*/ 5463 h 10000"/>
              <a:gd name="connsiteX7" fmla="*/ 8912 w 10000"/>
              <a:gd name="connsiteY7" fmla="*/ 5514 h 10000"/>
              <a:gd name="connsiteX8" fmla="*/ 10000 w 10000"/>
              <a:gd name="connsiteY8" fmla="*/ 927 h 10000"/>
              <a:gd name="connsiteX9" fmla="*/ 10000 w 10000"/>
              <a:gd name="connsiteY9" fmla="*/ 0 h 10000"/>
              <a:gd name="connsiteX10" fmla="*/ 9509 w 10000"/>
              <a:gd name="connsiteY10" fmla="*/ 4537 h 10000"/>
              <a:gd name="connsiteX0-1" fmla="*/ 8912 w 10000"/>
              <a:gd name="connsiteY0-2" fmla="*/ 4577 h 10000"/>
              <a:gd name="connsiteX1-3" fmla="*/ 972 w 10000"/>
              <a:gd name="connsiteY1-4" fmla="*/ 4537 h 10000"/>
              <a:gd name="connsiteX2-5" fmla="*/ 484 w 10000"/>
              <a:gd name="connsiteY2-6" fmla="*/ 9122 h 10000"/>
              <a:gd name="connsiteX3-7" fmla="*/ 0 w 10000"/>
              <a:gd name="connsiteY3-8" fmla="*/ 4537 h 10000"/>
              <a:gd name="connsiteX4-9" fmla="*/ 0 w 10000"/>
              <a:gd name="connsiteY4-10" fmla="*/ 5463 h 10000"/>
              <a:gd name="connsiteX5-11" fmla="*/ 484 w 10000"/>
              <a:gd name="connsiteY5-12" fmla="*/ 10000 h 10000"/>
              <a:gd name="connsiteX6-13" fmla="*/ 972 w 10000"/>
              <a:gd name="connsiteY6-14" fmla="*/ 5463 h 10000"/>
              <a:gd name="connsiteX7-15" fmla="*/ 8912 w 10000"/>
              <a:gd name="connsiteY7-16" fmla="*/ 5514 h 10000"/>
              <a:gd name="connsiteX8-17" fmla="*/ 10000 w 10000"/>
              <a:gd name="connsiteY8-18" fmla="*/ 927 h 10000"/>
              <a:gd name="connsiteX9-19" fmla="*/ 10000 w 10000"/>
              <a:gd name="connsiteY9-20" fmla="*/ 0 h 10000"/>
              <a:gd name="connsiteX10-21" fmla="*/ 8912 w 10000"/>
              <a:gd name="connsiteY10-22" fmla="*/ 4577 h 10000"/>
              <a:gd name="connsiteX0-23" fmla="*/ 8912 w 10000"/>
              <a:gd name="connsiteY0-24" fmla="*/ 4383 h 9806"/>
              <a:gd name="connsiteX1-25" fmla="*/ 972 w 10000"/>
              <a:gd name="connsiteY1-26" fmla="*/ 4343 h 9806"/>
              <a:gd name="connsiteX2-27" fmla="*/ 484 w 10000"/>
              <a:gd name="connsiteY2-28" fmla="*/ 8928 h 9806"/>
              <a:gd name="connsiteX3-29" fmla="*/ 0 w 10000"/>
              <a:gd name="connsiteY3-30" fmla="*/ 4343 h 9806"/>
              <a:gd name="connsiteX4-31" fmla="*/ 0 w 10000"/>
              <a:gd name="connsiteY4-32" fmla="*/ 5269 h 9806"/>
              <a:gd name="connsiteX5-33" fmla="*/ 484 w 10000"/>
              <a:gd name="connsiteY5-34" fmla="*/ 9806 h 9806"/>
              <a:gd name="connsiteX6-35" fmla="*/ 972 w 10000"/>
              <a:gd name="connsiteY6-36" fmla="*/ 5269 h 9806"/>
              <a:gd name="connsiteX7-37" fmla="*/ 8912 w 10000"/>
              <a:gd name="connsiteY7-38" fmla="*/ 5320 h 9806"/>
              <a:gd name="connsiteX8-39" fmla="*/ 10000 w 10000"/>
              <a:gd name="connsiteY8-40" fmla="*/ 733 h 9806"/>
              <a:gd name="connsiteX9-41" fmla="*/ 9231 w 10000"/>
              <a:gd name="connsiteY9-42" fmla="*/ 0 h 9806"/>
              <a:gd name="connsiteX10-43" fmla="*/ 8912 w 10000"/>
              <a:gd name="connsiteY10-44" fmla="*/ 4383 h 9806"/>
              <a:gd name="connsiteX0-45" fmla="*/ 8912 w 9297"/>
              <a:gd name="connsiteY0-46" fmla="*/ 4470 h 10000"/>
              <a:gd name="connsiteX1-47" fmla="*/ 972 w 9297"/>
              <a:gd name="connsiteY1-48" fmla="*/ 4429 h 10000"/>
              <a:gd name="connsiteX2-49" fmla="*/ 484 w 9297"/>
              <a:gd name="connsiteY2-50" fmla="*/ 9105 h 10000"/>
              <a:gd name="connsiteX3-51" fmla="*/ 0 w 9297"/>
              <a:gd name="connsiteY3-52" fmla="*/ 4429 h 10000"/>
              <a:gd name="connsiteX4-53" fmla="*/ 0 w 9297"/>
              <a:gd name="connsiteY4-54" fmla="*/ 5373 h 10000"/>
              <a:gd name="connsiteX5-55" fmla="*/ 484 w 9297"/>
              <a:gd name="connsiteY5-56" fmla="*/ 10000 h 10000"/>
              <a:gd name="connsiteX6-57" fmla="*/ 972 w 9297"/>
              <a:gd name="connsiteY6-58" fmla="*/ 5373 h 10000"/>
              <a:gd name="connsiteX7-59" fmla="*/ 8912 w 9297"/>
              <a:gd name="connsiteY7-60" fmla="*/ 5425 h 10000"/>
              <a:gd name="connsiteX8-61" fmla="*/ 9231 w 9297"/>
              <a:gd name="connsiteY8-62" fmla="*/ 1642 h 10000"/>
              <a:gd name="connsiteX9-63" fmla="*/ 9231 w 9297"/>
              <a:gd name="connsiteY9-64" fmla="*/ 0 h 10000"/>
              <a:gd name="connsiteX10-65" fmla="*/ 8912 w 9297"/>
              <a:gd name="connsiteY10-66" fmla="*/ 4470 h 10000"/>
              <a:gd name="connsiteX0-67" fmla="*/ 9586 w 10000"/>
              <a:gd name="connsiteY0-68" fmla="*/ 4470 h 10000"/>
              <a:gd name="connsiteX1-69" fmla="*/ 1045 w 10000"/>
              <a:gd name="connsiteY1-70" fmla="*/ 4429 h 10000"/>
              <a:gd name="connsiteX2-71" fmla="*/ 521 w 10000"/>
              <a:gd name="connsiteY2-72" fmla="*/ 9105 h 10000"/>
              <a:gd name="connsiteX3-73" fmla="*/ 0 w 10000"/>
              <a:gd name="connsiteY3-74" fmla="*/ 4429 h 10000"/>
              <a:gd name="connsiteX4-75" fmla="*/ 0 w 10000"/>
              <a:gd name="connsiteY4-76" fmla="*/ 5373 h 10000"/>
              <a:gd name="connsiteX5-77" fmla="*/ 521 w 10000"/>
              <a:gd name="connsiteY5-78" fmla="*/ 10000 h 10000"/>
              <a:gd name="connsiteX6-79" fmla="*/ 1045 w 10000"/>
              <a:gd name="connsiteY6-80" fmla="*/ 5373 h 10000"/>
              <a:gd name="connsiteX7-81" fmla="*/ 9281 w 10000"/>
              <a:gd name="connsiteY7-82" fmla="*/ 5426 h 10000"/>
              <a:gd name="connsiteX8-83" fmla="*/ 9929 w 10000"/>
              <a:gd name="connsiteY8-84" fmla="*/ 1642 h 10000"/>
              <a:gd name="connsiteX9-85" fmla="*/ 9929 w 10000"/>
              <a:gd name="connsiteY9-86" fmla="*/ 0 h 10000"/>
              <a:gd name="connsiteX10-87" fmla="*/ 9586 w 10000"/>
              <a:gd name="connsiteY10-88" fmla="*/ 4470 h 10000"/>
              <a:gd name="connsiteX0-89" fmla="*/ 9586 w 10000"/>
              <a:gd name="connsiteY0-90" fmla="*/ 4470 h 10000"/>
              <a:gd name="connsiteX1-91" fmla="*/ 1045 w 10000"/>
              <a:gd name="connsiteY1-92" fmla="*/ 4429 h 10000"/>
              <a:gd name="connsiteX2-93" fmla="*/ 521 w 10000"/>
              <a:gd name="connsiteY2-94" fmla="*/ 9105 h 10000"/>
              <a:gd name="connsiteX3-95" fmla="*/ 0 w 10000"/>
              <a:gd name="connsiteY3-96" fmla="*/ 4429 h 10000"/>
              <a:gd name="connsiteX4-97" fmla="*/ 0 w 10000"/>
              <a:gd name="connsiteY4-98" fmla="*/ 5373 h 10000"/>
              <a:gd name="connsiteX5-99" fmla="*/ 521 w 10000"/>
              <a:gd name="connsiteY5-100" fmla="*/ 10000 h 10000"/>
              <a:gd name="connsiteX6-101" fmla="*/ 1045 w 10000"/>
              <a:gd name="connsiteY6-102" fmla="*/ 5373 h 10000"/>
              <a:gd name="connsiteX7-103" fmla="*/ 9281 w 10000"/>
              <a:gd name="connsiteY7-104" fmla="*/ 5426 h 10000"/>
              <a:gd name="connsiteX8-105" fmla="*/ 9929 w 10000"/>
              <a:gd name="connsiteY8-106" fmla="*/ 1642 h 10000"/>
              <a:gd name="connsiteX9-107" fmla="*/ 9929 w 10000"/>
              <a:gd name="connsiteY9-108" fmla="*/ 0 h 10000"/>
              <a:gd name="connsiteX10-109" fmla="*/ 9586 w 10000"/>
              <a:gd name="connsiteY10-110" fmla="*/ 4470 h 10000"/>
              <a:gd name="connsiteX0-111" fmla="*/ 9586 w 10000"/>
              <a:gd name="connsiteY0-112" fmla="*/ 4470 h 10000"/>
              <a:gd name="connsiteX1-113" fmla="*/ 1045 w 10000"/>
              <a:gd name="connsiteY1-114" fmla="*/ 4429 h 10000"/>
              <a:gd name="connsiteX2-115" fmla="*/ 521 w 10000"/>
              <a:gd name="connsiteY2-116" fmla="*/ 9105 h 10000"/>
              <a:gd name="connsiteX3-117" fmla="*/ 0 w 10000"/>
              <a:gd name="connsiteY3-118" fmla="*/ 4429 h 10000"/>
              <a:gd name="connsiteX4-119" fmla="*/ 0 w 10000"/>
              <a:gd name="connsiteY4-120" fmla="*/ 5373 h 10000"/>
              <a:gd name="connsiteX5-121" fmla="*/ 521 w 10000"/>
              <a:gd name="connsiteY5-122" fmla="*/ 10000 h 10000"/>
              <a:gd name="connsiteX6-123" fmla="*/ 1045 w 10000"/>
              <a:gd name="connsiteY6-124" fmla="*/ 5373 h 10000"/>
              <a:gd name="connsiteX7-125" fmla="*/ 9281 w 10000"/>
              <a:gd name="connsiteY7-126" fmla="*/ 5426 h 10000"/>
              <a:gd name="connsiteX8-127" fmla="*/ 9929 w 10000"/>
              <a:gd name="connsiteY8-128" fmla="*/ 1642 h 10000"/>
              <a:gd name="connsiteX9-129" fmla="*/ 9929 w 10000"/>
              <a:gd name="connsiteY9-130" fmla="*/ 0 h 10000"/>
              <a:gd name="connsiteX10-131" fmla="*/ 9586 w 10000"/>
              <a:gd name="connsiteY10-132" fmla="*/ 4470 h 10000"/>
              <a:gd name="connsiteX0-133" fmla="*/ 9281 w 9929"/>
              <a:gd name="connsiteY0-134" fmla="*/ 4558 h 10000"/>
              <a:gd name="connsiteX1-135" fmla="*/ 1045 w 9929"/>
              <a:gd name="connsiteY1-136" fmla="*/ 4429 h 10000"/>
              <a:gd name="connsiteX2-137" fmla="*/ 521 w 9929"/>
              <a:gd name="connsiteY2-138" fmla="*/ 9105 h 10000"/>
              <a:gd name="connsiteX3-139" fmla="*/ 0 w 9929"/>
              <a:gd name="connsiteY3-140" fmla="*/ 4429 h 10000"/>
              <a:gd name="connsiteX4-141" fmla="*/ 0 w 9929"/>
              <a:gd name="connsiteY4-142" fmla="*/ 5373 h 10000"/>
              <a:gd name="connsiteX5-143" fmla="*/ 521 w 9929"/>
              <a:gd name="connsiteY5-144" fmla="*/ 10000 h 10000"/>
              <a:gd name="connsiteX6-145" fmla="*/ 1045 w 9929"/>
              <a:gd name="connsiteY6-146" fmla="*/ 5373 h 10000"/>
              <a:gd name="connsiteX7-147" fmla="*/ 9281 w 9929"/>
              <a:gd name="connsiteY7-148" fmla="*/ 5426 h 10000"/>
              <a:gd name="connsiteX8-149" fmla="*/ 9929 w 9929"/>
              <a:gd name="connsiteY8-150" fmla="*/ 1642 h 10000"/>
              <a:gd name="connsiteX9-151" fmla="*/ 9929 w 9929"/>
              <a:gd name="connsiteY9-152" fmla="*/ 0 h 10000"/>
              <a:gd name="connsiteX10-153" fmla="*/ 9281 w 9929"/>
              <a:gd name="connsiteY10-154" fmla="*/ 4558 h 10000"/>
              <a:gd name="connsiteX0-155" fmla="*/ 9347 w 10000"/>
              <a:gd name="connsiteY0-156" fmla="*/ 4558 h 10000"/>
              <a:gd name="connsiteX1-157" fmla="*/ 1052 w 10000"/>
              <a:gd name="connsiteY1-158" fmla="*/ 4429 h 10000"/>
              <a:gd name="connsiteX2-159" fmla="*/ 525 w 10000"/>
              <a:gd name="connsiteY2-160" fmla="*/ 9105 h 10000"/>
              <a:gd name="connsiteX3-161" fmla="*/ 0 w 10000"/>
              <a:gd name="connsiteY3-162" fmla="*/ 4429 h 10000"/>
              <a:gd name="connsiteX4-163" fmla="*/ 0 w 10000"/>
              <a:gd name="connsiteY4-164" fmla="*/ 5373 h 10000"/>
              <a:gd name="connsiteX5-165" fmla="*/ 525 w 10000"/>
              <a:gd name="connsiteY5-166" fmla="*/ 10000 h 10000"/>
              <a:gd name="connsiteX6-167" fmla="*/ 1052 w 10000"/>
              <a:gd name="connsiteY6-168" fmla="*/ 5373 h 10000"/>
              <a:gd name="connsiteX7-169" fmla="*/ 9347 w 10000"/>
              <a:gd name="connsiteY7-170" fmla="*/ 5426 h 10000"/>
              <a:gd name="connsiteX8-171" fmla="*/ 10000 w 10000"/>
              <a:gd name="connsiteY8-172" fmla="*/ 0 h 10000"/>
              <a:gd name="connsiteX9-173" fmla="*/ 10000 w 10000"/>
              <a:gd name="connsiteY9-174" fmla="*/ 0 h 10000"/>
              <a:gd name="connsiteX10-175" fmla="*/ 9347 w 10000"/>
              <a:gd name="connsiteY10-176" fmla="*/ 4558 h 10000"/>
              <a:gd name="connsiteX0-177" fmla="*/ 9475 w 10000"/>
              <a:gd name="connsiteY0-178" fmla="*/ 4447 h 10000"/>
              <a:gd name="connsiteX1-179" fmla="*/ 1052 w 10000"/>
              <a:gd name="connsiteY1-180" fmla="*/ 4429 h 10000"/>
              <a:gd name="connsiteX2-181" fmla="*/ 525 w 10000"/>
              <a:gd name="connsiteY2-182" fmla="*/ 9105 h 10000"/>
              <a:gd name="connsiteX3-183" fmla="*/ 0 w 10000"/>
              <a:gd name="connsiteY3-184" fmla="*/ 4429 h 10000"/>
              <a:gd name="connsiteX4-185" fmla="*/ 0 w 10000"/>
              <a:gd name="connsiteY4-186" fmla="*/ 5373 h 10000"/>
              <a:gd name="connsiteX5-187" fmla="*/ 525 w 10000"/>
              <a:gd name="connsiteY5-188" fmla="*/ 10000 h 10000"/>
              <a:gd name="connsiteX6-189" fmla="*/ 1052 w 10000"/>
              <a:gd name="connsiteY6-190" fmla="*/ 5373 h 10000"/>
              <a:gd name="connsiteX7-191" fmla="*/ 9347 w 10000"/>
              <a:gd name="connsiteY7-192" fmla="*/ 5426 h 10000"/>
              <a:gd name="connsiteX8-193" fmla="*/ 10000 w 10000"/>
              <a:gd name="connsiteY8-194" fmla="*/ 0 h 10000"/>
              <a:gd name="connsiteX9-195" fmla="*/ 10000 w 10000"/>
              <a:gd name="connsiteY9-196" fmla="*/ 0 h 10000"/>
              <a:gd name="connsiteX10-197" fmla="*/ 9475 w 10000"/>
              <a:gd name="connsiteY10-198" fmla="*/ 4447 h 10000"/>
              <a:gd name="connsiteX0-199" fmla="*/ 9475 w 10000"/>
              <a:gd name="connsiteY0-200" fmla="*/ 4447 h 10000"/>
              <a:gd name="connsiteX1-201" fmla="*/ 1052 w 10000"/>
              <a:gd name="connsiteY1-202" fmla="*/ 4429 h 10000"/>
              <a:gd name="connsiteX2-203" fmla="*/ 525 w 10000"/>
              <a:gd name="connsiteY2-204" fmla="*/ 9105 h 10000"/>
              <a:gd name="connsiteX3-205" fmla="*/ 0 w 10000"/>
              <a:gd name="connsiteY3-206" fmla="*/ 4429 h 10000"/>
              <a:gd name="connsiteX4-207" fmla="*/ 0 w 10000"/>
              <a:gd name="connsiteY4-208" fmla="*/ 5373 h 10000"/>
              <a:gd name="connsiteX5-209" fmla="*/ 525 w 10000"/>
              <a:gd name="connsiteY5-210" fmla="*/ 10000 h 10000"/>
              <a:gd name="connsiteX6-211" fmla="*/ 1052 w 10000"/>
              <a:gd name="connsiteY6-212" fmla="*/ 5373 h 10000"/>
              <a:gd name="connsiteX7-213" fmla="*/ 9449 w 10000"/>
              <a:gd name="connsiteY7-214" fmla="*/ 5470 h 10000"/>
              <a:gd name="connsiteX8-215" fmla="*/ 10000 w 10000"/>
              <a:gd name="connsiteY8-216" fmla="*/ 0 h 10000"/>
              <a:gd name="connsiteX9-217" fmla="*/ 10000 w 10000"/>
              <a:gd name="connsiteY9-218" fmla="*/ 0 h 10000"/>
              <a:gd name="connsiteX10-219" fmla="*/ 9475 w 10000"/>
              <a:gd name="connsiteY10-220" fmla="*/ 4447 h 10000"/>
              <a:gd name="connsiteX0-221" fmla="*/ 9475 w 10956"/>
              <a:gd name="connsiteY0-222" fmla="*/ 4447 h 10000"/>
              <a:gd name="connsiteX1-223" fmla="*/ 1052 w 10956"/>
              <a:gd name="connsiteY1-224" fmla="*/ 4429 h 10000"/>
              <a:gd name="connsiteX2-225" fmla="*/ 525 w 10956"/>
              <a:gd name="connsiteY2-226" fmla="*/ 9105 h 10000"/>
              <a:gd name="connsiteX3-227" fmla="*/ 0 w 10956"/>
              <a:gd name="connsiteY3-228" fmla="*/ 4429 h 10000"/>
              <a:gd name="connsiteX4-229" fmla="*/ 0 w 10956"/>
              <a:gd name="connsiteY4-230" fmla="*/ 5373 h 10000"/>
              <a:gd name="connsiteX5-231" fmla="*/ 525 w 10956"/>
              <a:gd name="connsiteY5-232" fmla="*/ 10000 h 10000"/>
              <a:gd name="connsiteX6-233" fmla="*/ 1052 w 10956"/>
              <a:gd name="connsiteY6-234" fmla="*/ 5373 h 10000"/>
              <a:gd name="connsiteX7-235" fmla="*/ 9449 w 10956"/>
              <a:gd name="connsiteY7-236" fmla="*/ 5470 h 10000"/>
              <a:gd name="connsiteX8-237" fmla="*/ 10000 w 10956"/>
              <a:gd name="connsiteY8-238" fmla="*/ 0 h 10000"/>
              <a:gd name="connsiteX9-239" fmla="*/ 10000 w 10956"/>
              <a:gd name="connsiteY9-240" fmla="*/ 0 h 10000"/>
              <a:gd name="connsiteX10-241" fmla="*/ 9940 w 10956"/>
              <a:gd name="connsiteY10-242" fmla="*/ 1168 h 10000"/>
              <a:gd name="connsiteX11" fmla="*/ 9475 w 10956"/>
              <a:gd name="connsiteY11" fmla="*/ 4447 h 10000"/>
              <a:gd name="connsiteX0-243" fmla="*/ 9475 w 10956"/>
              <a:gd name="connsiteY0-244" fmla="*/ 4447 h 10000"/>
              <a:gd name="connsiteX1-245" fmla="*/ 1052 w 10956"/>
              <a:gd name="connsiteY1-246" fmla="*/ 4429 h 10000"/>
              <a:gd name="connsiteX2-247" fmla="*/ 525 w 10956"/>
              <a:gd name="connsiteY2-248" fmla="*/ 9105 h 10000"/>
              <a:gd name="connsiteX3-249" fmla="*/ 0 w 10956"/>
              <a:gd name="connsiteY3-250" fmla="*/ 4429 h 10000"/>
              <a:gd name="connsiteX4-251" fmla="*/ 0 w 10956"/>
              <a:gd name="connsiteY4-252" fmla="*/ 5373 h 10000"/>
              <a:gd name="connsiteX5-253" fmla="*/ 525 w 10956"/>
              <a:gd name="connsiteY5-254" fmla="*/ 10000 h 10000"/>
              <a:gd name="connsiteX6-255" fmla="*/ 1052 w 10956"/>
              <a:gd name="connsiteY6-256" fmla="*/ 5373 h 10000"/>
              <a:gd name="connsiteX7-257" fmla="*/ 9449 w 10956"/>
              <a:gd name="connsiteY7-258" fmla="*/ 5470 h 10000"/>
              <a:gd name="connsiteX8-259" fmla="*/ 10000 w 10956"/>
              <a:gd name="connsiteY8-260" fmla="*/ 0 h 10000"/>
              <a:gd name="connsiteX9-261" fmla="*/ 10000 w 10956"/>
              <a:gd name="connsiteY9-262" fmla="*/ 0 h 10000"/>
              <a:gd name="connsiteX10-263" fmla="*/ 10104 w 10956"/>
              <a:gd name="connsiteY10-264" fmla="*/ 1401 h 10000"/>
              <a:gd name="connsiteX11-265" fmla="*/ 9475 w 10956"/>
              <a:gd name="connsiteY11-266" fmla="*/ 4447 h 10000"/>
              <a:gd name="connsiteX0-267" fmla="*/ 9475 w 10966"/>
              <a:gd name="connsiteY0-268" fmla="*/ 4447 h 10000"/>
              <a:gd name="connsiteX1-269" fmla="*/ 1052 w 10966"/>
              <a:gd name="connsiteY1-270" fmla="*/ 4429 h 10000"/>
              <a:gd name="connsiteX2-271" fmla="*/ 525 w 10966"/>
              <a:gd name="connsiteY2-272" fmla="*/ 9105 h 10000"/>
              <a:gd name="connsiteX3-273" fmla="*/ 0 w 10966"/>
              <a:gd name="connsiteY3-274" fmla="*/ 4429 h 10000"/>
              <a:gd name="connsiteX4-275" fmla="*/ 0 w 10966"/>
              <a:gd name="connsiteY4-276" fmla="*/ 5373 h 10000"/>
              <a:gd name="connsiteX5-277" fmla="*/ 525 w 10966"/>
              <a:gd name="connsiteY5-278" fmla="*/ 10000 h 10000"/>
              <a:gd name="connsiteX6-279" fmla="*/ 1052 w 10966"/>
              <a:gd name="connsiteY6-280" fmla="*/ 5373 h 10000"/>
              <a:gd name="connsiteX7-281" fmla="*/ 9449 w 10966"/>
              <a:gd name="connsiteY7-282" fmla="*/ 5470 h 10000"/>
              <a:gd name="connsiteX8-283" fmla="*/ 10000 w 10966"/>
              <a:gd name="connsiteY8-284" fmla="*/ 0 h 10000"/>
              <a:gd name="connsiteX9-285" fmla="*/ 10000 w 10966"/>
              <a:gd name="connsiteY9-286" fmla="*/ 0 h 10000"/>
              <a:gd name="connsiteX10-287" fmla="*/ 9475 w 10966"/>
              <a:gd name="connsiteY10-288" fmla="*/ 4447 h 10000"/>
              <a:gd name="connsiteX0-289" fmla="*/ 9475 w 10966"/>
              <a:gd name="connsiteY0-290" fmla="*/ 4447 h 10000"/>
              <a:gd name="connsiteX1-291" fmla="*/ 1052 w 10966"/>
              <a:gd name="connsiteY1-292" fmla="*/ 4429 h 10000"/>
              <a:gd name="connsiteX2-293" fmla="*/ 525 w 10966"/>
              <a:gd name="connsiteY2-294" fmla="*/ 9105 h 10000"/>
              <a:gd name="connsiteX3-295" fmla="*/ 0 w 10966"/>
              <a:gd name="connsiteY3-296" fmla="*/ 4429 h 10000"/>
              <a:gd name="connsiteX4-297" fmla="*/ 0 w 10966"/>
              <a:gd name="connsiteY4-298" fmla="*/ 5373 h 10000"/>
              <a:gd name="connsiteX5-299" fmla="*/ 525 w 10966"/>
              <a:gd name="connsiteY5-300" fmla="*/ 10000 h 10000"/>
              <a:gd name="connsiteX6-301" fmla="*/ 1052 w 10966"/>
              <a:gd name="connsiteY6-302" fmla="*/ 5373 h 10000"/>
              <a:gd name="connsiteX7-303" fmla="*/ 9449 w 10966"/>
              <a:gd name="connsiteY7-304" fmla="*/ 5470 h 10000"/>
              <a:gd name="connsiteX8-305" fmla="*/ 10000 w 10966"/>
              <a:gd name="connsiteY8-306" fmla="*/ 0 h 10000"/>
              <a:gd name="connsiteX9-307" fmla="*/ 10060 w 10966"/>
              <a:gd name="connsiteY9-308" fmla="*/ 1567 h 10000"/>
              <a:gd name="connsiteX10-309" fmla="*/ 9475 w 10966"/>
              <a:gd name="connsiteY10-310" fmla="*/ 4447 h 10000"/>
              <a:gd name="connsiteX0-311" fmla="*/ 9475 w 10966"/>
              <a:gd name="connsiteY0-312" fmla="*/ 3647 h 9200"/>
              <a:gd name="connsiteX1-313" fmla="*/ 1052 w 10966"/>
              <a:gd name="connsiteY1-314" fmla="*/ 3629 h 9200"/>
              <a:gd name="connsiteX2-315" fmla="*/ 525 w 10966"/>
              <a:gd name="connsiteY2-316" fmla="*/ 8305 h 9200"/>
              <a:gd name="connsiteX3-317" fmla="*/ 0 w 10966"/>
              <a:gd name="connsiteY3-318" fmla="*/ 3629 h 9200"/>
              <a:gd name="connsiteX4-319" fmla="*/ 0 w 10966"/>
              <a:gd name="connsiteY4-320" fmla="*/ 4573 h 9200"/>
              <a:gd name="connsiteX5-321" fmla="*/ 525 w 10966"/>
              <a:gd name="connsiteY5-322" fmla="*/ 9200 h 9200"/>
              <a:gd name="connsiteX6-323" fmla="*/ 1052 w 10966"/>
              <a:gd name="connsiteY6-324" fmla="*/ 4573 h 9200"/>
              <a:gd name="connsiteX7-325" fmla="*/ 9449 w 10966"/>
              <a:gd name="connsiteY7-326" fmla="*/ 4670 h 9200"/>
              <a:gd name="connsiteX8-327" fmla="*/ 10099 w 10966"/>
              <a:gd name="connsiteY8-328" fmla="*/ 0 h 9200"/>
              <a:gd name="connsiteX9-329" fmla="*/ 10060 w 10966"/>
              <a:gd name="connsiteY9-330" fmla="*/ 767 h 9200"/>
              <a:gd name="connsiteX10-331" fmla="*/ 9475 w 10966"/>
              <a:gd name="connsiteY10-332" fmla="*/ 3647 h 9200"/>
              <a:gd name="connsiteX0-333" fmla="*/ 8640 w 10000"/>
              <a:gd name="connsiteY0-334" fmla="*/ 5401 h 11437"/>
              <a:gd name="connsiteX1-335" fmla="*/ 959 w 10000"/>
              <a:gd name="connsiteY1-336" fmla="*/ 5382 h 11437"/>
              <a:gd name="connsiteX2-337" fmla="*/ 479 w 10000"/>
              <a:gd name="connsiteY2-338" fmla="*/ 10464 h 11437"/>
              <a:gd name="connsiteX3-339" fmla="*/ 0 w 10000"/>
              <a:gd name="connsiteY3-340" fmla="*/ 5382 h 11437"/>
              <a:gd name="connsiteX4-341" fmla="*/ 0 w 10000"/>
              <a:gd name="connsiteY4-342" fmla="*/ 6408 h 11437"/>
              <a:gd name="connsiteX5-343" fmla="*/ 479 w 10000"/>
              <a:gd name="connsiteY5-344" fmla="*/ 11437 h 11437"/>
              <a:gd name="connsiteX6-345" fmla="*/ 959 w 10000"/>
              <a:gd name="connsiteY6-346" fmla="*/ 6408 h 11437"/>
              <a:gd name="connsiteX7-347" fmla="*/ 8617 w 10000"/>
              <a:gd name="connsiteY7-348" fmla="*/ 6513 h 11437"/>
              <a:gd name="connsiteX8-349" fmla="*/ 9209 w 10000"/>
              <a:gd name="connsiteY8-350" fmla="*/ 1437 h 11437"/>
              <a:gd name="connsiteX9-351" fmla="*/ 9119 w 10000"/>
              <a:gd name="connsiteY9-352" fmla="*/ 568 h 11437"/>
              <a:gd name="connsiteX10-353" fmla="*/ 8640 w 10000"/>
              <a:gd name="connsiteY10-354" fmla="*/ 5401 h 11437"/>
              <a:gd name="connsiteX0-355" fmla="*/ 8640 w 9228"/>
              <a:gd name="connsiteY0-356" fmla="*/ 5401 h 11437"/>
              <a:gd name="connsiteX1-357" fmla="*/ 959 w 9228"/>
              <a:gd name="connsiteY1-358" fmla="*/ 5382 h 11437"/>
              <a:gd name="connsiteX2-359" fmla="*/ 479 w 9228"/>
              <a:gd name="connsiteY2-360" fmla="*/ 10464 h 11437"/>
              <a:gd name="connsiteX3-361" fmla="*/ 0 w 9228"/>
              <a:gd name="connsiteY3-362" fmla="*/ 5382 h 11437"/>
              <a:gd name="connsiteX4-363" fmla="*/ 0 w 9228"/>
              <a:gd name="connsiteY4-364" fmla="*/ 6408 h 11437"/>
              <a:gd name="connsiteX5-365" fmla="*/ 479 w 9228"/>
              <a:gd name="connsiteY5-366" fmla="*/ 11437 h 11437"/>
              <a:gd name="connsiteX6-367" fmla="*/ 959 w 9228"/>
              <a:gd name="connsiteY6-368" fmla="*/ 6408 h 11437"/>
              <a:gd name="connsiteX7-369" fmla="*/ 8617 w 9228"/>
              <a:gd name="connsiteY7-370" fmla="*/ 6513 h 11437"/>
              <a:gd name="connsiteX8-371" fmla="*/ 9209 w 9228"/>
              <a:gd name="connsiteY8-372" fmla="*/ 1437 h 11437"/>
              <a:gd name="connsiteX9-373" fmla="*/ 9119 w 9228"/>
              <a:gd name="connsiteY9-374" fmla="*/ 568 h 11437"/>
              <a:gd name="connsiteX10-375" fmla="*/ 8640 w 9228"/>
              <a:gd name="connsiteY10-376" fmla="*/ 5401 h 11437"/>
              <a:gd name="connsiteX0-377" fmla="*/ 9363 w 10000"/>
              <a:gd name="connsiteY0-378" fmla="*/ 4722 h 10000"/>
              <a:gd name="connsiteX1-379" fmla="*/ 1039 w 10000"/>
              <a:gd name="connsiteY1-380" fmla="*/ 4706 h 10000"/>
              <a:gd name="connsiteX2-381" fmla="*/ 519 w 10000"/>
              <a:gd name="connsiteY2-382" fmla="*/ 9149 h 10000"/>
              <a:gd name="connsiteX3-383" fmla="*/ 0 w 10000"/>
              <a:gd name="connsiteY3-384" fmla="*/ 4706 h 10000"/>
              <a:gd name="connsiteX4-385" fmla="*/ 0 w 10000"/>
              <a:gd name="connsiteY4-386" fmla="*/ 5603 h 10000"/>
              <a:gd name="connsiteX5-387" fmla="*/ 519 w 10000"/>
              <a:gd name="connsiteY5-388" fmla="*/ 10000 h 10000"/>
              <a:gd name="connsiteX6-389" fmla="*/ 1039 w 10000"/>
              <a:gd name="connsiteY6-390" fmla="*/ 5603 h 10000"/>
              <a:gd name="connsiteX7-391" fmla="*/ 9338 w 10000"/>
              <a:gd name="connsiteY7-392" fmla="*/ 5695 h 10000"/>
              <a:gd name="connsiteX8-393" fmla="*/ 9979 w 10000"/>
              <a:gd name="connsiteY8-394" fmla="*/ 1256 h 10000"/>
              <a:gd name="connsiteX9-395" fmla="*/ 9882 w 10000"/>
              <a:gd name="connsiteY9-396" fmla="*/ 497 h 10000"/>
              <a:gd name="connsiteX10-397" fmla="*/ 9363 w 10000"/>
              <a:gd name="connsiteY10-398" fmla="*/ 4722 h 10000"/>
              <a:gd name="connsiteX0-399" fmla="*/ 9363 w 10000"/>
              <a:gd name="connsiteY0-400" fmla="*/ 4722 h 10000"/>
              <a:gd name="connsiteX1-401" fmla="*/ 1039 w 10000"/>
              <a:gd name="connsiteY1-402" fmla="*/ 4706 h 10000"/>
              <a:gd name="connsiteX2-403" fmla="*/ 519 w 10000"/>
              <a:gd name="connsiteY2-404" fmla="*/ 9149 h 10000"/>
              <a:gd name="connsiteX3-405" fmla="*/ 0 w 10000"/>
              <a:gd name="connsiteY3-406" fmla="*/ 4706 h 10000"/>
              <a:gd name="connsiteX4-407" fmla="*/ 0 w 10000"/>
              <a:gd name="connsiteY4-408" fmla="*/ 5603 h 10000"/>
              <a:gd name="connsiteX5-409" fmla="*/ 519 w 10000"/>
              <a:gd name="connsiteY5-410" fmla="*/ 10000 h 10000"/>
              <a:gd name="connsiteX6-411" fmla="*/ 1039 w 10000"/>
              <a:gd name="connsiteY6-412" fmla="*/ 5603 h 10000"/>
              <a:gd name="connsiteX7-413" fmla="*/ 9338 w 10000"/>
              <a:gd name="connsiteY7-414" fmla="*/ 5695 h 10000"/>
              <a:gd name="connsiteX8-415" fmla="*/ 9979 w 10000"/>
              <a:gd name="connsiteY8-416" fmla="*/ 1256 h 10000"/>
              <a:gd name="connsiteX9-417" fmla="*/ 9882 w 10000"/>
              <a:gd name="connsiteY9-418" fmla="*/ 497 h 10000"/>
              <a:gd name="connsiteX10-419" fmla="*/ 9363 w 10000"/>
              <a:gd name="connsiteY10-420" fmla="*/ 4722 h 10000"/>
              <a:gd name="connsiteX0-421" fmla="*/ 9363 w 10000"/>
              <a:gd name="connsiteY0-422" fmla="*/ 4722 h 10000"/>
              <a:gd name="connsiteX1-423" fmla="*/ 1039 w 10000"/>
              <a:gd name="connsiteY1-424" fmla="*/ 4706 h 10000"/>
              <a:gd name="connsiteX2-425" fmla="*/ 519 w 10000"/>
              <a:gd name="connsiteY2-426" fmla="*/ 9149 h 10000"/>
              <a:gd name="connsiteX3-427" fmla="*/ 0 w 10000"/>
              <a:gd name="connsiteY3-428" fmla="*/ 4706 h 10000"/>
              <a:gd name="connsiteX4-429" fmla="*/ 0 w 10000"/>
              <a:gd name="connsiteY4-430" fmla="*/ 5603 h 10000"/>
              <a:gd name="connsiteX5-431" fmla="*/ 519 w 10000"/>
              <a:gd name="connsiteY5-432" fmla="*/ 10000 h 10000"/>
              <a:gd name="connsiteX6-433" fmla="*/ 1039 w 10000"/>
              <a:gd name="connsiteY6-434" fmla="*/ 5603 h 10000"/>
              <a:gd name="connsiteX7-435" fmla="*/ 9338 w 10000"/>
              <a:gd name="connsiteY7-436" fmla="*/ 5695 h 10000"/>
              <a:gd name="connsiteX8-437" fmla="*/ 9979 w 10000"/>
              <a:gd name="connsiteY8-438" fmla="*/ 1256 h 10000"/>
              <a:gd name="connsiteX9-439" fmla="*/ 9882 w 10000"/>
              <a:gd name="connsiteY9-440" fmla="*/ 497 h 10000"/>
              <a:gd name="connsiteX10-441" fmla="*/ 9363 w 10000"/>
              <a:gd name="connsiteY10-442" fmla="*/ 4722 h 10000"/>
              <a:gd name="connsiteX0-443" fmla="*/ 9363 w 10000"/>
              <a:gd name="connsiteY0-444" fmla="*/ 4722 h 10000"/>
              <a:gd name="connsiteX1-445" fmla="*/ 1039 w 10000"/>
              <a:gd name="connsiteY1-446" fmla="*/ 4706 h 10000"/>
              <a:gd name="connsiteX2-447" fmla="*/ 519 w 10000"/>
              <a:gd name="connsiteY2-448" fmla="*/ 9149 h 10000"/>
              <a:gd name="connsiteX3-449" fmla="*/ 0 w 10000"/>
              <a:gd name="connsiteY3-450" fmla="*/ 4706 h 10000"/>
              <a:gd name="connsiteX4-451" fmla="*/ 0 w 10000"/>
              <a:gd name="connsiteY4-452" fmla="*/ 5603 h 10000"/>
              <a:gd name="connsiteX5-453" fmla="*/ 519 w 10000"/>
              <a:gd name="connsiteY5-454" fmla="*/ 10000 h 10000"/>
              <a:gd name="connsiteX6-455" fmla="*/ 1039 w 10000"/>
              <a:gd name="connsiteY6-456" fmla="*/ 5603 h 10000"/>
              <a:gd name="connsiteX7-457" fmla="*/ 9338 w 10000"/>
              <a:gd name="connsiteY7-458" fmla="*/ 5695 h 10000"/>
              <a:gd name="connsiteX8-459" fmla="*/ 9979 w 10000"/>
              <a:gd name="connsiteY8-460" fmla="*/ 1256 h 10000"/>
              <a:gd name="connsiteX9-461" fmla="*/ 9882 w 10000"/>
              <a:gd name="connsiteY9-462" fmla="*/ 497 h 10000"/>
              <a:gd name="connsiteX10-463" fmla="*/ 9363 w 10000"/>
              <a:gd name="connsiteY10-464" fmla="*/ 4722 h 10000"/>
              <a:gd name="connsiteX0-465" fmla="*/ 9363 w 10000"/>
              <a:gd name="connsiteY0-466" fmla="*/ 4722 h 10000"/>
              <a:gd name="connsiteX1-467" fmla="*/ 1039 w 10000"/>
              <a:gd name="connsiteY1-468" fmla="*/ 4706 h 10000"/>
              <a:gd name="connsiteX2-469" fmla="*/ 519 w 10000"/>
              <a:gd name="connsiteY2-470" fmla="*/ 9149 h 10000"/>
              <a:gd name="connsiteX3-471" fmla="*/ 0 w 10000"/>
              <a:gd name="connsiteY3-472" fmla="*/ 4706 h 10000"/>
              <a:gd name="connsiteX4-473" fmla="*/ 0 w 10000"/>
              <a:gd name="connsiteY4-474" fmla="*/ 5603 h 10000"/>
              <a:gd name="connsiteX5-475" fmla="*/ 519 w 10000"/>
              <a:gd name="connsiteY5-476" fmla="*/ 10000 h 10000"/>
              <a:gd name="connsiteX6-477" fmla="*/ 1039 w 10000"/>
              <a:gd name="connsiteY6-478" fmla="*/ 5603 h 10000"/>
              <a:gd name="connsiteX7-479" fmla="*/ 9338 w 10000"/>
              <a:gd name="connsiteY7-480" fmla="*/ 5695 h 10000"/>
              <a:gd name="connsiteX8-481" fmla="*/ 9979 w 10000"/>
              <a:gd name="connsiteY8-482" fmla="*/ 1256 h 10000"/>
              <a:gd name="connsiteX9-483" fmla="*/ 9882 w 10000"/>
              <a:gd name="connsiteY9-484" fmla="*/ 497 h 10000"/>
              <a:gd name="connsiteX10-485" fmla="*/ 9363 w 10000"/>
              <a:gd name="connsiteY10-486" fmla="*/ 4722 h 10000"/>
              <a:gd name="connsiteX0-487" fmla="*/ 9363 w 10000"/>
              <a:gd name="connsiteY0-488" fmla="*/ 4722 h 10000"/>
              <a:gd name="connsiteX1-489" fmla="*/ 1039 w 10000"/>
              <a:gd name="connsiteY1-490" fmla="*/ 4706 h 10000"/>
              <a:gd name="connsiteX2-491" fmla="*/ 519 w 10000"/>
              <a:gd name="connsiteY2-492" fmla="*/ 9149 h 10000"/>
              <a:gd name="connsiteX3-493" fmla="*/ 0 w 10000"/>
              <a:gd name="connsiteY3-494" fmla="*/ 4706 h 10000"/>
              <a:gd name="connsiteX4-495" fmla="*/ 0 w 10000"/>
              <a:gd name="connsiteY4-496" fmla="*/ 5603 h 10000"/>
              <a:gd name="connsiteX5-497" fmla="*/ 519 w 10000"/>
              <a:gd name="connsiteY5-498" fmla="*/ 10000 h 10000"/>
              <a:gd name="connsiteX6-499" fmla="*/ 1039 w 10000"/>
              <a:gd name="connsiteY6-500" fmla="*/ 5603 h 10000"/>
              <a:gd name="connsiteX7-501" fmla="*/ 9338 w 10000"/>
              <a:gd name="connsiteY7-502" fmla="*/ 5695 h 10000"/>
              <a:gd name="connsiteX8-503" fmla="*/ 9979 w 10000"/>
              <a:gd name="connsiteY8-504" fmla="*/ 1256 h 10000"/>
              <a:gd name="connsiteX9-505" fmla="*/ 9882 w 10000"/>
              <a:gd name="connsiteY9-506" fmla="*/ 497 h 10000"/>
              <a:gd name="connsiteX10-507" fmla="*/ 9363 w 10000"/>
              <a:gd name="connsiteY10-508" fmla="*/ 4722 h 10000"/>
              <a:gd name="connsiteX0-509" fmla="*/ 9363 w 9903"/>
              <a:gd name="connsiteY0-510" fmla="*/ 4722 h 10000"/>
              <a:gd name="connsiteX1-511" fmla="*/ 1039 w 9903"/>
              <a:gd name="connsiteY1-512" fmla="*/ 4706 h 10000"/>
              <a:gd name="connsiteX2-513" fmla="*/ 519 w 9903"/>
              <a:gd name="connsiteY2-514" fmla="*/ 9149 h 10000"/>
              <a:gd name="connsiteX3-515" fmla="*/ 0 w 9903"/>
              <a:gd name="connsiteY3-516" fmla="*/ 4706 h 10000"/>
              <a:gd name="connsiteX4-517" fmla="*/ 0 w 9903"/>
              <a:gd name="connsiteY4-518" fmla="*/ 5603 h 10000"/>
              <a:gd name="connsiteX5-519" fmla="*/ 519 w 9903"/>
              <a:gd name="connsiteY5-520" fmla="*/ 10000 h 10000"/>
              <a:gd name="connsiteX6-521" fmla="*/ 1039 w 9903"/>
              <a:gd name="connsiteY6-522" fmla="*/ 5603 h 10000"/>
              <a:gd name="connsiteX7-523" fmla="*/ 9338 w 9903"/>
              <a:gd name="connsiteY7-524" fmla="*/ 5695 h 10000"/>
              <a:gd name="connsiteX8-525" fmla="*/ 9882 w 9903"/>
              <a:gd name="connsiteY8-526" fmla="*/ 1351 h 10000"/>
              <a:gd name="connsiteX9-527" fmla="*/ 9882 w 9903"/>
              <a:gd name="connsiteY9-528" fmla="*/ 497 h 10000"/>
              <a:gd name="connsiteX10-529" fmla="*/ 9363 w 9903"/>
              <a:gd name="connsiteY10-530" fmla="*/ 4722 h 10000"/>
              <a:gd name="connsiteX0-531" fmla="*/ 9455 w 10003"/>
              <a:gd name="connsiteY0-532" fmla="*/ 4722 h 10000"/>
              <a:gd name="connsiteX1-533" fmla="*/ 1049 w 10003"/>
              <a:gd name="connsiteY1-534" fmla="*/ 4706 h 10000"/>
              <a:gd name="connsiteX2-535" fmla="*/ 524 w 10003"/>
              <a:gd name="connsiteY2-536" fmla="*/ 9149 h 10000"/>
              <a:gd name="connsiteX3-537" fmla="*/ 0 w 10003"/>
              <a:gd name="connsiteY3-538" fmla="*/ 4706 h 10000"/>
              <a:gd name="connsiteX4-539" fmla="*/ 0 w 10003"/>
              <a:gd name="connsiteY4-540" fmla="*/ 5603 h 10000"/>
              <a:gd name="connsiteX5-541" fmla="*/ 524 w 10003"/>
              <a:gd name="connsiteY5-542" fmla="*/ 10000 h 10000"/>
              <a:gd name="connsiteX6-543" fmla="*/ 1049 w 10003"/>
              <a:gd name="connsiteY6-544" fmla="*/ 5603 h 10000"/>
              <a:gd name="connsiteX7-545" fmla="*/ 9429 w 10003"/>
              <a:gd name="connsiteY7-546" fmla="*/ 5695 h 10000"/>
              <a:gd name="connsiteX8-547" fmla="*/ 9979 w 10003"/>
              <a:gd name="connsiteY8-548" fmla="*/ 1351 h 10000"/>
              <a:gd name="connsiteX9-549" fmla="*/ 9979 w 10003"/>
              <a:gd name="connsiteY9-550" fmla="*/ 497 h 10000"/>
              <a:gd name="connsiteX10-551" fmla="*/ 9455 w 10003"/>
              <a:gd name="connsiteY10-552" fmla="*/ 4722 h 10000"/>
              <a:gd name="connsiteX0-553" fmla="*/ 9455 w 10003"/>
              <a:gd name="connsiteY0-554" fmla="*/ 4722 h 10000"/>
              <a:gd name="connsiteX1-555" fmla="*/ 1049 w 10003"/>
              <a:gd name="connsiteY1-556" fmla="*/ 4706 h 10000"/>
              <a:gd name="connsiteX2-557" fmla="*/ 524 w 10003"/>
              <a:gd name="connsiteY2-558" fmla="*/ 9149 h 10000"/>
              <a:gd name="connsiteX3-559" fmla="*/ 0 w 10003"/>
              <a:gd name="connsiteY3-560" fmla="*/ 4706 h 10000"/>
              <a:gd name="connsiteX4-561" fmla="*/ 0 w 10003"/>
              <a:gd name="connsiteY4-562" fmla="*/ 5603 h 10000"/>
              <a:gd name="connsiteX5-563" fmla="*/ 524 w 10003"/>
              <a:gd name="connsiteY5-564" fmla="*/ 10000 h 10000"/>
              <a:gd name="connsiteX6-565" fmla="*/ 1049 w 10003"/>
              <a:gd name="connsiteY6-566" fmla="*/ 5603 h 10000"/>
              <a:gd name="connsiteX7-567" fmla="*/ 9429 w 10003"/>
              <a:gd name="connsiteY7-568" fmla="*/ 5695 h 10000"/>
              <a:gd name="connsiteX8-569" fmla="*/ 9979 w 10003"/>
              <a:gd name="connsiteY8-570" fmla="*/ 1351 h 10000"/>
              <a:gd name="connsiteX9-571" fmla="*/ 9979 w 10003"/>
              <a:gd name="connsiteY9-572" fmla="*/ 497 h 10000"/>
              <a:gd name="connsiteX10-573" fmla="*/ 9455 w 10003"/>
              <a:gd name="connsiteY10-574" fmla="*/ 4722 h 10000"/>
              <a:gd name="connsiteX0-575" fmla="*/ 9455 w 10003"/>
              <a:gd name="connsiteY0-576" fmla="*/ 4722 h 10000"/>
              <a:gd name="connsiteX1-577" fmla="*/ 1049 w 10003"/>
              <a:gd name="connsiteY1-578" fmla="*/ 4706 h 10000"/>
              <a:gd name="connsiteX2-579" fmla="*/ 524 w 10003"/>
              <a:gd name="connsiteY2-580" fmla="*/ 9149 h 10000"/>
              <a:gd name="connsiteX3-581" fmla="*/ 0 w 10003"/>
              <a:gd name="connsiteY3-582" fmla="*/ 4706 h 10000"/>
              <a:gd name="connsiteX4-583" fmla="*/ 0 w 10003"/>
              <a:gd name="connsiteY4-584" fmla="*/ 5603 h 10000"/>
              <a:gd name="connsiteX5-585" fmla="*/ 524 w 10003"/>
              <a:gd name="connsiteY5-586" fmla="*/ 10000 h 10000"/>
              <a:gd name="connsiteX6-587" fmla="*/ 1049 w 10003"/>
              <a:gd name="connsiteY6-588" fmla="*/ 5603 h 10000"/>
              <a:gd name="connsiteX7-589" fmla="*/ 9429 w 10003"/>
              <a:gd name="connsiteY7-590" fmla="*/ 5695 h 10000"/>
              <a:gd name="connsiteX8-591" fmla="*/ 9979 w 10003"/>
              <a:gd name="connsiteY8-592" fmla="*/ 1351 h 10000"/>
              <a:gd name="connsiteX9-593" fmla="*/ 9979 w 10003"/>
              <a:gd name="connsiteY9-594" fmla="*/ 497 h 10000"/>
              <a:gd name="connsiteX10-595" fmla="*/ 9455 w 10003"/>
              <a:gd name="connsiteY10-596" fmla="*/ 4722 h 10000"/>
              <a:gd name="connsiteX0-597" fmla="*/ 9455 w 10003"/>
              <a:gd name="connsiteY0-598" fmla="*/ 4722 h 10000"/>
              <a:gd name="connsiteX1-599" fmla="*/ 1049 w 10003"/>
              <a:gd name="connsiteY1-600" fmla="*/ 4706 h 10000"/>
              <a:gd name="connsiteX2-601" fmla="*/ 524 w 10003"/>
              <a:gd name="connsiteY2-602" fmla="*/ 9149 h 10000"/>
              <a:gd name="connsiteX3-603" fmla="*/ 0 w 10003"/>
              <a:gd name="connsiteY3-604" fmla="*/ 4706 h 10000"/>
              <a:gd name="connsiteX4-605" fmla="*/ 0 w 10003"/>
              <a:gd name="connsiteY4-606" fmla="*/ 5603 h 10000"/>
              <a:gd name="connsiteX5-607" fmla="*/ 524 w 10003"/>
              <a:gd name="connsiteY5-608" fmla="*/ 10000 h 10000"/>
              <a:gd name="connsiteX6-609" fmla="*/ 1049 w 10003"/>
              <a:gd name="connsiteY6-610" fmla="*/ 5603 h 10000"/>
              <a:gd name="connsiteX7-611" fmla="*/ 9429 w 10003"/>
              <a:gd name="connsiteY7-612" fmla="*/ 5695 h 10000"/>
              <a:gd name="connsiteX8-613" fmla="*/ 9979 w 10003"/>
              <a:gd name="connsiteY8-614" fmla="*/ 1351 h 10000"/>
              <a:gd name="connsiteX9-615" fmla="*/ 9979 w 10003"/>
              <a:gd name="connsiteY9-616" fmla="*/ 497 h 10000"/>
              <a:gd name="connsiteX10-617" fmla="*/ 9455 w 10003"/>
              <a:gd name="connsiteY10-618" fmla="*/ 4722 h 10000"/>
              <a:gd name="connsiteX0-619" fmla="*/ 9455 w 10003"/>
              <a:gd name="connsiteY0-620" fmla="*/ 4722 h 10000"/>
              <a:gd name="connsiteX1-621" fmla="*/ 1049 w 10003"/>
              <a:gd name="connsiteY1-622" fmla="*/ 4706 h 10000"/>
              <a:gd name="connsiteX2-623" fmla="*/ 524 w 10003"/>
              <a:gd name="connsiteY2-624" fmla="*/ 9149 h 10000"/>
              <a:gd name="connsiteX3-625" fmla="*/ 0 w 10003"/>
              <a:gd name="connsiteY3-626" fmla="*/ 4706 h 10000"/>
              <a:gd name="connsiteX4-627" fmla="*/ 0 w 10003"/>
              <a:gd name="connsiteY4-628" fmla="*/ 5603 h 10000"/>
              <a:gd name="connsiteX5-629" fmla="*/ 524 w 10003"/>
              <a:gd name="connsiteY5-630" fmla="*/ 10000 h 10000"/>
              <a:gd name="connsiteX6-631" fmla="*/ 1049 w 10003"/>
              <a:gd name="connsiteY6-632" fmla="*/ 5603 h 10000"/>
              <a:gd name="connsiteX7-633" fmla="*/ 9429 w 10003"/>
              <a:gd name="connsiteY7-634" fmla="*/ 5695 h 10000"/>
              <a:gd name="connsiteX8-635" fmla="*/ 9979 w 10003"/>
              <a:gd name="connsiteY8-636" fmla="*/ 1351 h 10000"/>
              <a:gd name="connsiteX9-637" fmla="*/ 9979 w 10003"/>
              <a:gd name="connsiteY9-638" fmla="*/ 497 h 10000"/>
              <a:gd name="connsiteX10-639" fmla="*/ 9455 w 10003"/>
              <a:gd name="connsiteY10-640" fmla="*/ 4722 h 10000"/>
              <a:gd name="connsiteX0-641" fmla="*/ 9455 w 9982"/>
              <a:gd name="connsiteY0-642" fmla="*/ 4722 h 10000"/>
              <a:gd name="connsiteX1-643" fmla="*/ 1049 w 9982"/>
              <a:gd name="connsiteY1-644" fmla="*/ 4706 h 10000"/>
              <a:gd name="connsiteX2-645" fmla="*/ 524 w 9982"/>
              <a:gd name="connsiteY2-646" fmla="*/ 9149 h 10000"/>
              <a:gd name="connsiteX3-647" fmla="*/ 0 w 9982"/>
              <a:gd name="connsiteY3-648" fmla="*/ 4706 h 10000"/>
              <a:gd name="connsiteX4-649" fmla="*/ 0 w 9982"/>
              <a:gd name="connsiteY4-650" fmla="*/ 5603 h 10000"/>
              <a:gd name="connsiteX5-651" fmla="*/ 524 w 9982"/>
              <a:gd name="connsiteY5-652" fmla="*/ 10000 h 10000"/>
              <a:gd name="connsiteX6-653" fmla="*/ 1049 w 9982"/>
              <a:gd name="connsiteY6-654" fmla="*/ 5603 h 10000"/>
              <a:gd name="connsiteX7-655" fmla="*/ 9429 w 9982"/>
              <a:gd name="connsiteY7-656" fmla="*/ 5695 h 10000"/>
              <a:gd name="connsiteX8-657" fmla="*/ 9979 w 9982"/>
              <a:gd name="connsiteY8-658" fmla="*/ 1351 h 10000"/>
              <a:gd name="connsiteX9-659" fmla="*/ 9979 w 9982"/>
              <a:gd name="connsiteY9-660" fmla="*/ 497 h 10000"/>
              <a:gd name="connsiteX10-661" fmla="*/ 9455 w 9982"/>
              <a:gd name="connsiteY10-662" fmla="*/ 4722 h 10000"/>
              <a:gd name="connsiteX0-663" fmla="*/ 9472 w 10005"/>
              <a:gd name="connsiteY0-664" fmla="*/ 4722 h 10000"/>
              <a:gd name="connsiteX1-665" fmla="*/ 1051 w 10005"/>
              <a:gd name="connsiteY1-666" fmla="*/ 4706 h 10000"/>
              <a:gd name="connsiteX2-667" fmla="*/ 525 w 10005"/>
              <a:gd name="connsiteY2-668" fmla="*/ 9149 h 10000"/>
              <a:gd name="connsiteX3-669" fmla="*/ 0 w 10005"/>
              <a:gd name="connsiteY3-670" fmla="*/ 4706 h 10000"/>
              <a:gd name="connsiteX4-671" fmla="*/ 0 w 10005"/>
              <a:gd name="connsiteY4-672" fmla="*/ 5603 h 10000"/>
              <a:gd name="connsiteX5-673" fmla="*/ 525 w 10005"/>
              <a:gd name="connsiteY5-674" fmla="*/ 10000 h 10000"/>
              <a:gd name="connsiteX6-675" fmla="*/ 1051 w 10005"/>
              <a:gd name="connsiteY6-676" fmla="*/ 5603 h 10000"/>
              <a:gd name="connsiteX7-677" fmla="*/ 9446 w 10005"/>
              <a:gd name="connsiteY7-678" fmla="*/ 5695 h 10000"/>
              <a:gd name="connsiteX8-679" fmla="*/ 9997 w 10005"/>
              <a:gd name="connsiteY8-680" fmla="*/ 1351 h 10000"/>
              <a:gd name="connsiteX9-681" fmla="*/ 9997 w 10005"/>
              <a:gd name="connsiteY9-682" fmla="*/ 497 h 10000"/>
              <a:gd name="connsiteX10-683" fmla="*/ 9472 w 10005"/>
              <a:gd name="connsiteY10-684" fmla="*/ 4722 h 10000"/>
              <a:gd name="connsiteX0-685" fmla="*/ 9472 w 9997"/>
              <a:gd name="connsiteY0-686" fmla="*/ 4722 h 10000"/>
              <a:gd name="connsiteX1-687" fmla="*/ 1051 w 9997"/>
              <a:gd name="connsiteY1-688" fmla="*/ 4706 h 10000"/>
              <a:gd name="connsiteX2-689" fmla="*/ 525 w 9997"/>
              <a:gd name="connsiteY2-690" fmla="*/ 9149 h 10000"/>
              <a:gd name="connsiteX3-691" fmla="*/ 0 w 9997"/>
              <a:gd name="connsiteY3-692" fmla="*/ 4706 h 10000"/>
              <a:gd name="connsiteX4-693" fmla="*/ 0 w 9997"/>
              <a:gd name="connsiteY4-694" fmla="*/ 5603 h 10000"/>
              <a:gd name="connsiteX5-695" fmla="*/ 525 w 9997"/>
              <a:gd name="connsiteY5-696" fmla="*/ 10000 h 10000"/>
              <a:gd name="connsiteX6-697" fmla="*/ 1051 w 9997"/>
              <a:gd name="connsiteY6-698" fmla="*/ 5603 h 10000"/>
              <a:gd name="connsiteX7-699" fmla="*/ 9446 w 9997"/>
              <a:gd name="connsiteY7-700" fmla="*/ 5695 h 10000"/>
              <a:gd name="connsiteX8-701" fmla="*/ 9942 w 9997"/>
              <a:gd name="connsiteY8-702" fmla="*/ 1985 h 10000"/>
              <a:gd name="connsiteX9-703" fmla="*/ 9997 w 9997"/>
              <a:gd name="connsiteY9-704" fmla="*/ 497 h 10000"/>
              <a:gd name="connsiteX10-705" fmla="*/ 9472 w 9997"/>
              <a:gd name="connsiteY10-706" fmla="*/ 4722 h 10000"/>
              <a:gd name="connsiteX0-707" fmla="*/ 9475 w 10008"/>
              <a:gd name="connsiteY0-708" fmla="*/ 4722 h 10000"/>
              <a:gd name="connsiteX1-709" fmla="*/ 1051 w 10008"/>
              <a:gd name="connsiteY1-710" fmla="*/ 4706 h 10000"/>
              <a:gd name="connsiteX2-711" fmla="*/ 525 w 10008"/>
              <a:gd name="connsiteY2-712" fmla="*/ 9149 h 10000"/>
              <a:gd name="connsiteX3-713" fmla="*/ 0 w 10008"/>
              <a:gd name="connsiteY3-714" fmla="*/ 4706 h 10000"/>
              <a:gd name="connsiteX4-715" fmla="*/ 0 w 10008"/>
              <a:gd name="connsiteY4-716" fmla="*/ 5603 h 10000"/>
              <a:gd name="connsiteX5-717" fmla="*/ 525 w 10008"/>
              <a:gd name="connsiteY5-718" fmla="*/ 10000 h 10000"/>
              <a:gd name="connsiteX6-719" fmla="*/ 1051 w 10008"/>
              <a:gd name="connsiteY6-720" fmla="*/ 5603 h 10000"/>
              <a:gd name="connsiteX7-721" fmla="*/ 9449 w 10008"/>
              <a:gd name="connsiteY7-722" fmla="*/ 5695 h 10000"/>
              <a:gd name="connsiteX8-723" fmla="*/ 10000 w 10008"/>
              <a:gd name="connsiteY8-724" fmla="*/ 1319 h 10000"/>
              <a:gd name="connsiteX9-725" fmla="*/ 10000 w 10008"/>
              <a:gd name="connsiteY9-726" fmla="*/ 497 h 10000"/>
              <a:gd name="connsiteX10-727" fmla="*/ 9475 w 10008"/>
              <a:gd name="connsiteY10-728" fmla="*/ 4722 h 10000"/>
              <a:gd name="connsiteX0-729" fmla="*/ 9475 w 10008"/>
              <a:gd name="connsiteY0-730" fmla="*/ 4722 h 10000"/>
              <a:gd name="connsiteX1-731" fmla="*/ 1051 w 10008"/>
              <a:gd name="connsiteY1-732" fmla="*/ 4706 h 10000"/>
              <a:gd name="connsiteX2-733" fmla="*/ 525 w 10008"/>
              <a:gd name="connsiteY2-734" fmla="*/ 9149 h 10000"/>
              <a:gd name="connsiteX3-735" fmla="*/ 0 w 10008"/>
              <a:gd name="connsiteY3-736" fmla="*/ 4706 h 10000"/>
              <a:gd name="connsiteX4-737" fmla="*/ 0 w 10008"/>
              <a:gd name="connsiteY4-738" fmla="*/ 5603 h 10000"/>
              <a:gd name="connsiteX5-739" fmla="*/ 525 w 10008"/>
              <a:gd name="connsiteY5-740" fmla="*/ 10000 h 10000"/>
              <a:gd name="connsiteX6-741" fmla="*/ 1051 w 10008"/>
              <a:gd name="connsiteY6-742" fmla="*/ 5603 h 10000"/>
              <a:gd name="connsiteX7-743" fmla="*/ 9449 w 10008"/>
              <a:gd name="connsiteY7-744" fmla="*/ 5695 h 10000"/>
              <a:gd name="connsiteX8-745" fmla="*/ 10000 w 10008"/>
              <a:gd name="connsiteY8-746" fmla="*/ 1224 h 10000"/>
              <a:gd name="connsiteX9-747" fmla="*/ 10000 w 10008"/>
              <a:gd name="connsiteY9-748" fmla="*/ 497 h 10000"/>
              <a:gd name="connsiteX10-749" fmla="*/ 9475 w 10008"/>
              <a:gd name="connsiteY10-750" fmla="*/ 4722 h 10000"/>
              <a:gd name="connsiteX0-751" fmla="*/ 9475 w 10008"/>
              <a:gd name="connsiteY0-752" fmla="*/ 4722 h 10000"/>
              <a:gd name="connsiteX1-753" fmla="*/ 1051 w 10008"/>
              <a:gd name="connsiteY1-754" fmla="*/ 4706 h 10000"/>
              <a:gd name="connsiteX2-755" fmla="*/ 525 w 10008"/>
              <a:gd name="connsiteY2-756" fmla="*/ 9149 h 10000"/>
              <a:gd name="connsiteX3-757" fmla="*/ 0 w 10008"/>
              <a:gd name="connsiteY3-758" fmla="*/ 4706 h 10000"/>
              <a:gd name="connsiteX4-759" fmla="*/ 0 w 10008"/>
              <a:gd name="connsiteY4-760" fmla="*/ 5603 h 10000"/>
              <a:gd name="connsiteX5-761" fmla="*/ 525 w 10008"/>
              <a:gd name="connsiteY5-762" fmla="*/ 10000 h 10000"/>
              <a:gd name="connsiteX6-763" fmla="*/ 1051 w 10008"/>
              <a:gd name="connsiteY6-764" fmla="*/ 5603 h 10000"/>
              <a:gd name="connsiteX7-765" fmla="*/ 9449 w 10008"/>
              <a:gd name="connsiteY7-766" fmla="*/ 5695 h 10000"/>
              <a:gd name="connsiteX8-767" fmla="*/ 10000 w 10008"/>
              <a:gd name="connsiteY8-768" fmla="*/ 1224 h 10000"/>
              <a:gd name="connsiteX9-769" fmla="*/ 10000 w 10008"/>
              <a:gd name="connsiteY9-770" fmla="*/ 497 h 10000"/>
              <a:gd name="connsiteX10-771" fmla="*/ 9475 w 10008"/>
              <a:gd name="connsiteY10-772" fmla="*/ 4722 h 10000"/>
              <a:gd name="connsiteX0-773" fmla="*/ 9475 w 10008"/>
              <a:gd name="connsiteY0-774" fmla="*/ 4722 h 10000"/>
              <a:gd name="connsiteX1-775" fmla="*/ 1051 w 10008"/>
              <a:gd name="connsiteY1-776" fmla="*/ 4706 h 10000"/>
              <a:gd name="connsiteX2-777" fmla="*/ 525 w 10008"/>
              <a:gd name="connsiteY2-778" fmla="*/ 9149 h 10000"/>
              <a:gd name="connsiteX3-779" fmla="*/ 0 w 10008"/>
              <a:gd name="connsiteY3-780" fmla="*/ 4706 h 10000"/>
              <a:gd name="connsiteX4-781" fmla="*/ 0 w 10008"/>
              <a:gd name="connsiteY4-782" fmla="*/ 5603 h 10000"/>
              <a:gd name="connsiteX5-783" fmla="*/ 525 w 10008"/>
              <a:gd name="connsiteY5-784" fmla="*/ 10000 h 10000"/>
              <a:gd name="connsiteX6-785" fmla="*/ 1051 w 10008"/>
              <a:gd name="connsiteY6-786" fmla="*/ 5603 h 10000"/>
              <a:gd name="connsiteX7-787" fmla="*/ 9449 w 10008"/>
              <a:gd name="connsiteY7-788" fmla="*/ 5695 h 10000"/>
              <a:gd name="connsiteX8-789" fmla="*/ 10000 w 10008"/>
              <a:gd name="connsiteY8-790" fmla="*/ 1224 h 10000"/>
              <a:gd name="connsiteX9-791" fmla="*/ 10000 w 10008"/>
              <a:gd name="connsiteY9-792" fmla="*/ 497 h 10000"/>
              <a:gd name="connsiteX10-793" fmla="*/ 9475 w 10008"/>
              <a:gd name="connsiteY10-794" fmla="*/ 4722 h 10000"/>
              <a:gd name="connsiteX0-795" fmla="*/ 9475 w 10008"/>
              <a:gd name="connsiteY0-796" fmla="*/ 4722 h 10000"/>
              <a:gd name="connsiteX1-797" fmla="*/ 1051 w 10008"/>
              <a:gd name="connsiteY1-798" fmla="*/ 4706 h 10000"/>
              <a:gd name="connsiteX2-799" fmla="*/ 525 w 10008"/>
              <a:gd name="connsiteY2-800" fmla="*/ 9149 h 10000"/>
              <a:gd name="connsiteX3-801" fmla="*/ 0 w 10008"/>
              <a:gd name="connsiteY3-802" fmla="*/ 4706 h 10000"/>
              <a:gd name="connsiteX4-803" fmla="*/ 0 w 10008"/>
              <a:gd name="connsiteY4-804" fmla="*/ 5603 h 10000"/>
              <a:gd name="connsiteX5-805" fmla="*/ 525 w 10008"/>
              <a:gd name="connsiteY5-806" fmla="*/ 10000 h 10000"/>
              <a:gd name="connsiteX6-807" fmla="*/ 1051 w 10008"/>
              <a:gd name="connsiteY6-808" fmla="*/ 5603 h 10000"/>
              <a:gd name="connsiteX7-809" fmla="*/ 9449 w 10008"/>
              <a:gd name="connsiteY7-810" fmla="*/ 5695 h 10000"/>
              <a:gd name="connsiteX8-811" fmla="*/ 10000 w 10008"/>
              <a:gd name="connsiteY8-812" fmla="*/ 1224 h 10000"/>
              <a:gd name="connsiteX9-813" fmla="*/ 10000 w 10008"/>
              <a:gd name="connsiteY9-814" fmla="*/ 497 h 10000"/>
              <a:gd name="connsiteX10-815" fmla="*/ 9475 w 10008"/>
              <a:gd name="connsiteY10-816" fmla="*/ 4722 h 10000"/>
              <a:gd name="connsiteX0-817" fmla="*/ 9475 w 10008"/>
              <a:gd name="connsiteY0-818" fmla="*/ 4722 h 10000"/>
              <a:gd name="connsiteX1-819" fmla="*/ 1051 w 10008"/>
              <a:gd name="connsiteY1-820" fmla="*/ 4706 h 10000"/>
              <a:gd name="connsiteX2-821" fmla="*/ 525 w 10008"/>
              <a:gd name="connsiteY2-822" fmla="*/ 9149 h 10000"/>
              <a:gd name="connsiteX3-823" fmla="*/ 0 w 10008"/>
              <a:gd name="connsiteY3-824" fmla="*/ 4706 h 10000"/>
              <a:gd name="connsiteX4-825" fmla="*/ 0 w 10008"/>
              <a:gd name="connsiteY4-826" fmla="*/ 5603 h 10000"/>
              <a:gd name="connsiteX5-827" fmla="*/ 525 w 10008"/>
              <a:gd name="connsiteY5-828" fmla="*/ 10000 h 10000"/>
              <a:gd name="connsiteX6-829" fmla="*/ 1051 w 10008"/>
              <a:gd name="connsiteY6-830" fmla="*/ 5603 h 10000"/>
              <a:gd name="connsiteX7-831" fmla="*/ 9449 w 10008"/>
              <a:gd name="connsiteY7-832" fmla="*/ 5695 h 10000"/>
              <a:gd name="connsiteX8-833" fmla="*/ 10000 w 10008"/>
              <a:gd name="connsiteY8-834" fmla="*/ 1224 h 10000"/>
              <a:gd name="connsiteX9-835" fmla="*/ 10000 w 10008"/>
              <a:gd name="connsiteY9-836" fmla="*/ 497 h 10000"/>
              <a:gd name="connsiteX10-837" fmla="*/ 9475 w 10008"/>
              <a:gd name="connsiteY10-838" fmla="*/ 4722 h 10000"/>
              <a:gd name="connsiteX0-839" fmla="*/ 9475 w 10008"/>
              <a:gd name="connsiteY0-840" fmla="*/ 4722 h 10000"/>
              <a:gd name="connsiteX1-841" fmla="*/ 1051 w 10008"/>
              <a:gd name="connsiteY1-842" fmla="*/ 4706 h 10000"/>
              <a:gd name="connsiteX2-843" fmla="*/ 525 w 10008"/>
              <a:gd name="connsiteY2-844" fmla="*/ 9149 h 10000"/>
              <a:gd name="connsiteX3-845" fmla="*/ 0 w 10008"/>
              <a:gd name="connsiteY3-846" fmla="*/ 4706 h 10000"/>
              <a:gd name="connsiteX4-847" fmla="*/ 0 w 10008"/>
              <a:gd name="connsiteY4-848" fmla="*/ 5603 h 10000"/>
              <a:gd name="connsiteX5-849" fmla="*/ 525 w 10008"/>
              <a:gd name="connsiteY5-850" fmla="*/ 10000 h 10000"/>
              <a:gd name="connsiteX6-851" fmla="*/ 1051 w 10008"/>
              <a:gd name="connsiteY6-852" fmla="*/ 5603 h 10000"/>
              <a:gd name="connsiteX7-853" fmla="*/ 9449 w 10008"/>
              <a:gd name="connsiteY7-854" fmla="*/ 5695 h 10000"/>
              <a:gd name="connsiteX8-855" fmla="*/ 10000 w 10008"/>
              <a:gd name="connsiteY8-856" fmla="*/ 1224 h 10000"/>
              <a:gd name="connsiteX9-857" fmla="*/ 10000 w 10008"/>
              <a:gd name="connsiteY9-858" fmla="*/ 497 h 10000"/>
              <a:gd name="connsiteX10-859" fmla="*/ 9475 w 10008"/>
              <a:gd name="connsiteY10-860" fmla="*/ 4722 h 10000"/>
              <a:gd name="connsiteX0-861" fmla="*/ 9475 w 10008"/>
              <a:gd name="connsiteY0-862" fmla="*/ 4722 h 10000"/>
              <a:gd name="connsiteX1-863" fmla="*/ 1051 w 10008"/>
              <a:gd name="connsiteY1-864" fmla="*/ 4706 h 10000"/>
              <a:gd name="connsiteX2-865" fmla="*/ 525 w 10008"/>
              <a:gd name="connsiteY2-866" fmla="*/ 9149 h 10000"/>
              <a:gd name="connsiteX3-867" fmla="*/ 0 w 10008"/>
              <a:gd name="connsiteY3-868" fmla="*/ 4706 h 10000"/>
              <a:gd name="connsiteX4-869" fmla="*/ 0 w 10008"/>
              <a:gd name="connsiteY4-870" fmla="*/ 5603 h 10000"/>
              <a:gd name="connsiteX5-871" fmla="*/ 525 w 10008"/>
              <a:gd name="connsiteY5-872" fmla="*/ 10000 h 10000"/>
              <a:gd name="connsiteX6-873" fmla="*/ 1051 w 10008"/>
              <a:gd name="connsiteY6-874" fmla="*/ 5603 h 10000"/>
              <a:gd name="connsiteX7-875" fmla="*/ 9449 w 10008"/>
              <a:gd name="connsiteY7-876" fmla="*/ 5695 h 10000"/>
              <a:gd name="connsiteX8-877" fmla="*/ 10000 w 10008"/>
              <a:gd name="connsiteY8-878" fmla="*/ 1224 h 10000"/>
              <a:gd name="connsiteX9-879" fmla="*/ 10000 w 10008"/>
              <a:gd name="connsiteY9-880" fmla="*/ 497 h 10000"/>
              <a:gd name="connsiteX10-881" fmla="*/ 9475 w 10008"/>
              <a:gd name="connsiteY10-882" fmla="*/ 4722 h 100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  <a:cxn ang="0">
                <a:pos x="connsiteX9-19" y="connsiteY9-20"/>
              </a:cxn>
              <a:cxn ang="0">
                <a:pos x="connsiteX10-21" y="connsiteY10-22"/>
              </a:cxn>
            </a:cxnLst>
            <a:rect l="l" t="t" r="r" b="b"/>
            <a:pathLst>
              <a:path w="10008" h="10000">
                <a:moveTo>
                  <a:pt x="9475" y="4722"/>
                </a:moveTo>
                <a:lnTo>
                  <a:pt x="1051" y="4706"/>
                </a:lnTo>
                <a:cubicBezTo>
                  <a:pt x="636" y="4706"/>
                  <a:pt x="525" y="9149"/>
                  <a:pt x="525" y="9149"/>
                </a:cubicBezTo>
                <a:cubicBezTo>
                  <a:pt x="525" y="9149"/>
                  <a:pt x="415" y="4706"/>
                  <a:pt x="0" y="4706"/>
                </a:cubicBezTo>
                <a:lnTo>
                  <a:pt x="0" y="5603"/>
                </a:lnTo>
                <a:cubicBezTo>
                  <a:pt x="415" y="5603"/>
                  <a:pt x="525" y="10000"/>
                  <a:pt x="525" y="10000"/>
                </a:cubicBezTo>
                <a:cubicBezTo>
                  <a:pt x="525" y="10000"/>
                  <a:pt x="636" y="5603"/>
                  <a:pt x="1051" y="5603"/>
                </a:cubicBezTo>
                <a:lnTo>
                  <a:pt x="9449" y="5695"/>
                </a:lnTo>
                <a:cubicBezTo>
                  <a:pt x="9827" y="5410"/>
                  <a:pt x="9934" y="2946"/>
                  <a:pt x="10000" y="1224"/>
                </a:cubicBezTo>
                <a:cubicBezTo>
                  <a:pt x="10008" y="1086"/>
                  <a:pt x="10001" y="0"/>
                  <a:pt x="10000" y="497"/>
                </a:cubicBezTo>
                <a:cubicBezTo>
                  <a:pt x="9937" y="1770"/>
                  <a:pt x="9819" y="4623"/>
                  <a:pt x="9475" y="4722"/>
                </a:cubicBezTo>
                <a:close/>
              </a:path>
            </a:pathLst>
          </a:custGeom>
          <a:solidFill>
            <a:srgbClr val="D5D30F"/>
          </a:solidFill>
          <a:ln w="9525">
            <a:noFill/>
            <a:rou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4078" tIns="47039" rIns="94078" bIns="47039"/>
          <a:lstStyle/>
          <a:p>
            <a:pPr defTabSz="863600">
              <a:defRPr/>
            </a:pPr>
            <a:endParaRPr lang="fr-FR" sz="1700" kern="0">
              <a:solidFill>
                <a:sysClr val="windowText" lastClr="000000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pic>
        <p:nvPicPr>
          <p:cNvPr id="4" name="Picture 2" descr="C:\Documents and Settings\sarumuga\Desktop\Subha\CG Univerity\CG Univerity Jobs\University_logo_Col.jp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9467706" y="6112666"/>
            <a:ext cx="1720310" cy="3075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" name="Straight Connector 4"/>
          <p:cNvCxnSpPr/>
          <p:nvPr userDrawn="1"/>
        </p:nvCxnSpPr>
        <p:spPr>
          <a:xfrm>
            <a:off x="0" y="6018163"/>
            <a:ext cx="11522075" cy="0"/>
          </a:xfrm>
          <a:prstGeom prst="line">
            <a:avLst/>
          </a:prstGeom>
          <a:ln w="6350" cap="flat" cmpd="sng" algn="ctr">
            <a:solidFill>
              <a:srgbClr val="D5D30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2" descr="Capgemini_logo_slides.jpg"/>
          <p:cNvPicPr>
            <a:picLocks noChangeAspect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02074" y="6117166"/>
            <a:ext cx="1740313" cy="303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tangle 6"/>
          <p:cNvSpPr/>
          <p:nvPr userDrawn="1"/>
        </p:nvSpPr>
        <p:spPr>
          <a:xfrm>
            <a:off x="2958534" y="6184668"/>
            <a:ext cx="5949071" cy="23550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431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60" dirty="0">
                <a:solidFill>
                  <a:prstClr val="black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The information contained in this document is proprietary and confidential. </a:t>
            </a:r>
            <a:br>
              <a:rPr lang="en-US" sz="660" dirty="0">
                <a:solidFill>
                  <a:prstClr val="black"/>
                </a:solidFill>
                <a:latin typeface="Arial" panose="020B0604020202090204" pitchFamily="34" charset="0"/>
                <a:cs typeface="Arial" panose="020B0604020202090204" pitchFamily="34" charset="0"/>
              </a:rPr>
            </a:br>
            <a:r>
              <a:rPr lang="en-US" sz="660" dirty="0">
                <a:solidFill>
                  <a:prstClr val="black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It is for Capgemini internal use only. Copyright© 2013 Capgemini. All rights reserved.</a:t>
            </a:r>
            <a:endParaRPr lang="en-GB" sz="660" dirty="0">
              <a:solidFill>
                <a:prstClr val="black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8" name="TextBox 7"/>
          <p:cNvSpPr txBox="1"/>
          <p:nvPr userDrawn="1">
            <p:custDataLst>
              <p:tags r:id="rId2"/>
            </p:custDataLst>
          </p:nvPr>
        </p:nvSpPr>
        <p:spPr>
          <a:xfrm>
            <a:off x="4516021" y="6042954"/>
            <a:ext cx="2834109" cy="145424"/>
          </a:xfrm>
          <a:prstGeom prst="rect">
            <a:avLst/>
          </a:prstGeom>
          <a:noFill/>
        </p:spPr>
        <p:txBody>
          <a:bodyPr wrap="none" lIns="0" tIns="0" rIns="0" bIns="0" anchor="ctr">
            <a:spAutoFit/>
          </a:bodyPr>
          <a:lstStyle/>
          <a:p>
            <a:pPr algn="ctr" defTabSz="431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45" dirty="0">
                <a:solidFill>
                  <a:srgbClr val="979797"/>
                </a:solidFill>
                <a:latin typeface="Arial" panose="020B0604020202090204" pitchFamily="34" charset="0"/>
                <a:ea typeface="MS PGothic" pitchFamily="34" charset="-128"/>
              </a:rPr>
              <a:t>Capgemini Agile Framework (CAF) Foundations</a:t>
            </a:r>
            <a:r>
              <a:rPr lang="en-US" sz="945" dirty="0">
                <a:solidFill>
                  <a:srgbClr val="979797"/>
                </a:solidFill>
                <a:latin typeface="Arial" panose="020B0604020202090204" pitchFamily="34" charset="0"/>
                <a:ea typeface="MS PGothic" pitchFamily="34" charset="-128"/>
                <a:cs typeface="Arial" panose="020B0604020202090204" pitchFamily="34" charset="0"/>
              </a:rPr>
              <a:t> - </a:t>
            </a:r>
            <a:fld id="{0B733352-8A1E-453E-B146-B724384CF3CF}" type="slidenum">
              <a:rPr lang="en-US" sz="945" dirty="0" smtClean="0">
                <a:solidFill>
                  <a:srgbClr val="979797"/>
                </a:solidFill>
                <a:latin typeface="Arial" panose="020B0604020202090204" pitchFamily="34" charset="0"/>
                <a:ea typeface="MS PGothic" pitchFamily="34" charset="-128"/>
                <a:cs typeface="Arial" panose="020B0604020202090204" pitchFamily="34" charset="0"/>
              </a:rPr>
              <a:t>‹#›</a:t>
            </a:fld>
            <a:endParaRPr lang="en-US" sz="945" dirty="0">
              <a:solidFill>
                <a:srgbClr val="979797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sp>
        <p:nvSpPr>
          <p:cNvPr id="9" name="Freeform 8"/>
          <p:cNvSpPr/>
          <p:nvPr userDrawn="1"/>
        </p:nvSpPr>
        <p:spPr>
          <a:xfrm>
            <a:off x="390071" y="1362037"/>
            <a:ext cx="10767939" cy="4116111"/>
          </a:xfrm>
          <a:custGeom>
            <a:avLst/>
            <a:gdLst>
              <a:gd name="connsiteX0" fmla="*/ 8521700 w 8521700"/>
              <a:gd name="connsiteY0" fmla="*/ 3124200 h 4356100"/>
              <a:gd name="connsiteX1" fmla="*/ 8521700 w 8521700"/>
              <a:gd name="connsiteY1" fmla="*/ 203200 h 4356100"/>
              <a:gd name="connsiteX2" fmla="*/ 8318500 w 8521700"/>
              <a:gd name="connsiteY2" fmla="*/ 0 h 4356100"/>
              <a:gd name="connsiteX3" fmla="*/ 228600 w 8521700"/>
              <a:gd name="connsiteY3" fmla="*/ 0 h 4356100"/>
              <a:gd name="connsiteX4" fmla="*/ 0 w 8521700"/>
              <a:gd name="connsiteY4" fmla="*/ 215900 h 4356100"/>
              <a:gd name="connsiteX5" fmla="*/ 0 w 8521700"/>
              <a:gd name="connsiteY5" fmla="*/ 4356100 h 4356100"/>
              <a:gd name="connsiteX6" fmla="*/ 6578600 w 8521700"/>
              <a:gd name="connsiteY6" fmla="*/ 4318000 h 4356100"/>
              <a:gd name="connsiteX0-1" fmla="*/ 8532812 w 8532812"/>
              <a:gd name="connsiteY0-2" fmla="*/ 3124200 h 4318000"/>
              <a:gd name="connsiteX1-3" fmla="*/ 8532812 w 8532812"/>
              <a:gd name="connsiteY1-4" fmla="*/ 203200 h 4318000"/>
              <a:gd name="connsiteX2-5" fmla="*/ 8329612 w 8532812"/>
              <a:gd name="connsiteY2-6" fmla="*/ 0 h 4318000"/>
              <a:gd name="connsiteX3-7" fmla="*/ 239712 w 8532812"/>
              <a:gd name="connsiteY3-8" fmla="*/ 0 h 4318000"/>
              <a:gd name="connsiteX4-9" fmla="*/ 11112 w 8532812"/>
              <a:gd name="connsiteY4-10" fmla="*/ 215900 h 4318000"/>
              <a:gd name="connsiteX5-11" fmla="*/ 0 w 8532812"/>
              <a:gd name="connsiteY5-12" fmla="*/ 4318000 h 4318000"/>
              <a:gd name="connsiteX6-13" fmla="*/ 6589712 w 8532812"/>
              <a:gd name="connsiteY6-14" fmla="*/ 4318000 h 4318000"/>
              <a:gd name="connsiteX0-15" fmla="*/ 8532812 w 8532812"/>
              <a:gd name="connsiteY0-16" fmla="*/ 3125893 h 4319693"/>
              <a:gd name="connsiteX1-17" fmla="*/ 8532812 w 8532812"/>
              <a:gd name="connsiteY1-18" fmla="*/ 204893 h 4319693"/>
              <a:gd name="connsiteX2-19" fmla="*/ 8329612 w 8532812"/>
              <a:gd name="connsiteY2-20" fmla="*/ 1693 h 4319693"/>
              <a:gd name="connsiteX3-21" fmla="*/ 239712 w 8532812"/>
              <a:gd name="connsiteY3-22" fmla="*/ 1693 h 4319693"/>
              <a:gd name="connsiteX4-23" fmla="*/ 11112 w 8532812"/>
              <a:gd name="connsiteY4-24" fmla="*/ 217593 h 4319693"/>
              <a:gd name="connsiteX5-25" fmla="*/ 0 w 8532812"/>
              <a:gd name="connsiteY5-26" fmla="*/ 4319693 h 4319693"/>
              <a:gd name="connsiteX6-27" fmla="*/ 6589712 w 8532812"/>
              <a:gd name="connsiteY6-28" fmla="*/ 4319693 h 4319693"/>
              <a:gd name="connsiteX0-29" fmla="*/ 8532812 w 8532812"/>
              <a:gd name="connsiteY0-30" fmla="*/ 3125893 h 4319693"/>
              <a:gd name="connsiteX1-31" fmla="*/ 8532812 w 8532812"/>
              <a:gd name="connsiteY1-32" fmla="*/ 204893 h 4319693"/>
              <a:gd name="connsiteX2-33" fmla="*/ 8329612 w 8532812"/>
              <a:gd name="connsiteY2-34" fmla="*/ 1693 h 4319693"/>
              <a:gd name="connsiteX3-35" fmla="*/ 239712 w 8532812"/>
              <a:gd name="connsiteY3-36" fmla="*/ 1693 h 4319693"/>
              <a:gd name="connsiteX4-37" fmla="*/ 11112 w 8532812"/>
              <a:gd name="connsiteY4-38" fmla="*/ 217593 h 4319693"/>
              <a:gd name="connsiteX5-39" fmla="*/ 0 w 8532812"/>
              <a:gd name="connsiteY5-40" fmla="*/ 4319693 h 4319693"/>
              <a:gd name="connsiteX6-41" fmla="*/ 6589712 w 8532812"/>
              <a:gd name="connsiteY6-42" fmla="*/ 4319693 h 4319693"/>
              <a:gd name="connsiteX0-43" fmla="*/ 8532812 w 8543819"/>
              <a:gd name="connsiteY0-44" fmla="*/ 3141768 h 4335568"/>
              <a:gd name="connsiteX1-45" fmla="*/ 8532812 w 8543819"/>
              <a:gd name="connsiteY1-46" fmla="*/ 220768 h 4335568"/>
              <a:gd name="connsiteX2-47" fmla="*/ 8329612 w 8543819"/>
              <a:gd name="connsiteY2-48" fmla="*/ 17568 h 4335568"/>
              <a:gd name="connsiteX3-49" fmla="*/ 239712 w 8543819"/>
              <a:gd name="connsiteY3-50" fmla="*/ 17568 h 4335568"/>
              <a:gd name="connsiteX4-51" fmla="*/ 11112 w 8543819"/>
              <a:gd name="connsiteY4-52" fmla="*/ 233468 h 4335568"/>
              <a:gd name="connsiteX5-53" fmla="*/ 0 w 8543819"/>
              <a:gd name="connsiteY5-54" fmla="*/ 4335568 h 4335568"/>
              <a:gd name="connsiteX6-55" fmla="*/ 6589712 w 8543819"/>
              <a:gd name="connsiteY6-56" fmla="*/ 4335568 h 4335568"/>
              <a:gd name="connsiteX0-57" fmla="*/ 8582660 w 8593667"/>
              <a:gd name="connsiteY0-58" fmla="*/ 3163147 h 4356947"/>
              <a:gd name="connsiteX1-59" fmla="*/ 8582660 w 8593667"/>
              <a:gd name="connsiteY1-60" fmla="*/ 242147 h 4356947"/>
              <a:gd name="connsiteX2-61" fmla="*/ 8379460 w 8593667"/>
              <a:gd name="connsiteY2-62" fmla="*/ 38947 h 4356947"/>
              <a:gd name="connsiteX3-63" fmla="*/ 289560 w 8593667"/>
              <a:gd name="connsiteY3-64" fmla="*/ 38947 h 4356947"/>
              <a:gd name="connsiteX4-65" fmla="*/ 60960 w 8593667"/>
              <a:gd name="connsiteY4-66" fmla="*/ 254847 h 4356947"/>
              <a:gd name="connsiteX5-67" fmla="*/ 49848 w 8593667"/>
              <a:gd name="connsiteY5-68" fmla="*/ 4356947 h 4356947"/>
              <a:gd name="connsiteX6-69" fmla="*/ 6639560 w 8593667"/>
              <a:gd name="connsiteY6-70" fmla="*/ 4356947 h 4356947"/>
              <a:gd name="connsiteX0-71" fmla="*/ 8582660 w 8593667"/>
              <a:gd name="connsiteY0-72" fmla="*/ 3163147 h 4356947"/>
              <a:gd name="connsiteX1-73" fmla="*/ 8582660 w 8593667"/>
              <a:gd name="connsiteY1-74" fmla="*/ 242147 h 4356947"/>
              <a:gd name="connsiteX2-75" fmla="*/ 8379460 w 8593667"/>
              <a:gd name="connsiteY2-76" fmla="*/ 38947 h 4356947"/>
              <a:gd name="connsiteX3-77" fmla="*/ 289560 w 8593667"/>
              <a:gd name="connsiteY3-78" fmla="*/ 38947 h 4356947"/>
              <a:gd name="connsiteX4-79" fmla="*/ 60960 w 8593667"/>
              <a:gd name="connsiteY4-80" fmla="*/ 254847 h 4356947"/>
              <a:gd name="connsiteX5-81" fmla="*/ 49848 w 8593667"/>
              <a:gd name="connsiteY5-82" fmla="*/ 4356947 h 4356947"/>
              <a:gd name="connsiteX6-83" fmla="*/ 6639560 w 8593667"/>
              <a:gd name="connsiteY6-84" fmla="*/ 4356947 h 4356947"/>
              <a:gd name="connsiteX0-85" fmla="*/ 8566468 w 8577475"/>
              <a:gd name="connsiteY0-86" fmla="*/ 3217122 h 4410922"/>
              <a:gd name="connsiteX1-87" fmla="*/ 8566468 w 8577475"/>
              <a:gd name="connsiteY1-88" fmla="*/ 296122 h 4410922"/>
              <a:gd name="connsiteX2-89" fmla="*/ 8363268 w 8577475"/>
              <a:gd name="connsiteY2-90" fmla="*/ 92922 h 4410922"/>
              <a:gd name="connsiteX3-91" fmla="*/ 273368 w 8577475"/>
              <a:gd name="connsiteY3-92" fmla="*/ 92922 h 4410922"/>
              <a:gd name="connsiteX4-93" fmla="*/ 44768 w 8577475"/>
              <a:gd name="connsiteY4-94" fmla="*/ 308822 h 4410922"/>
              <a:gd name="connsiteX5-95" fmla="*/ 33656 w 8577475"/>
              <a:gd name="connsiteY5-96" fmla="*/ 4410922 h 4410922"/>
              <a:gd name="connsiteX6-97" fmla="*/ 6623368 w 8577475"/>
              <a:gd name="connsiteY6-98" fmla="*/ 4410922 h 4410922"/>
              <a:gd name="connsiteX0-99" fmla="*/ 8566468 w 8577475"/>
              <a:gd name="connsiteY0-100" fmla="*/ 3217122 h 4410922"/>
              <a:gd name="connsiteX1-101" fmla="*/ 8566468 w 8577475"/>
              <a:gd name="connsiteY1-102" fmla="*/ 296122 h 4410922"/>
              <a:gd name="connsiteX2-103" fmla="*/ 8363268 w 8577475"/>
              <a:gd name="connsiteY2-104" fmla="*/ 92922 h 4410922"/>
              <a:gd name="connsiteX3-105" fmla="*/ 273368 w 8577475"/>
              <a:gd name="connsiteY3-106" fmla="*/ 92922 h 4410922"/>
              <a:gd name="connsiteX4-107" fmla="*/ 44768 w 8577475"/>
              <a:gd name="connsiteY4-108" fmla="*/ 308822 h 4410922"/>
              <a:gd name="connsiteX5-109" fmla="*/ 33656 w 8577475"/>
              <a:gd name="connsiteY5-110" fmla="*/ 4410922 h 4410922"/>
              <a:gd name="connsiteX6-111" fmla="*/ 6623368 w 8577475"/>
              <a:gd name="connsiteY6-112" fmla="*/ 4410922 h 4410922"/>
              <a:gd name="connsiteX0-113" fmla="*/ 8577580 w 8588587"/>
              <a:gd name="connsiteY0-114" fmla="*/ 3174259 h 4368059"/>
              <a:gd name="connsiteX1-115" fmla="*/ 8577580 w 8588587"/>
              <a:gd name="connsiteY1-116" fmla="*/ 253259 h 4368059"/>
              <a:gd name="connsiteX2-117" fmla="*/ 8374380 w 8588587"/>
              <a:gd name="connsiteY2-118" fmla="*/ 50059 h 4368059"/>
              <a:gd name="connsiteX3-119" fmla="*/ 284480 w 8588587"/>
              <a:gd name="connsiteY3-120" fmla="*/ 50059 h 4368059"/>
              <a:gd name="connsiteX4-121" fmla="*/ 44768 w 8588587"/>
              <a:gd name="connsiteY4-122" fmla="*/ 308822 h 4368059"/>
              <a:gd name="connsiteX5-123" fmla="*/ 44768 w 8588587"/>
              <a:gd name="connsiteY5-124" fmla="*/ 4368059 h 4368059"/>
              <a:gd name="connsiteX6-125" fmla="*/ 6634480 w 8588587"/>
              <a:gd name="connsiteY6-126" fmla="*/ 4368059 h 4368059"/>
              <a:gd name="connsiteX0-127" fmla="*/ 8553768 w 8564775"/>
              <a:gd name="connsiteY0-128" fmla="*/ 3164734 h 4358534"/>
              <a:gd name="connsiteX1-129" fmla="*/ 8553768 w 8564775"/>
              <a:gd name="connsiteY1-130" fmla="*/ 243734 h 4358534"/>
              <a:gd name="connsiteX2-131" fmla="*/ 8350568 w 8564775"/>
              <a:gd name="connsiteY2-132" fmla="*/ 40534 h 4358534"/>
              <a:gd name="connsiteX3-133" fmla="*/ 260668 w 8564775"/>
              <a:gd name="connsiteY3-134" fmla="*/ 40534 h 4358534"/>
              <a:gd name="connsiteX4-135" fmla="*/ 20956 w 8564775"/>
              <a:gd name="connsiteY4-136" fmla="*/ 299297 h 4358534"/>
              <a:gd name="connsiteX5-137" fmla="*/ 20956 w 8564775"/>
              <a:gd name="connsiteY5-138" fmla="*/ 4358534 h 4358534"/>
              <a:gd name="connsiteX6-139" fmla="*/ 6610668 w 8564775"/>
              <a:gd name="connsiteY6-140" fmla="*/ 4358534 h 4358534"/>
              <a:gd name="connsiteX0-141" fmla="*/ 8553768 w 8564775"/>
              <a:gd name="connsiteY0-142" fmla="*/ 3164734 h 4358534"/>
              <a:gd name="connsiteX1-143" fmla="*/ 8553768 w 8564775"/>
              <a:gd name="connsiteY1-144" fmla="*/ 243734 h 4358534"/>
              <a:gd name="connsiteX2-145" fmla="*/ 8350568 w 8564775"/>
              <a:gd name="connsiteY2-146" fmla="*/ 40534 h 4358534"/>
              <a:gd name="connsiteX3-147" fmla="*/ 260668 w 8564775"/>
              <a:gd name="connsiteY3-148" fmla="*/ 40534 h 4358534"/>
              <a:gd name="connsiteX4-149" fmla="*/ 20956 w 8564775"/>
              <a:gd name="connsiteY4-150" fmla="*/ 299297 h 4358534"/>
              <a:gd name="connsiteX5-151" fmla="*/ 20956 w 8564775"/>
              <a:gd name="connsiteY5-152" fmla="*/ 4302179 h 4358534"/>
              <a:gd name="connsiteX6-153" fmla="*/ 20956 w 8564775"/>
              <a:gd name="connsiteY6-154" fmla="*/ 4358534 h 4358534"/>
              <a:gd name="connsiteX7" fmla="*/ 6610668 w 8564775"/>
              <a:gd name="connsiteY7" fmla="*/ 4358534 h 4358534"/>
              <a:gd name="connsiteX0-155" fmla="*/ 8553768 w 8564775"/>
              <a:gd name="connsiteY0-156" fmla="*/ 3164734 h 4358534"/>
              <a:gd name="connsiteX1-157" fmla="*/ 8553768 w 8564775"/>
              <a:gd name="connsiteY1-158" fmla="*/ 243734 h 4358534"/>
              <a:gd name="connsiteX2-159" fmla="*/ 8350568 w 8564775"/>
              <a:gd name="connsiteY2-160" fmla="*/ 40534 h 4358534"/>
              <a:gd name="connsiteX3-161" fmla="*/ 260668 w 8564775"/>
              <a:gd name="connsiteY3-162" fmla="*/ 40534 h 4358534"/>
              <a:gd name="connsiteX4-163" fmla="*/ 20956 w 8564775"/>
              <a:gd name="connsiteY4-164" fmla="*/ 299297 h 4358534"/>
              <a:gd name="connsiteX5-165" fmla="*/ 20956 w 8564775"/>
              <a:gd name="connsiteY5-166" fmla="*/ 4302179 h 4358534"/>
              <a:gd name="connsiteX6-167" fmla="*/ 20956 w 8564775"/>
              <a:gd name="connsiteY6-168" fmla="*/ 4358534 h 4358534"/>
              <a:gd name="connsiteX7-169" fmla="*/ 78106 w 8564775"/>
              <a:gd name="connsiteY7-170" fmla="*/ 4356948 h 4358534"/>
              <a:gd name="connsiteX8" fmla="*/ 6610668 w 8564775"/>
              <a:gd name="connsiteY8" fmla="*/ 4358534 h 4358534"/>
              <a:gd name="connsiteX0-171" fmla="*/ 8553768 w 8564775"/>
              <a:gd name="connsiteY0-172" fmla="*/ 3164734 h 4358534"/>
              <a:gd name="connsiteX1-173" fmla="*/ 8553768 w 8564775"/>
              <a:gd name="connsiteY1-174" fmla="*/ 243734 h 4358534"/>
              <a:gd name="connsiteX2-175" fmla="*/ 8350568 w 8564775"/>
              <a:gd name="connsiteY2-176" fmla="*/ 40534 h 4358534"/>
              <a:gd name="connsiteX3-177" fmla="*/ 260668 w 8564775"/>
              <a:gd name="connsiteY3-178" fmla="*/ 40534 h 4358534"/>
              <a:gd name="connsiteX4-179" fmla="*/ 20956 w 8564775"/>
              <a:gd name="connsiteY4-180" fmla="*/ 299297 h 4358534"/>
              <a:gd name="connsiteX5-181" fmla="*/ 20956 w 8564775"/>
              <a:gd name="connsiteY5-182" fmla="*/ 4302179 h 4358534"/>
              <a:gd name="connsiteX6-183" fmla="*/ 78106 w 8564775"/>
              <a:gd name="connsiteY6-184" fmla="*/ 4356948 h 4358534"/>
              <a:gd name="connsiteX7-185" fmla="*/ 6610668 w 8564775"/>
              <a:gd name="connsiteY7-186" fmla="*/ 4358534 h 4358534"/>
              <a:gd name="connsiteX0-187" fmla="*/ 8553768 w 8564775"/>
              <a:gd name="connsiteY0-188" fmla="*/ 3164734 h 4389492"/>
              <a:gd name="connsiteX1-189" fmla="*/ 8553768 w 8564775"/>
              <a:gd name="connsiteY1-190" fmla="*/ 243734 h 4389492"/>
              <a:gd name="connsiteX2-191" fmla="*/ 8350568 w 8564775"/>
              <a:gd name="connsiteY2-192" fmla="*/ 40534 h 4389492"/>
              <a:gd name="connsiteX3-193" fmla="*/ 260668 w 8564775"/>
              <a:gd name="connsiteY3-194" fmla="*/ 40534 h 4389492"/>
              <a:gd name="connsiteX4-195" fmla="*/ 20956 w 8564775"/>
              <a:gd name="connsiteY4-196" fmla="*/ 299297 h 4389492"/>
              <a:gd name="connsiteX5-197" fmla="*/ 20956 w 8564775"/>
              <a:gd name="connsiteY5-198" fmla="*/ 4302179 h 4389492"/>
              <a:gd name="connsiteX6-199" fmla="*/ 78106 w 8564775"/>
              <a:gd name="connsiteY6-200" fmla="*/ 4356948 h 4389492"/>
              <a:gd name="connsiteX7-201" fmla="*/ 6610668 w 8564775"/>
              <a:gd name="connsiteY7-202" fmla="*/ 4358534 h 4389492"/>
              <a:gd name="connsiteX0-203" fmla="*/ 8553768 w 8564775"/>
              <a:gd name="connsiteY0-204" fmla="*/ 3164734 h 4358534"/>
              <a:gd name="connsiteX1-205" fmla="*/ 8553768 w 8564775"/>
              <a:gd name="connsiteY1-206" fmla="*/ 243734 h 4358534"/>
              <a:gd name="connsiteX2-207" fmla="*/ 8350568 w 8564775"/>
              <a:gd name="connsiteY2-208" fmla="*/ 40534 h 4358534"/>
              <a:gd name="connsiteX3-209" fmla="*/ 260668 w 8564775"/>
              <a:gd name="connsiteY3-210" fmla="*/ 40534 h 4358534"/>
              <a:gd name="connsiteX4-211" fmla="*/ 20956 w 8564775"/>
              <a:gd name="connsiteY4-212" fmla="*/ 299297 h 4358534"/>
              <a:gd name="connsiteX5-213" fmla="*/ 20956 w 8564775"/>
              <a:gd name="connsiteY5-214" fmla="*/ 4256935 h 4358534"/>
              <a:gd name="connsiteX6-215" fmla="*/ 78106 w 8564775"/>
              <a:gd name="connsiteY6-216" fmla="*/ 4356948 h 4358534"/>
              <a:gd name="connsiteX7-217" fmla="*/ 6610668 w 8564775"/>
              <a:gd name="connsiteY7-218" fmla="*/ 4358534 h 4358534"/>
              <a:gd name="connsiteX0-219" fmla="*/ 8553768 w 8564775"/>
              <a:gd name="connsiteY0-220" fmla="*/ 3164734 h 4358535"/>
              <a:gd name="connsiteX1-221" fmla="*/ 8553768 w 8564775"/>
              <a:gd name="connsiteY1-222" fmla="*/ 243734 h 4358535"/>
              <a:gd name="connsiteX2-223" fmla="*/ 8350568 w 8564775"/>
              <a:gd name="connsiteY2-224" fmla="*/ 40534 h 4358535"/>
              <a:gd name="connsiteX3-225" fmla="*/ 260668 w 8564775"/>
              <a:gd name="connsiteY3-226" fmla="*/ 40534 h 4358535"/>
              <a:gd name="connsiteX4-227" fmla="*/ 20956 w 8564775"/>
              <a:gd name="connsiteY4-228" fmla="*/ 299297 h 4358535"/>
              <a:gd name="connsiteX5-229" fmla="*/ 20956 w 8564775"/>
              <a:gd name="connsiteY5-230" fmla="*/ 4256935 h 4358535"/>
              <a:gd name="connsiteX6-231" fmla="*/ 113825 w 8564775"/>
              <a:gd name="connsiteY6-232" fmla="*/ 4358535 h 4358535"/>
              <a:gd name="connsiteX7-233" fmla="*/ 6610668 w 8564775"/>
              <a:gd name="connsiteY7-234" fmla="*/ 4358534 h 4358535"/>
              <a:gd name="connsiteX0-235" fmla="*/ 8553768 w 8564775"/>
              <a:gd name="connsiteY0-236" fmla="*/ 3164734 h 4367267"/>
              <a:gd name="connsiteX1-237" fmla="*/ 8553768 w 8564775"/>
              <a:gd name="connsiteY1-238" fmla="*/ 243734 h 4367267"/>
              <a:gd name="connsiteX2-239" fmla="*/ 8350568 w 8564775"/>
              <a:gd name="connsiteY2-240" fmla="*/ 40534 h 4367267"/>
              <a:gd name="connsiteX3-241" fmla="*/ 260668 w 8564775"/>
              <a:gd name="connsiteY3-242" fmla="*/ 40534 h 4367267"/>
              <a:gd name="connsiteX4-243" fmla="*/ 20956 w 8564775"/>
              <a:gd name="connsiteY4-244" fmla="*/ 299297 h 4367267"/>
              <a:gd name="connsiteX5-245" fmla="*/ 20956 w 8564775"/>
              <a:gd name="connsiteY5-246" fmla="*/ 4256935 h 4367267"/>
              <a:gd name="connsiteX6-247" fmla="*/ 113825 w 8564775"/>
              <a:gd name="connsiteY6-248" fmla="*/ 4358535 h 4367267"/>
              <a:gd name="connsiteX7-249" fmla="*/ 6610668 w 8564775"/>
              <a:gd name="connsiteY7-250" fmla="*/ 4358534 h 4367267"/>
              <a:gd name="connsiteX0-251" fmla="*/ 8553768 w 8564775"/>
              <a:gd name="connsiteY0-252" fmla="*/ 3164734 h 4367267"/>
              <a:gd name="connsiteX1-253" fmla="*/ 8553768 w 8564775"/>
              <a:gd name="connsiteY1-254" fmla="*/ 243734 h 4367267"/>
              <a:gd name="connsiteX2-255" fmla="*/ 8350568 w 8564775"/>
              <a:gd name="connsiteY2-256" fmla="*/ 40534 h 4367267"/>
              <a:gd name="connsiteX3-257" fmla="*/ 167799 w 8564775"/>
              <a:gd name="connsiteY3-258" fmla="*/ 43710 h 4367267"/>
              <a:gd name="connsiteX4-259" fmla="*/ 20956 w 8564775"/>
              <a:gd name="connsiteY4-260" fmla="*/ 299297 h 4367267"/>
              <a:gd name="connsiteX5-261" fmla="*/ 20956 w 8564775"/>
              <a:gd name="connsiteY5-262" fmla="*/ 4256935 h 4367267"/>
              <a:gd name="connsiteX6-263" fmla="*/ 113825 w 8564775"/>
              <a:gd name="connsiteY6-264" fmla="*/ 4358535 h 4367267"/>
              <a:gd name="connsiteX7-265" fmla="*/ 6610668 w 8564775"/>
              <a:gd name="connsiteY7-266" fmla="*/ 4358534 h 4367267"/>
              <a:gd name="connsiteX0-267" fmla="*/ 8553768 w 8564775"/>
              <a:gd name="connsiteY0-268" fmla="*/ 3309991 h 4512524"/>
              <a:gd name="connsiteX1-269" fmla="*/ 8553768 w 8564775"/>
              <a:gd name="connsiteY1-270" fmla="*/ 388991 h 4512524"/>
              <a:gd name="connsiteX2-271" fmla="*/ 8350568 w 8564775"/>
              <a:gd name="connsiteY2-272" fmla="*/ 185791 h 4512524"/>
              <a:gd name="connsiteX3-273" fmla="*/ 167799 w 8564775"/>
              <a:gd name="connsiteY3-274" fmla="*/ 188967 h 4512524"/>
              <a:gd name="connsiteX4-275" fmla="*/ 20956 w 8564775"/>
              <a:gd name="connsiteY4-276" fmla="*/ 299297 h 4512524"/>
              <a:gd name="connsiteX5-277" fmla="*/ 20956 w 8564775"/>
              <a:gd name="connsiteY5-278" fmla="*/ 4402192 h 4512524"/>
              <a:gd name="connsiteX6-279" fmla="*/ 113825 w 8564775"/>
              <a:gd name="connsiteY6-280" fmla="*/ 4503792 h 4512524"/>
              <a:gd name="connsiteX7-281" fmla="*/ 6610668 w 8564775"/>
              <a:gd name="connsiteY7-282" fmla="*/ 4503791 h 4512524"/>
              <a:gd name="connsiteX0-283" fmla="*/ 8553768 w 8564775"/>
              <a:gd name="connsiteY0-284" fmla="*/ 3343329 h 4545862"/>
              <a:gd name="connsiteX1-285" fmla="*/ 8553768 w 8564775"/>
              <a:gd name="connsiteY1-286" fmla="*/ 422329 h 4545862"/>
              <a:gd name="connsiteX2-287" fmla="*/ 8350568 w 8564775"/>
              <a:gd name="connsiteY2-288" fmla="*/ 219129 h 4545862"/>
              <a:gd name="connsiteX3-289" fmla="*/ 167799 w 8564775"/>
              <a:gd name="connsiteY3-290" fmla="*/ 222305 h 4545862"/>
              <a:gd name="connsiteX4-291" fmla="*/ 20956 w 8564775"/>
              <a:gd name="connsiteY4-292" fmla="*/ 299297 h 4545862"/>
              <a:gd name="connsiteX5-293" fmla="*/ 20956 w 8564775"/>
              <a:gd name="connsiteY5-294" fmla="*/ 4435530 h 4545862"/>
              <a:gd name="connsiteX6-295" fmla="*/ 113825 w 8564775"/>
              <a:gd name="connsiteY6-296" fmla="*/ 4537130 h 4545862"/>
              <a:gd name="connsiteX7-297" fmla="*/ 6610668 w 8564775"/>
              <a:gd name="connsiteY7-298" fmla="*/ 4537129 h 4545862"/>
              <a:gd name="connsiteX0-299" fmla="*/ 8545037 w 8556044"/>
              <a:gd name="connsiteY0-300" fmla="*/ 3152829 h 4355362"/>
              <a:gd name="connsiteX1-301" fmla="*/ 8545037 w 8556044"/>
              <a:gd name="connsiteY1-302" fmla="*/ 231829 h 4355362"/>
              <a:gd name="connsiteX2-303" fmla="*/ 8341837 w 8556044"/>
              <a:gd name="connsiteY2-304" fmla="*/ 28629 h 4355362"/>
              <a:gd name="connsiteX3-305" fmla="*/ 159068 w 8556044"/>
              <a:gd name="connsiteY3-306" fmla="*/ 31805 h 4355362"/>
              <a:gd name="connsiteX4-307" fmla="*/ 12225 w 8556044"/>
              <a:gd name="connsiteY4-308" fmla="*/ 108797 h 4355362"/>
              <a:gd name="connsiteX5-309" fmla="*/ 12225 w 8556044"/>
              <a:gd name="connsiteY5-310" fmla="*/ 4245030 h 4355362"/>
              <a:gd name="connsiteX6-311" fmla="*/ 105094 w 8556044"/>
              <a:gd name="connsiteY6-312" fmla="*/ 4346630 h 4355362"/>
              <a:gd name="connsiteX7-313" fmla="*/ 6601937 w 8556044"/>
              <a:gd name="connsiteY7-314" fmla="*/ 4346629 h 4355362"/>
              <a:gd name="connsiteX0-315" fmla="*/ 8590280 w 8601287"/>
              <a:gd name="connsiteY0-316" fmla="*/ 3152829 h 4355362"/>
              <a:gd name="connsiteX1-317" fmla="*/ 8590280 w 8601287"/>
              <a:gd name="connsiteY1-318" fmla="*/ 231829 h 4355362"/>
              <a:gd name="connsiteX2-319" fmla="*/ 8387080 w 8601287"/>
              <a:gd name="connsiteY2-320" fmla="*/ 28629 h 4355362"/>
              <a:gd name="connsiteX3-321" fmla="*/ 159068 w 8601287"/>
              <a:gd name="connsiteY3-322" fmla="*/ 31805 h 4355362"/>
              <a:gd name="connsiteX4-323" fmla="*/ 57468 w 8601287"/>
              <a:gd name="connsiteY4-324" fmla="*/ 108797 h 4355362"/>
              <a:gd name="connsiteX5-325" fmla="*/ 57468 w 8601287"/>
              <a:gd name="connsiteY5-326" fmla="*/ 4245030 h 4355362"/>
              <a:gd name="connsiteX6-327" fmla="*/ 150337 w 8601287"/>
              <a:gd name="connsiteY6-328" fmla="*/ 4346630 h 4355362"/>
              <a:gd name="connsiteX7-329" fmla="*/ 6647180 w 8601287"/>
              <a:gd name="connsiteY7-330" fmla="*/ 4346629 h 4355362"/>
              <a:gd name="connsiteX0-331" fmla="*/ 8537575 w 8548582"/>
              <a:gd name="connsiteY0-332" fmla="*/ 3152829 h 4355362"/>
              <a:gd name="connsiteX1-333" fmla="*/ 8537575 w 8548582"/>
              <a:gd name="connsiteY1-334" fmla="*/ 231829 h 4355362"/>
              <a:gd name="connsiteX2-335" fmla="*/ 8334375 w 8548582"/>
              <a:gd name="connsiteY2-336" fmla="*/ 28629 h 4355362"/>
              <a:gd name="connsiteX3-337" fmla="*/ 106363 w 8548582"/>
              <a:gd name="connsiteY3-338" fmla="*/ 31805 h 4355362"/>
              <a:gd name="connsiteX4-339" fmla="*/ 4763 w 8548582"/>
              <a:gd name="connsiteY4-340" fmla="*/ 108797 h 4355362"/>
              <a:gd name="connsiteX5-341" fmla="*/ 4763 w 8548582"/>
              <a:gd name="connsiteY5-342" fmla="*/ 4245030 h 4355362"/>
              <a:gd name="connsiteX6-343" fmla="*/ 97632 w 8548582"/>
              <a:gd name="connsiteY6-344" fmla="*/ 4346630 h 4355362"/>
              <a:gd name="connsiteX7-345" fmla="*/ 6594475 w 8548582"/>
              <a:gd name="connsiteY7-346" fmla="*/ 4346629 h 4355362"/>
              <a:gd name="connsiteX0-347" fmla="*/ 8537575 w 8548582"/>
              <a:gd name="connsiteY0-348" fmla="*/ 3152829 h 4355362"/>
              <a:gd name="connsiteX1-349" fmla="*/ 8537575 w 8548582"/>
              <a:gd name="connsiteY1-350" fmla="*/ 231829 h 4355362"/>
              <a:gd name="connsiteX2-351" fmla="*/ 8334375 w 8548582"/>
              <a:gd name="connsiteY2-352" fmla="*/ 28629 h 4355362"/>
              <a:gd name="connsiteX3-353" fmla="*/ 106363 w 8548582"/>
              <a:gd name="connsiteY3-354" fmla="*/ 31805 h 4355362"/>
              <a:gd name="connsiteX4-355" fmla="*/ 4763 w 8548582"/>
              <a:gd name="connsiteY4-356" fmla="*/ 108797 h 4355362"/>
              <a:gd name="connsiteX5-357" fmla="*/ 4763 w 8548582"/>
              <a:gd name="connsiteY5-358" fmla="*/ 4245030 h 4355362"/>
              <a:gd name="connsiteX6-359" fmla="*/ 97632 w 8548582"/>
              <a:gd name="connsiteY6-360" fmla="*/ 4346630 h 4355362"/>
              <a:gd name="connsiteX7-361" fmla="*/ 6594475 w 8548582"/>
              <a:gd name="connsiteY7-362" fmla="*/ 4346629 h 4355362"/>
              <a:gd name="connsiteX0-363" fmla="*/ 8537575 w 8548582"/>
              <a:gd name="connsiteY0-364" fmla="*/ 3152829 h 4355362"/>
              <a:gd name="connsiteX1-365" fmla="*/ 8537575 w 8548582"/>
              <a:gd name="connsiteY1-366" fmla="*/ 231829 h 4355362"/>
              <a:gd name="connsiteX2-367" fmla="*/ 8334375 w 8548582"/>
              <a:gd name="connsiteY2-368" fmla="*/ 28629 h 4355362"/>
              <a:gd name="connsiteX3-369" fmla="*/ 106363 w 8548582"/>
              <a:gd name="connsiteY3-370" fmla="*/ 31805 h 4355362"/>
              <a:gd name="connsiteX4-371" fmla="*/ 4763 w 8548582"/>
              <a:gd name="connsiteY4-372" fmla="*/ 108797 h 4355362"/>
              <a:gd name="connsiteX5-373" fmla="*/ 4763 w 8548582"/>
              <a:gd name="connsiteY5-374" fmla="*/ 4245030 h 4355362"/>
              <a:gd name="connsiteX6-375" fmla="*/ 97632 w 8548582"/>
              <a:gd name="connsiteY6-376" fmla="*/ 4346630 h 4355362"/>
              <a:gd name="connsiteX7-377" fmla="*/ 6594475 w 8548582"/>
              <a:gd name="connsiteY7-378" fmla="*/ 4346629 h 4355362"/>
              <a:gd name="connsiteX0-379" fmla="*/ 8537575 w 8548582"/>
              <a:gd name="connsiteY0-380" fmla="*/ 3152829 h 4355362"/>
              <a:gd name="connsiteX1-381" fmla="*/ 8537575 w 8548582"/>
              <a:gd name="connsiteY1-382" fmla="*/ 231829 h 4355362"/>
              <a:gd name="connsiteX2-383" fmla="*/ 8334375 w 8548582"/>
              <a:gd name="connsiteY2-384" fmla="*/ 28629 h 4355362"/>
              <a:gd name="connsiteX3-385" fmla="*/ 106363 w 8548582"/>
              <a:gd name="connsiteY3-386" fmla="*/ 31805 h 4355362"/>
              <a:gd name="connsiteX4-387" fmla="*/ 4763 w 8548582"/>
              <a:gd name="connsiteY4-388" fmla="*/ 108797 h 4355362"/>
              <a:gd name="connsiteX5-389" fmla="*/ 4763 w 8548582"/>
              <a:gd name="connsiteY5-390" fmla="*/ 4245030 h 4355362"/>
              <a:gd name="connsiteX6-391" fmla="*/ 97632 w 8548582"/>
              <a:gd name="connsiteY6-392" fmla="*/ 4346630 h 4355362"/>
              <a:gd name="connsiteX7-393" fmla="*/ 6594475 w 8548582"/>
              <a:gd name="connsiteY7-394" fmla="*/ 4346629 h 4355362"/>
              <a:gd name="connsiteX0-395" fmla="*/ 8537575 w 8548582"/>
              <a:gd name="connsiteY0-396" fmla="*/ 3152829 h 4355362"/>
              <a:gd name="connsiteX1-397" fmla="*/ 8537575 w 8548582"/>
              <a:gd name="connsiteY1-398" fmla="*/ 231829 h 4355362"/>
              <a:gd name="connsiteX2-399" fmla="*/ 8334375 w 8548582"/>
              <a:gd name="connsiteY2-400" fmla="*/ 28629 h 4355362"/>
              <a:gd name="connsiteX3-401" fmla="*/ 106363 w 8548582"/>
              <a:gd name="connsiteY3-402" fmla="*/ 31805 h 4355362"/>
              <a:gd name="connsiteX4-403" fmla="*/ 4763 w 8548582"/>
              <a:gd name="connsiteY4-404" fmla="*/ 108797 h 4355362"/>
              <a:gd name="connsiteX5-405" fmla="*/ 4763 w 8548582"/>
              <a:gd name="connsiteY5-406" fmla="*/ 4245030 h 4355362"/>
              <a:gd name="connsiteX6-407" fmla="*/ 97632 w 8548582"/>
              <a:gd name="connsiteY6-408" fmla="*/ 4346630 h 4355362"/>
              <a:gd name="connsiteX7-409" fmla="*/ 6594475 w 8548582"/>
              <a:gd name="connsiteY7-410" fmla="*/ 4346629 h 4355362"/>
              <a:gd name="connsiteX0-411" fmla="*/ 8537575 w 8548582"/>
              <a:gd name="connsiteY0-412" fmla="*/ 3152829 h 4355362"/>
              <a:gd name="connsiteX1-413" fmla="*/ 8537575 w 8548582"/>
              <a:gd name="connsiteY1-414" fmla="*/ 231829 h 4355362"/>
              <a:gd name="connsiteX2-415" fmla="*/ 8334375 w 8548582"/>
              <a:gd name="connsiteY2-416" fmla="*/ 28629 h 4355362"/>
              <a:gd name="connsiteX3-417" fmla="*/ 106363 w 8548582"/>
              <a:gd name="connsiteY3-418" fmla="*/ 31805 h 4355362"/>
              <a:gd name="connsiteX4-419" fmla="*/ 4763 w 8548582"/>
              <a:gd name="connsiteY4-420" fmla="*/ 108797 h 4355362"/>
              <a:gd name="connsiteX5-421" fmla="*/ 4763 w 8548582"/>
              <a:gd name="connsiteY5-422" fmla="*/ 4245030 h 4355362"/>
              <a:gd name="connsiteX6-423" fmla="*/ 97632 w 8548582"/>
              <a:gd name="connsiteY6-424" fmla="*/ 4346630 h 4355362"/>
              <a:gd name="connsiteX7-425" fmla="*/ 6594475 w 8548582"/>
              <a:gd name="connsiteY7-426" fmla="*/ 4346629 h 4355362"/>
              <a:gd name="connsiteX0-427" fmla="*/ 8537575 w 8548582"/>
              <a:gd name="connsiteY0-428" fmla="*/ 3141768 h 4344301"/>
              <a:gd name="connsiteX1-429" fmla="*/ 8537575 w 8548582"/>
              <a:gd name="connsiteY1-430" fmla="*/ 220768 h 4344301"/>
              <a:gd name="connsiteX2-431" fmla="*/ 8334375 w 8548582"/>
              <a:gd name="connsiteY2-432" fmla="*/ 17568 h 4344301"/>
              <a:gd name="connsiteX3-433" fmla="*/ 106363 w 8548582"/>
              <a:gd name="connsiteY3-434" fmla="*/ 20744 h 4344301"/>
              <a:gd name="connsiteX4-435" fmla="*/ 4762 w 8548582"/>
              <a:gd name="connsiteY4-436" fmla="*/ 109642 h 4344301"/>
              <a:gd name="connsiteX5-437" fmla="*/ 4763 w 8548582"/>
              <a:gd name="connsiteY5-438" fmla="*/ 4233969 h 4344301"/>
              <a:gd name="connsiteX6-439" fmla="*/ 97632 w 8548582"/>
              <a:gd name="connsiteY6-440" fmla="*/ 4335569 h 4344301"/>
              <a:gd name="connsiteX7-441" fmla="*/ 6594475 w 8548582"/>
              <a:gd name="connsiteY7-442" fmla="*/ 4335568 h 4344301"/>
              <a:gd name="connsiteX0-443" fmla="*/ 8539482 w 8550489"/>
              <a:gd name="connsiteY0-444" fmla="*/ 3154417 h 4356950"/>
              <a:gd name="connsiteX1-445" fmla="*/ 8539482 w 8550489"/>
              <a:gd name="connsiteY1-446" fmla="*/ 233417 h 4356950"/>
              <a:gd name="connsiteX2-447" fmla="*/ 8336282 w 8550489"/>
              <a:gd name="connsiteY2-448" fmla="*/ 30217 h 4356950"/>
              <a:gd name="connsiteX3-449" fmla="*/ 108270 w 8550489"/>
              <a:gd name="connsiteY3-450" fmla="*/ 33393 h 4356950"/>
              <a:gd name="connsiteX4-451" fmla="*/ 6669 w 8550489"/>
              <a:gd name="connsiteY4-452" fmla="*/ 122291 h 4356950"/>
              <a:gd name="connsiteX5-453" fmla="*/ 6670 w 8550489"/>
              <a:gd name="connsiteY5-454" fmla="*/ 4246618 h 4356950"/>
              <a:gd name="connsiteX6-455" fmla="*/ 99539 w 8550489"/>
              <a:gd name="connsiteY6-456" fmla="*/ 4348218 h 4356950"/>
              <a:gd name="connsiteX7-457" fmla="*/ 6596382 w 8550489"/>
              <a:gd name="connsiteY7-458" fmla="*/ 4348217 h 4356950"/>
              <a:gd name="connsiteX0-459" fmla="*/ 8539482 w 8550489"/>
              <a:gd name="connsiteY0-460" fmla="*/ 3154417 h 4356950"/>
              <a:gd name="connsiteX1-461" fmla="*/ 8539482 w 8550489"/>
              <a:gd name="connsiteY1-462" fmla="*/ 233417 h 4356950"/>
              <a:gd name="connsiteX2-463" fmla="*/ 8336282 w 8550489"/>
              <a:gd name="connsiteY2-464" fmla="*/ 30217 h 4356950"/>
              <a:gd name="connsiteX3-465" fmla="*/ 103508 w 8550489"/>
              <a:gd name="connsiteY3-466" fmla="*/ 33393 h 4356950"/>
              <a:gd name="connsiteX4-467" fmla="*/ 6669 w 8550489"/>
              <a:gd name="connsiteY4-468" fmla="*/ 122291 h 4356950"/>
              <a:gd name="connsiteX5-469" fmla="*/ 6670 w 8550489"/>
              <a:gd name="connsiteY5-470" fmla="*/ 4246618 h 4356950"/>
              <a:gd name="connsiteX6-471" fmla="*/ 99539 w 8550489"/>
              <a:gd name="connsiteY6-472" fmla="*/ 4348218 h 4356950"/>
              <a:gd name="connsiteX7-473" fmla="*/ 6596382 w 8550489"/>
              <a:gd name="connsiteY7-474" fmla="*/ 4348217 h 4356950"/>
              <a:gd name="connsiteX0-475" fmla="*/ 8539482 w 8550489"/>
              <a:gd name="connsiteY0-476" fmla="*/ 3154417 h 4356950"/>
              <a:gd name="connsiteX1-477" fmla="*/ 8539482 w 8550489"/>
              <a:gd name="connsiteY1-478" fmla="*/ 233417 h 4356950"/>
              <a:gd name="connsiteX2-479" fmla="*/ 8336282 w 8550489"/>
              <a:gd name="connsiteY2-480" fmla="*/ 30217 h 4356950"/>
              <a:gd name="connsiteX3-481" fmla="*/ 103508 w 8550489"/>
              <a:gd name="connsiteY3-482" fmla="*/ 33393 h 4356950"/>
              <a:gd name="connsiteX4-483" fmla="*/ 6669 w 8550489"/>
              <a:gd name="connsiteY4-484" fmla="*/ 122291 h 4356950"/>
              <a:gd name="connsiteX5-485" fmla="*/ 6670 w 8550489"/>
              <a:gd name="connsiteY5-486" fmla="*/ 4246618 h 4356950"/>
              <a:gd name="connsiteX6-487" fmla="*/ 99539 w 8550489"/>
              <a:gd name="connsiteY6-488" fmla="*/ 4348218 h 4356950"/>
              <a:gd name="connsiteX7-489" fmla="*/ 6596382 w 8550489"/>
              <a:gd name="connsiteY7-490" fmla="*/ 4348217 h 4356950"/>
              <a:gd name="connsiteX0-491" fmla="*/ 8539482 w 8550489"/>
              <a:gd name="connsiteY0-492" fmla="*/ 3154417 h 4356950"/>
              <a:gd name="connsiteX1-493" fmla="*/ 8539482 w 8550489"/>
              <a:gd name="connsiteY1-494" fmla="*/ 233417 h 4356950"/>
              <a:gd name="connsiteX2-495" fmla="*/ 8336282 w 8550489"/>
              <a:gd name="connsiteY2-496" fmla="*/ 30217 h 4356950"/>
              <a:gd name="connsiteX3-497" fmla="*/ 103508 w 8550489"/>
              <a:gd name="connsiteY3-498" fmla="*/ 33393 h 4356950"/>
              <a:gd name="connsiteX4-499" fmla="*/ 6669 w 8550489"/>
              <a:gd name="connsiteY4-500" fmla="*/ 122291 h 4356950"/>
              <a:gd name="connsiteX5-501" fmla="*/ 6670 w 8550489"/>
              <a:gd name="connsiteY5-502" fmla="*/ 4246618 h 4356950"/>
              <a:gd name="connsiteX6-503" fmla="*/ 99539 w 8550489"/>
              <a:gd name="connsiteY6-504" fmla="*/ 4348218 h 4356950"/>
              <a:gd name="connsiteX7-505" fmla="*/ 6596382 w 8550489"/>
              <a:gd name="connsiteY7-506" fmla="*/ 4348217 h 4356950"/>
              <a:gd name="connsiteX0-507" fmla="*/ 8539482 w 8550489"/>
              <a:gd name="connsiteY0-508" fmla="*/ 3154417 h 4356950"/>
              <a:gd name="connsiteX1-509" fmla="*/ 8539482 w 8550489"/>
              <a:gd name="connsiteY1-510" fmla="*/ 233417 h 4356950"/>
              <a:gd name="connsiteX2-511" fmla="*/ 8336282 w 8550489"/>
              <a:gd name="connsiteY2-512" fmla="*/ 30217 h 4356950"/>
              <a:gd name="connsiteX3-513" fmla="*/ 103508 w 8550489"/>
              <a:gd name="connsiteY3-514" fmla="*/ 33393 h 4356950"/>
              <a:gd name="connsiteX4-515" fmla="*/ 6669 w 8550489"/>
              <a:gd name="connsiteY4-516" fmla="*/ 122291 h 4356950"/>
              <a:gd name="connsiteX5-517" fmla="*/ 6670 w 8550489"/>
              <a:gd name="connsiteY5-518" fmla="*/ 4246618 h 4356950"/>
              <a:gd name="connsiteX6-519" fmla="*/ 99539 w 8550489"/>
              <a:gd name="connsiteY6-520" fmla="*/ 4348218 h 4356950"/>
              <a:gd name="connsiteX7-521" fmla="*/ 6596382 w 8550489"/>
              <a:gd name="connsiteY7-522" fmla="*/ 4348217 h 4356950"/>
              <a:gd name="connsiteX0-523" fmla="*/ 8539482 w 8550489"/>
              <a:gd name="connsiteY0-524" fmla="*/ 3154417 h 4356950"/>
              <a:gd name="connsiteX1-525" fmla="*/ 8539482 w 8550489"/>
              <a:gd name="connsiteY1-526" fmla="*/ 233417 h 4356950"/>
              <a:gd name="connsiteX2-527" fmla="*/ 8336282 w 8550489"/>
              <a:gd name="connsiteY2-528" fmla="*/ 30217 h 4356950"/>
              <a:gd name="connsiteX3-529" fmla="*/ 103508 w 8550489"/>
              <a:gd name="connsiteY3-530" fmla="*/ 33393 h 4356950"/>
              <a:gd name="connsiteX4-531" fmla="*/ 6669 w 8550489"/>
              <a:gd name="connsiteY4-532" fmla="*/ 122291 h 4356950"/>
              <a:gd name="connsiteX5-533" fmla="*/ 6670 w 8550489"/>
              <a:gd name="connsiteY5-534" fmla="*/ 4246618 h 4356950"/>
              <a:gd name="connsiteX6-535" fmla="*/ 99539 w 8550489"/>
              <a:gd name="connsiteY6-536" fmla="*/ 4348218 h 4356950"/>
              <a:gd name="connsiteX7-537" fmla="*/ 6596382 w 8550489"/>
              <a:gd name="connsiteY7-538" fmla="*/ 4348217 h 4356950"/>
              <a:gd name="connsiteX0-539" fmla="*/ 8539482 w 8550489"/>
              <a:gd name="connsiteY0-540" fmla="*/ 3159230 h 4361763"/>
              <a:gd name="connsiteX1-541" fmla="*/ 8539482 w 8550489"/>
              <a:gd name="connsiteY1-542" fmla="*/ 238230 h 4361763"/>
              <a:gd name="connsiteX2-543" fmla="*/ 8336282 w 8550489"/>
              <a:gd name="connsiteY2-544" fmla="*/ 35030 h 4361763"/>
              <a:gd name="connsiteX3-545" fmla="*/ 103508 w 8550489"/>
              <a:gd name="connsiteY3-546" fmla="*/ 38206 h 4361763"/>
              <a:gd name="connsiteX4-547" fmla="*/ 6669 w 8550489"/>
              <a:gd name="connsiteY4-548" fmla="*/ 127104 h 4361763"/>
              <a:gd name="connsiteX5-549" fmla="*/ 6670 w 8550489"/>
              <a:gd name="connsiteY5-550" fmla="*/ 4251431 h 4361763"/>
              <a:gd name="connsiteX6-551" fmla="*/ 99539 w 8550489"/>
              <a:gd name="connsiteY6-552" fmla="*/ 4353031 h 4361763"/>
              <a:gd name="connsiteX7-553" fmla="*/ 6596382 w 8550489"/>
              <a:gd name="connsiteY7-554" fmla="*/ 4353030 h 4361763"/>
              <a:gd name="connsiteX0-555" fmla="*/ 8539482 w 8550489"/>
              <a:gd name="connsiteY0-556" fmla="*/ 3154417 h 4356950"/>
              <a:gd name="connsiteX1-557" fmla="*/ 8539482 w 8550489"/>
              <a:gd name="connsiteY1-558" fmla="*/ 233417 h 4356950"/>
              <a:gd name="connsiteX2-559" fmla="*/ 8336282 w 8550489"/>
              <a:gd name="connsiteY2-560" fmla="*/ 30217 h 4356950"/>
              <a:gd name="connsiteX3-561" fmla="*/ 103508 w 8550489"/>
              <a:gd name="connsiteY3-562" fmla="*/ 33393 h 4356950"/>
              <a:gd name="connsiteX4-563" fmla="*/ 6669 w 8550489"/>
              <a:gd name="connsiteY4-564" fmla="*/ 122291 h 4356950"/>
              <a:gd name="connsiteX5-565" fmla="*/ 6670 w 8550489"/>
              <a:gd name="connsiteY5-566" fmla="*/ 4246618 h 4356950"/>
              <a:gd name="connsiteX6-567" fmla="*/ 99539 w 8550489"/>
              <a:gd name="connsiteY6-568" fmla="*/ 4348218 h 4356950"/>
              <a:gd name="connsiteX7-569" fmla="*/ 6596382 w 8550489"/>
              <a:gd name="connsiteY7-570" fmla="*/ 4348217 h 4356950"/>
              <a:gd name="connsiteX0-571" fmla="*/ 8539482 w 8550489"/>
              <a:gd name="connsiteY0-572" fmla="*/ 3154417 h 4356950"/>
              <a:gd name="connsiteX1-573" fmla="*/ 8539482 w 8550489"/>
              <a:gd name="connsiteY1-574" fmla="*/ 233417 h 4356950"/>
              <a:gd name="connsiteX2-575" fmla="*/ 8336282 w 8550489"/>
              <a:gd name="connsiteY2-576" fmla="*/ 30217 h 4356950"/>
              <a:gd name="connsiteX3-577" fmla="*/ 103508 w 8550489"/>
              <a:gd name="connsiteY3-578" fmla="*/ 33393 h 4356950"/>
              <a:gd name="connsiteX4-579" fmla="*/ 6669 w 8550489"/>
              <a:gd name="connsiteY4-580" fmla="*/ 122291 h 4356950"/>
              <a:gd name="connsiteX5-581" fmla="*/ 6670 w 8550489"/>
              <a:gd name="connsiteY5-582" fmla="*/ 4246618 h 4356950"/>
              <a:gd name="connsiteX6-583" fmla="*/ 99539 w 8550489"/>
              <a:gd name="connsiteY6-584" fmla="*/ 4348218 h 4356950"/>
              <a:gd name="connsiteX7-585" fmla="*/ 6596382 w 8550489"/>
              <a:gd name="connsiteY7-586" fmla="*/ 4348217 h 4356950"/>
              <a:gd name="connsiteX0-587" fmla="*/ 8539482 w 8550489"/>
              <a:gd name="connsiteY0-588" fmla="*/ 3154417 h 4356950"/>
              <a:gd name="connsiteX1-589" fmla="*/ 8539482 w 8550489"/>
              <a:gd name="connsiteY1-590" fmla="*/ 233417 h 4356950"/>
              <a:gd name="connsiteX2-591" fmla="*/ 8336282 w 8550489"/>
              <a:gd name="connsiteY2-592" fmla="*/ 30217 h 4356950"/>
              <a:gd name="connsiteX3-593" fmla="*/ 103508 w 8550489"/>
              <a:gd name="connsiteY3-594" fmla="*/ 33393 h 4356950"/>
              <a:gd name="connsiteX4-595" fmla="*/ 6669 w 8550489"/>
              <a:gd name="connsiteY4-596" fmla="*/ 122291 h 4356950"/>
              <a:gd name="connsiteX5-597" fmla="*/ 6670 w 8550489"/>
              <a:gd name="connsiteY5-598" fmla="*/ 4246618 h 4356950"/>
              <a:gd name="connsiteX6-599" fmla="*/ 99539 w 8550489"/>
              <a:gd name="connsiteY6-600" fmla="*/ 4348218 h 4356950"/>
              <a:gd name="connsiteX7-601" fmla="*/ 6596382 w 8550489"/>
              <a:gd name="connsiteY7-602" fmla="*/ 4348217 h 4356950"/>
              <a:gd name="connsiteX0-603" fmla="*/ 8539481 w 8550488"/>
              <a:gd name="connsiteY0-604" fmla="*/ 3142511 h 4345044"/>
              <a:gd name="connsiteX1-605" fmla="*/ 8539481 w 8550488"/>
              <a:gd name="connsiteY1-606" fmla="*/ 221511 h 4345044"/>
              <a:gd name="connsiteX2-607" fmla="*/ 8336281 w 8550488"/>
              <a:gd name="connsiteY2-608" fmla="*/ 18311 h 4345044"/>
              <a:gd name="connsiteX3-609" fmla="*/ 103507 w 8550488"/>
              <a:gd name="connsiteY3-610" fmla="*/ 21487 h 4345044"/>
              <a:gd name="connsiteX4-611" fmla="*/ 6669 w 8550488"/>
              <a:gd name="connsiteY4-612" fmla="*/ 122291 h 4345044"/>
              <a:gd name="connsiteX5-613" fmla="*/ 6669 w 8550488"/>
              <a:gd name="connsiteY5-614" fmla="*/ 4234712 h 4345044"/>
              <a:gd name="connsiteX6-615" fmla="*/ 99538 w 8550488"/>
              <a:gd name="connsiteY6-616" fmla="*/ 4336312 h 4345044"/>
              <a:gd name="connsiteX7-617" fmla="*/ 6596381 w 8550488"/>
              <a:gd name="connsiteY7-618" fmla="*/ 4336311 h 4345044"/>
              <a:gd name="connsiteX0-619" fmla="*/ 8539481 w 8550487"/>
              <a:gd name="connsiteY0-620" fmla="*/ 3246543 h 4449076"/>
              <a:gd name="connsiteX1-621" fmla="*/ 8539480 w 8550487"/>
              <a:gd name="connsiteY1-622" fmla="*/ 220768 h 4449076"/>
              <a:gd name="connsiteX2-623" fmla="*/ 8336281 w 8550487"/>
              <a:gd name="connsiteY2-624" fmla="*/ 122343 h 4449076"/>
              <a:gd name="connsiteX3-625" fmla="*/ 103507 w 8550487"/>
              <a:gd name="connsiteY3-626" fmla="*/ 125519 h 4449076"/>
              <a:gd name="connsiteX4-627" fmla="*/ 6669 w 8550487"/>
              <a:gd name="connsiteY4-628" fmla="*/ 226323 h 4449076"/>
              <a:gd name="connsiteX5-629" fmla="*/ 6669 w 8550487"/>
              <a:gd name="connsiteY5-630" fmla="*/ 4338744 h 4449076"/>
              <a:gd name="connsiteX6-631" fmla="*/ 99538 w 8550487"/>
              <a:gd name="connsiteY6-632" fmla="*/ 4440344 h 4449076"/>
              <a:gd name="connsiteX7-633" fmla="*/ 6596381 w 8550487"/>
              <a:gd name="connsiteY7-634" fmla="*/ 4440343 h 4449076"/>
              <a:gd name="connsiteX0-635" fmla="*/ 8539481 w 8597847"/>
              <a:gd name="connsiteY0-636" fmla="*/ 3246543 h 4449076"/>
              <a:gd name="connsiteX1-637" fmla="*/ 8539480 w 8597847"/>
              <a:gd name="connsiteY1-638" fmla="*/ 220768 h 4449076"/>
              <a:gd name="connsiteX2-639" fmla="*/ 8438674 w 8597847"/>
              <a:gd name="connsiteY2-640" fmla="*/ 125519 h 4449076"/>
              <a:gd name="connsiteX3-641" fmla="*/ 103507 w 8597847"/>
              <a:gd name="connsiteY3-642" fmla="*/ 125519 h 4449076"/>
              <a:gd name="connsiteX4-643" fmla="*/ 6669 w 8597847"/>
              <a:gd name="connsiteY4-644" fmla="*/ 226323 h 4449076"/>
              <a:gd name="connsiteX5-645" fmla="*/ 6669 w 8597847"/>
              <a:gd name="connsiteY5-646" fmla="*/ 4338744 h 4449076"/>
              <a:gd name="connsiteX6-647" fmla="*/ 99538 w 8597847"/>
              <a:gd name="connsiteY6-648" fmla="*/ 4440344 h 4449076"/>
              <a:gd name="connsiteX7-649" fmla="*/ 6596381 w 8597847"/>
              <a:gd name="connsiteY7-650" fmla="*/ 4440343 h 4449076"/>
              <a:gd name="connsiteX0-651" fmla="*/ 8539481 w 8550487"/>
              <a:gd name="connsiteY0-652" fmla="*/ 3246543 h 4449076"/>
              <a:gd name="connsiteX1-653" fmla="*/ 8539480 w 8550487"/>
              <a:gd name="connsiteY1-654" fmla="*/ 220768 h 4449076"/>
              <a:gd name="connsiteX2-655" fmla="*/ 8438674 w 8550487"/>
              <a:gd name="connsiteY2-656" fmla="*/ 125519 h 4449076"/>
              <a:gd name="connsiteX3-657" fmla="*/ 103507 w 8550487"/>
              <a:gd name="connsiteY3-658" fmla="*/ 125519 h 4449076"/>
              <a:gd name="connsiteX4-659" fmla="*/ 6669 w 8550487"/>
              <a:gd name="connsiteY4-660" fmla="*/ 226323 h 4449076"/>
              <a:gd name="connsiteX5-661" fmla="*/ 6669 w 8550487"/>
              <a:gd name="connsiteY5-662" fmla="*/ 4338744 h 4449076"/>
              <a:gd name="connsiteX6-663" fmla="*/ 99538 w 8550487"/>
              <a:gd name="connsiteY6-664" fmla="*/ 4440344 h 4449076"/>
              <a:gd name="connsiteX7-665" fmla="*/ 6596381 w 8550487"/>
              <a:gd name="connsiteY7-666" fmla="*/ 4440343 h 4449076"/>
              <a:gd name="connsiteX0-667" fmla="*/ 8539481 w 8556837"/>
              <a:gd name="connsiteY0-668" fmla="*/ 3151293 h 4353826"/>
              <a:gd name="connsiteX1-669" fmla="*/ 8539480 w 8556837"/>
              <a:gd name="connsiteY1-670" fmla="*/ 125518 h 4353826"/>
              <a:gd name="connsiteX2-671" fmla="*/ 8438674 w 8556837"/>
              <a:gd name="connsiteY2-672" fmla="*/ 30269 h 4353826"/>
              <a:gd name="connsiteX3-673" fmla="*/ 103507 w 8556837"/>
              <a:gd name="connsiteY3-674" fmla="*/ 30269 h 4353826"/>
              <a:gd name="connsiteX4-675" fmla="*/ 6669 w 8556837"/>
              <a:gd name="connsiteY4-676" fmla="*/ 131073 h 4353826"/>
              <a:gd name="connsiteX5-677" fmla="*/ 6669 w 8556837"/>
              <a:gd name="connsiteY5-678" fmla="*/ 4243494 h 4353826"/>
              <a:gd name="connsiteX6-679" fmla="*/ 99538 w 8556837"/>
              <a:gd name="connsiteY6-680" fmla="*/ 4345094 h 4353826"/>
              <a:gd name="connsiteX7-681" fmla="*/ 6596381 w 8556837"/>
              <a:gd name="connsiteY7-682" fmla="*/ 4345093 h 4353826"/>
              <a:gd name="connsiteX0-683" fmla="*/ 8539481 w 8539481"/>
              <a:gd name="connsiteY0-684" fmla="*/ 3142511 h 4345044"/>
              <a:gd name="connsiteX1-685" fmla="*/ 8539480 w 8539481"/>
              <a:gd name="connsiteY1-686" fmla="*/ 116736 h 4345044"/>
              <a:gd name="connsiteX2-687" fmla="*/ 8438674 w 8539481"/>
              <a:gd name="connsiteY2-688" fmla="*/ 21487 h 4345044"/>
              <a:gd name="connsiteX3-689" fmla="*/ 103507 w 8539481"/>
              <a:gd name="connsiteY3-690" fmla="*/ 21487 h 4345044"/>
              <a:gd name="connsiteX4-691" fmla="*/ 6669 w 8539481"/>
              <a:gd name="connsiteY4-692" fmla="*/ 122291 h 4345044"/>
              <a:gd name="connsiteX5-693" fmla="*/ 6669 w 8539481"/>
              <a:gd name="connsiteY5-694" fmla="*/ 4234712 h 4345044"/>
              <a:gd name="connsiteX6-695" fmla="*/ 99538 w 8539481"/>
              <a:gd name="connsiteY6-696" fmla="*/ 4336312 h 4345044"/>
              <a:gd name="connsiteX7-697" fmla="*/ 6596381 w 8539481"/>
              <a:gd name="connsiteY7-698" fmla="*/ 4336311 h 4345044"/>
              <a:gd name="connsiteX0-699" fmla="*/ 8539481 w 8539481"/>
              <a:gd name="connsiteY0-700" fmla="*/ 3148119 h 4350652"/>
              <a:gd name="connsiteX1-701" fmla="*/ 8539480 w 8539481"/>
              <a:gd name="connsiteY1-702" fmla="*/ 122344 h 4350652"/>
              <a:gd name="connsiteX2-703" fmla="*/ 8438674 w 8539481"/>
              <a:gd name="connsiteY2-704" fmla="*/ 27095 h 4350652"/>
              <a:gd name="connsiteX3-705" fmla="*/ 103507 w 8539481"/>
              <a:gd name="connsiteY3-706" fmla="*/ 27095 h 4350652"/>
              <a:gd name="connsiteX4-707" fmla="*/ 6669 w 8539481"/>
              <a:gd name="connsiteY4-708" fmla="*/ 127899 h 4350652"/>
              <a:gd name="connsiteX5-709" fmla="*/ 6669 w 8539481"/>
              <a:gd name="connsiteY5-710" fmla="*/ 4240320 h 4350652"/>
              <a:gd name="connsiteX6-711" fmla="*/ 99538 w 8539481"/>
              <a:gd name="connsiteY6-712" fmla="*/ 4341920 h 4350652"/>
              <a:gd name="connsiteX7-713" fmla="*/ 6596381 w 8539481"/>
              <a:gd name="connsiteY7-714" fmla="*/ 4341919 h 4350652"/>
              <a:gd name="connsiteX0-715" fmla="*/ 8539481 w 8539481"/>
              <a:gd name="connsiteY0-716" fmla="*/ 3148119 h 4350652"/>
              <a:gd name="connsiteX1-717" fmla="*/ 8539480 w 8539481"/>
              <a:gd name="connsiteY1-718" fmla="*/ 122344 h 4350652"/>
              <a:gd name="connsiteX2-719" fmla="*/ 8438674 w 8539481"/>
              <a:gd name="connsiteY2-720" fmla="*/ 27095 h 4350652"/>
              <a:gd name="connsiteX3-721" fmla="*/ 103507 w 8539481"/>
              <a:gd name="connsiteY3-722" fmla="*/ 27095 h 4350652"/>
              <a:gd name="connsiteX4-723" fmla="*/ 6669 w 8539481"/>
              <a:gd name="connsiteY4-724" fmla="*/ 127899 h 4350652"/>
              <a:gd name="connsiteX5-725" fmla="*/ 6669 w 8539481"/>
              <a:gd name="connsiteY5-726" fmla="*/ 4240320 h 4350652"/>
              <a:gd name="connsiteX6-727" fmla="*/ 99538 w 8539481"/>
              <a:gd name="connsiteY6-728" fmla="*/ 4341920 h 4350652"/>
              <a:gd name="connsiteX7-729" fmla="*/ 6596381 w 8539481"/>
              <a:gd name="connsiteY7-730" fmla="*/ 4341919 h 4350652"/>
              <a:gd name="connsiteX0-731" fmla="*/ 8539481 w 8539481"/>
              <a:gd name="connsiteY0-732" fmla="*/ 3148119 h 4350652"/>
              <a:gd name="connsiteX1-733" fmla="*/ 8539480 w 8539481"/>
              <a:gd name="connsiteY1-734" fmla="*/ 122344 h 4350652"/>
              <a:gd name="connsiteX2-735" fmla="*/ 8438674 w 8539481"/>
              <a:gd name="connsiteY2-736" fmla="*/ 27095 h 4350652"/>
              <a:gd name="connsiteX3-737" fmla="*/ 103507 w 8539481"/>
              <a:gd name="connsiteY3-738" fmla="*/ 27095 h 4350652"/>
              <a:gd name="connsiteX4-739" fmla="*/ 6669 w 8539481"/>
              <a:gd name="connsiteY4-740" fmla="*/ 127899 h 4350652"/>
              <a:gd name="connsiteX5-741" fmla="*/ 6669 w 8539481"/>
              <a:gd name="connsiteY5-742" fmla="*/ 4240320 h 4350652"/>
              <a:gd name="connsiteX6-743" fmla="*/ 99538 w 8539481"/>
              <a:gd name="connsiteY6-744" fmla="*/ 4341920 h 4350652"/>
              <a:gd name="connsiteX7-745" fmla="*/ 6596381 w 8539481"/>
              <a:gd name="connsiteY7-746" fmla="*/ 4341919 h 4350652"/>
              <a:gd name="connsiteX0-747" fmla="*/ 8539481 w 8539481"/>
              <a:gd name="connsiteY0-748" fmla="*/ 3142511 h 4345044"/>
              <a:gd name="connsiteX1-749" fmla="*/ 8539481 w 8539481"/>
              <a:gd name="connsiteY1-750" fmla="*/ 131023 h 4345044"/>
              <a:gd name="connsiteX2-751" fmla="*/ 8438674 w 8539481"/>
              <a:gd name="connsiteY2-752" fmla="*/ 21487 h 4345044"/>
              <a:gd name="connsiteX3-753" fmla="*/ 103507 w 8539481"/>
              <a:gd name="connsiteY3-754" fmla="*/ 21487 h 4345044"/>
              <a:gd name="connsiteX4-755" fmla="*/ 6669 w 8539481"/>
              <a:gd name="connsiteY4-756" fmla="*/ 122291 h 4345044"/>
              <a:gd name="connsiteX5-757" fmla="*/ 6669 w 8539481"/>
              <a:gd name="connsiteY5-758" fmla="*/ 4234712 h 4345044"/>
              <a:gd name="connsiteX6-759" fmla="*/ 99538 w 8539481"/>
              <a:gd name="connsiteY6-760" fmla="*/ 4336312 h 4345044"/>
              <a:gd name="connsiteX7-761" fmla="*/ 6596381 w 8539481"/>
              <a:gd name="connsiteY7-762" fmla="*/ 4336311 h 4345044"/>
              <a:gd name="connsiteX0-763" fmla="*/ 8539481 w 8539481"/>
              <a:gd name="connsiteY0-764" fmla="*/ 3142511 h 4345044"/>
              <a:gd name="connsiteX1-765" fmla="*/ 8539481 w 8539481"/>
              <a:gd name="connsiteY1-766" fmla="*/ 131023 h 4345044"/>
              <a:gd name="connsiteX2-767" fmla="*/ 8438674 w 8539481"/>
              <a:gd name="connsiteY2-768" fmla="*/ 21487 h 4345044"/>
              <a:gd name="connsiteX3-769" fmla="*/ 103507 w 8539481"/>
              <a:gd name="connsiteY3-770" fmla="*/ 21487 h 4345044"/>
              <a:gd name="connsiteX4-771" fmla="*/ 6669 w 8539481"/>
              <a:gd name="connsiteY4-772" fmla="*/ 122291 h 4345044"/>
              <a:gd name="connsiteX5-773" fmla="*/ 6669 w 8539481"/>
              <a:gd name="connsiteY5-774" fmla="*/ 4234712 h 4345044"/>
              <a:gd name="connsiteX6-775" fmla="*/ 99538 w 8539481"/>
              <a:gd name="connsiteY6-776" fmla="*/ 4336312 h 4345044"/>
              <a:gd name="connsiteX7-777" fmla="*/ 6596381 w 8539481"/>
              <a:gd name="connsiteY7-778" fmla="*/ 4336311 h 4345044"/>
              <a:gd name="connsiteX0-779" fmla="*/ 8539481 w 8549428"/>
              <a:gd name="connsiteY0-780" fmla="*/ 3142511 h 4345044"/>
              <a:gd name="connsiteX1-781" fmla="*/ 8539481 w 8549428"/>
              <a:gd name="connsiteY1-782" fmla="*/ 131023 h 4345044"/>
              <a:gd name="connsiteX2-783" fmla="*/ 8438674 w 8549428"/>
              <a:gd name="connsiteY2-784" fmla="*/ 21487 h 4345044"/>
              <a:gd name="connsiteX3-785" fmla="*/ 103507 w 8549428"/>
              <a:gd name="connsiteY3-786" fmla="*/ 21487 h 4345044"/>
              <a:gd name="connsiteX4-787" fmla="*/ 6669 w 8549428"/>
              <a:gd name="connsiteY4-788" fmla="*/ 122291 h 4345044"/>
              <a:gd name="connsiteX5-789" fmla="*/ 6669 w 8549428"/>
              <a:gd name="connsiteY5-790" fmla="*/ 4234712 h 4345044"/>
              <a:gd name="connsiteX6-791" fmla="*/ 99538 w 8549428"/>
              <a:gd name="connsiteY6-792" fmla="*/ 4336312 h 4345044"/>
              <a:gd name="connsiteX7-793" fmla="*/ 6596381 w 8549428"/>
              <a:gd name="connsiteY7-794" fmla="*/ 4336311 h 4345044"/>
              <a:gd name="connsiteX0-795" fmla="*/ 8539481 w 8549428"/>
              <a:gd name="connsiteY0-796" fmla="*/ 3142511 h 4345044"/>
              <a:gd name="connsiteX1-797" fmla="*/ 8539480 w 8549428"/>
              <a:gd name="connsiteY1-798" fmla="*/ 131023 h 4345044"/>
              <a:gd name="connsiteX2-799" fmla="*/ 8438674 w 8549428"/>
              <a:gd name="connsiteY2-800" fmla="*/ 21487 h 4345044"/>
              <a:gd name="connsiteX3-801" fmla="*/ 103507 w 8549428"/>
              <a:gd name="connsiteY3-802" fmla="*/ 21487 h 4345044"/>
              <a:gd name="connsiteX4-803" fmla="*/ 6669 w 8549428"/>
              <a:gd name="connsiteY4-804" fmla="*/ 122291 h 4345044"/>
              <a:gd name="connsiteX5-805" fmla="*/ 6669 w 8549428"/>
              <a:gd name="connsiteY5-806" fmla="*/ 4234712 h 4345044"/>
              <a:gd name="connsiteX6-807" fmla="*/ 99538 w 8549428"/>
              <a:gd name="connsiteY6-808" fmla="*/ 4336312 h 4345044"/>
              <a:gd name="connsiteX7-809" fmla="*/ 6596381 w 8549428"/>
              <a:gd name="connsiteY7-810" fmla="*/ 4336311 h 4345044"/>
              <a:gd name="connsiteX0-811" fmla="*/ 8539481 w 8539481"/>
              <a:gd name="connsiteY0-812" fmla="*/ 3142511 h 4345044"/>
              <a:gd name="connsiteX1-813" fmla="*/ 8539480 w 8539481"/>
              <a:gd name="connsiteY1-814" fmla="*/ 131023 h 4345044"/>
              <a:gd name="connsiteX2-815" fmla="*/ 8422005 w 8539481"/>
              <a:gd name="connsiteY2-816" fmla="*/ 21487 h 4345044"/>
              <a:gd name="connsiteX3-817" fmla="*/ 103507 w 8539481"/>
              <a:gd name="connsiteY3-818" fmla="*/ 21487 h 4345044"/>
              <a:gd name="connsiteX4-819" fmla="*/ 6669 w 8539481"/>
              <a:gd name="connsiteY4-820" fmla="*/ 122291 h 4345044"/>
              <a:gd name="connsiteX5-821" fmla="*/ 6669 w 8539481"/>
              <a:gd name="connsiteY5-822" fmla="*/ 4234712 h 4345044"/>
              <a:gd name="connsiteX6-823" fmla="*/ 99538 w 8539481"/>
              <a:gd name="connsiteY6-824" fmla="*/ 4336312 h 4345044"/>
              <a:gd name="connsiteX7-825" fmla="*/ 6596381 w 8539481"/>
              <a:gd name="connsiteY7-826" fmla="*/ 4336311 h 4345044"/>
              <a:gd name="connsiteX0-827" fmla="*/ 8539481 w 8539481"/>
              <a:gd name="connsiteY0-828" fmla="*/ 3142511 h 4345044"/>
              <a:gd name="connsiteX1-829" fmla="*/ 8539480 w 8539481"/>
              <a:gd name="connsiteY1-830" fmla="*/ 131023 h 4345044"/>
              <a:gd name="connsiteX2-831" fmla="*/ 8410099 w 8539481"/>
              <a:gd name="connsiteY2-832" fmla="*/ 21487 h 4345044"/>
              <a:gd name="connsiteX3-833" fmla="*/ 103507 w 8539481"/>
              <a:gd name="connsiteY3-834" fmla="*/ 21487 h 4345044"/>
              <a:gd name="connsiteX4-835" fmla="*/ 6669 w 8539481"/>
              <a:gd name="connsiteY4-836" fmla="*/ 122291 h 4345044"/>
              <a:gd name="connsiteX5-837" fmla="*/ 6669 w 8539481"/>
              <a:gd name="connsiteY5-838" fmla="*/ 4234712 h 4345044"/>
              <a:gd name="connsiteX6-839" fmla="*/ 99538 w 8539481"/>
              <a:gd name="connsiteY6-840" fmla="*/ 4336312 h 4345044"/>
              <a:gd name="connsiteX7-841" fmla="*/ 6596381 w 8539481"/>
              <a:gd name="connsiteY7-842" fmla="*/ 4336311 h 4345044"/>
              <a:gd name="connsiteX0-843" fmla="*/ 8539481 w 8539481"/>
              <a:gd name="connsiteY0-844" fmla="*/ 3162407 h 4364940"/>
              <a:gd name="connsiteX1-845" fmla="*/ 8539481 w 8539481"/>
              <a:gd name="connsiteY1-846" fmla="*/ 122344 h 4364940"/>
              <a:gd name="connsiteX2-847" fmla="*/ 8410099 w 8539481"/>
              <a:gd name="connsiteY2-848" fmla="*/ 41383 h 4364940"/>
              <a:gd name="connsiteX3-849" fmla="*/ 103507 w 8539481"/>
              <a:gd name="connsiteY3-850" fmla="*/ 41383 h 4364940"/>
              <a:gd name="connsiteX4-851" fmla="*/ 6669 w 8539481"/>
              <a:gd name="connsiteY4-852" fmla="*/ 142187 h 4364940"/>
              <a:gd name="connsiteX5-853" fmla="*/ 6669 w 8539481"/>
              <a:gd name="connsiteY5-854" fmla="*/ 4254608 h 4364940"/>
              <a:gd name="connsiteX6-855" fmla="*/ 99538 w 8539481"/>
              <a:gd name="connsiteY6-856" fmla="*/ 4356208 h 4364940"/>
              <a:gd name="connsiteX7-857" fmla="*/ 6596381 w 8539481"/>
              <a:gd name="connsiteY7-858" fmla="*/ 4356207 h 4364940"/>
              <a:gd name="connsiteX0-859" fmla="*/ 8539481 w 8546253"/>
              <a:gd name="connsiteY0-860" fmla="*/ 3162407 h 4364940"/>
              <a:gd name="connsiteX1-861" fmla="*/ 8539481 w 8546253"/>
              <a:gd name="connsiteY1-862" fmla="*/ 122344 h 4364940"/>
              <a:gd name="connsiteX2-863" fmla="*/ 8410099 w 8546253"/>
              <a:gd name="connsiteY2-864" fmla="*/ 41383 h 4364940"/>
              <a:gd name="connsiteX3-865" fmla="*/ 103507 w 8546253"/>
              <a:gd name="connsiteY3-866" fmla="*/ 41383 h 4364940"/>
              <a:gd name="connsiteX4-867" fmla="*/ 6669 w 8546253"/>
              <a:gd name="connsiteY4-868" fmla="*/ 142187 h 4364940"/>
              <a:gd name="connsiteX5-869" fmla="*/ 6669 w 8546253"/>
              <a:gd name="connsiteY5-870" fmla="*/ 4254608 h 4364940"/>
              <a:gd name="connsiteX6-871" fmla="*/ 99538 w 8546253"/>
              <a:gd name="connsiteY6-872" fmla="*/ 4356208 h 4364940"/>
              <a:gd name="connsiteX7-873" fmla="*/ 6596381 w 8546253"/>
              <a:gd name="connsiteY7-874" fmla="*/ 4356207 h 4364940"/>
              <a:gd name="connsiteX0-875" fmla="*/ 8539481 w 8559747"/>
              <a:gd name="connsiteY0-876" fmla="*/ 3162407 h 4364940"/>
              <a:gd name="connsiteX1-877" fmla="*/ 8539481 w 8559747"/>
              <a:gd name="connsiteY1-878" fmla="*/ 122344 h 4364940"/>
              <a:gd name="connsiteX2-879" fmla="*/ 8410099 w 8559747"/>
              <a:gd name="connsiteY2-880" fmla="*/ 41383 h 4364940"/>
              <a:gd name="connsiteX3-881" fmla="*/ 103507 w 8559747"/>
              <a:gd name="connsiteY3-882" fmla="*/ 41383 h 4364940"/>
              <a:gd name="connsiteX4-883" fmla="*/ 6669 w 8559747"/>
              <a:gd name="connsiteY4-884" fmla="*/ 142187 h 4364940"/>
              <a:gd name="connsiteX5-885" fmla="*/ 6669 w 8559747"/>
              <a:gd name="connsiteY5-886" fmla="*/ 4254608 h 4364940"/>
              <a:gd name="connsiteX6-887" fmla="*/ 99538 w 8559747"/>
              <a:gd name="connsiteY6-888" fmla="*/ 4356208 h 4364940"/>
              <a:gd name="connsiteX7-889" fmla="*/ 6596381 w 8559747"/>
              <a:gd name="connsiteY7-890" fmla="*/ 4356207 h 4364940"/>
              <a:gd name="connsiteX0-891" fmla="*/ 8539481 w 8582766"/>
              <a:gd name="connsiteY0-892" fmla="*/ 3162407 h 4364940"/>
              <a:gd name="connsiteX1-893" fmla="*/ 8539481 w 8582766"/>
              <a:gd name="connsiteY1-894" fmla="*/ 122344 h 4364940"/>
              <a:gd name="connsiteX2-895" fmla="*/ 8410099 w 8582766"/>
              <a:gd name="connsiteY2-896" fmla="*/ 41383 h 4364940"/>
              <a:gd name="connsiteX3-897" fmla="*/ 103507 w 8582766"/>
              <a:gd name="connsiteY3-898" fmla="*/ 41383 h 4364940"/>
              <a:gd name="connsiteX4-899" fmla="*/ 6669 w 8582766"/>
              <a:gd name="connsiteY4-900" fmla="*/ 142187 h 4364940"/>
              <a:gd name="connsiteX5-901" fmla="*/ 6669 w 8582766"/>
              <a:gd name="connsiteY5-902" fmla="*/ 4254608 h 4364940"/>
              <a:gd name="connsiteX6-903" fmla="*/ 99538 w 8582766"/>
              <a:gd name="connsiteY6-904" fmla="*/ 4356208 h 4364940"/>
              <a:gd name="connsiteX7-905" fmla="*/ 6596381 w 8582766"/>
              <a:gd name="connsiteY7-906" fmla="*/ 4356207 h 4364940"/>
              <a:gd name="connsiteX0-907" fmla="*/ 8539481 w 8628010"/>
              <a:gd name="connsiteY0-908" fmla="*/ 3162407 h 4364940"/>
              <a:gd name="connsiteX1-909" fmla="*/ 8539481 w 8628010"/>
              <a:gd name="connsiteY1-910" fmla="*/ 122344 h 4364940"/>
              <a:gd name="connsiteX2-911" fmla="*/ 8455343 w 8628010"/>
              <a:gd name="connsiteY2-912" fmla="*/ 41383 h 4364940"/>
              <a:gd name="connsiteX3-913" fmla="*/ 103507 w 8628010"/>
              <a:gd name="connsiteY3-914" fmla="*/ 41383 h 4364940"/>
              <a:gd name="connsiteX4-915" fmla="*/ 6669 w 8628010"/>
              <a:gd name="connsiteY4-916" fmla="*/ 142187 h 4364940"/>
              <a:gd name="connsiteX5-917" fmla="*/ 6669 w 8628010"/>
              <a:gd name="connsiteY5-918" fmla="*/ 4254608 h 4364940"/>
              <a:gd name="connsiteX6-919" fmla="*/ 99538 w 8628010"/>
              <a:gd name="connsiteY6-920" fmla="*/ 4356208 h 4364940"/>
              <a:gd name="connsiteX7-921" fmla="*/ 6596381 w 8628010"/>
              <a:gd name="connsiteY7-922" fmla="*/ 4356207 h 4364940"/>
              <a:gd name="connsiteX0-923" fmla="*/ 8539481 w 8539481"/>
              <a:gd name="connsiteY0-924" fmla="*/ 3162407 h 4364940"/>
              <a:gd name="connsiteX1-925" fmla="*/ 8539481 w 8539481"/>
              <a:gd name="connsiteY1-926" fmla="*/ 122344 h 4364940"/>
              <a:gd name="connsiteX2-927" fmla="*/ 8455343 w 8539481"/>
              <a:gd name="connsiteY2-928" fmla="*/ 41383 h 4364940"/>
              <a:gd name="connsiteX3-929" fmla="*/ 103507 w 8539481"/>
              <a:gd name="connsiteY3-930" fmla="*/ 41383 h 4364940"/>
              <a:gd name="connsiteX4-931" fmla="*/ 6669 w 8539481"/>
              <a:gd name="connsiteY4-932" fmla="*/ 142187 h 4364940"/>
              <a:gd name="connsiteX5-933" fmla="*/ 6669 w 8539481"/>
              <a:gd name="connsiteY5-934" fmla="*/ 4254608 h 4364940"/>
              <a:gd name="connsiteX6-935" fmla="*/ 99538 w 8539481"/>
              <a:gd name="connsiteY6-936" fmla="*/ 4356208 h 4364940"/>
              <a:gd name="connsiteX7-937" fmla="*/ 6596381 w 8539481"/>
              <a:gd name="connsiteY7-938" fmla="*/ 4356207 h 4364940"/>
              <a:gd name="connsiteX0-939" fmla="*/ 8539481 w 8539481"/>
              <a:gd name="connsiteY0-940" fmla="*/ 3162407 h 4364940"/>
              <a:gd name="connsiteX1-941" fmla="*/ 8539481 w 8539481"/>
              <a:gd name="connsiteY1-942" fmla="*/ 122344 h 4364940"/>
              <a:gd name="connsiteX2-943" fmla="*/ 8455343 w 8539481"/>
              <a:gd name="connsiteY2-944" fmla="*/ 41383 h 4364940"/>
              <a:gd name="connsiteX3-945" fmla="*/ 103507 w 8539481"/>
              <a:gd name="connsiteY3-946" fmla="*/ 41383 h 4364940"/>
              <a:gd name="connsiteX4-947" fmla="*/ 6669 w 8539481"/>
              <a:gd name="connsiteY4-948" fmla="*/ 142187 h 4364940"/>
              <a:gd name="connsiteX5-949" fmla="*/ 6669 w 8539481"/>
              <a:gd name="connsiteY5-950" fmla="*/ 4254608 h 4364940"/>
              <a:gd name="connsiteX6-951" fmla="*/ 99538 w 8539481"/>
              <a:gd name="connsiteY6-952" fmla="*/ 4356208 h 4364940"/>
              <a:gd name="connsiteX7-953" fmla="*/ 6596381 w 8539481"/>
              <a:gd name="connsiteY7-954" fmla="*/ 4356207 h 4364940"/>
              <a:gd name="connsiteX0-955" fmla="*/ 8539481 w 8539481"/>
              <a:gd name="connsiteY0-956" fmla="*/ 3142511 h 4345044"/>
              <a:gd name="connsiteX1-957" fmla="*/ 8539481 w 8539481"/>
              <a:gd name="connsiteY1-958" fmla="*/ 102448 h 4345044"/>
              <a:gd name="connsiteX2-959" fmla="*/ 8455343 w 8539481"/>
              <a:gd name="connsiteY2-960" fmla="*/ 21487 h 4345044"/>
              <a:gd name="connsiteX3-961" fmla="*/ 103507 w 8539481"/>
              <a:gd name="connsiteY3-962" fmla="*/ 21487 h 4345044"/>
              <a:gd name="connsiteX4-963" fmla="*/ 6669 w 8539481"/>
              <a:gd name="connsiteY4-964" fmla="*/ 122291 h 4345044"/>
              <a:gd name="connsiteX5-965" fmla="*/ 6669 w 8539481"/>
              <a:gd name="connsiteY5-966" fmla="*/ 4234712 h 4345044"/>
              <a:gd name="connsiteX6-967" fmla="*/ 99538 w 8539481"/>
              <a:gd name="connsiteY6-968" fmla="*/ 4336312 h 4345044"/>
              <a:gd name="connsiteX7-969" fmla="*/ 6596381 w 8539481"/>
              <a:gd name="connsiteY7-970" fmla="*/ 4336311 h 4345044"/>
              <a:gd name="connsiteX0-971" fmla="*/ 8542656 w 8542656"/>
              <a:gd name="connsiteY0-972" fmla="*/ 558061 h 4345044"/>
              <a:gd name="connsiteX1-973" fmla="*/ 8539481 w 8542656"/>
              <a:gd name="connsiteY1-974" fmla="*/ 102448 h 4345044"/>
              <a:gd name="connsiteX2-975" fmla="*/ 8455343 w 8542656"/>
              <a:gd name="connsiteY2-976" fmla="*/ 21487 h 4345044"/>
              <a:gd name="connsiteX3-977" fmla="*/ 103507 w 8542656"/>
              <a:gd name="connsiteY3-978" fmla="*/ 21487 h 4345044"/>
              <a:gd name="connsiteX4-979" fmla="*/ 6669 w 8542656"/>
              <a:gd name="connsiteY4-980" fmla="*/ 122291 h 4345044"/>
              <a:gd name="connsiteX5-981" fmla="*/ 6669 w 8542656"/>
              <a:gd name="connsiteY5-982" fmla="*/ 4234712 h 4345044"/>
              <a:gd name="connsiteX6-983" fmla="*/ 99538 w 8542656"/>
              <a:gd name="connsiteY6-984" fmla="*/ 4336312 h 4345044"/>
              <a:gd name="connsiteX7-985" fmla="*/ 6596381 w 8542656"/>
              <a:gd name="connsiteY7-986" fmla="*/ 4336311 h 4345044"/>
              <a:gd name="connsiteX0-987" fmla="*/ 8542655 w 8542655"/>
              <a:gd name="connsiteY0-988" fmla="*/ 881912 h 4345044"/>
              <a:gd name="connsiteX1-989" fmla="*/ 8539481 w 8542655"/>
              <a:gd name="connsiteY1-990" fmla="*/ 102448 h 4345044"/>
              <a:gd name="connsiteX2-991" fmla="*/ 8455343 w 8542655"/>
              <a:gd name="connsiteY2-992" fmla="*/ 21487 h 4345044"/>
              <a:gd name="connsiteX3-993" fmla="*/ 103507 w 8542655"/>
              <a:gd name="connsiteY3-994" fmla="*/ 21487 h 4345044"/>
              <a:gd name="connsiteX4-995" fmla="*/ 6669 w 8542655"/>
              <a:gd name="connsiteY4-996" fmla="*/ 122291 h 4345044"/>
              <a:gd name="connsiteX5-997" fmla="*/ 6669 w 8542655"/>
              <a:gd name="connsiteY5-998" fmla="*/ 4234712 h 4345044"/>
              <a:gd name="connsiteX6-999" fmla="*/ 99538 w 8542655"/>
              <a:gd name="connsiteY6-1000" fmla="*/ 4336312 h 4345044"/>
              <a:gd name="connsiteX7-1001" fmla="*/ 6596381 w 8542655"/>
              <a:gd name="connsiteY7-1002" fmla="*/ 4336311 h 4345044"/>
              <a:gd name="connsiteX0-1003" fmla="*/ 8542655 w 8542655"/>
              <a:gd name="connsiteY0-1004" fmla="*/ 881912 h 4345837"/>
              <a:gd name="connsiteX1-1005" fmla="*/ 8539481 w 8542655"/>
              <a:gd name="connsiteY1-1006" fmla="*/ 102448 h 4345837"/>
              <a:gd name="connsiteX2-1007" fmla="*/ 8455343 w 8542655"/>
              <a:gd name="connsiteY2-1008" fmla="*/ 21487 h 4345837"/>
              <a:gd name="connsiteX3-1009" fmla="*/ 103507 w 8542655"/>
              <a:gd name="connsiteY3-1010" fmla="*/ 21487 h 4345837"/>
              <a:gd name="connsiteX4-1011" fmla="*/ 6669 w 8542655"/>
              <a:gd name="connsiteY4-1012" fmla="*/ 122291 h 4345837"/>
              <a:gd name="connsiteX5-1013" fmla="*/ 6669 w 8542655"/>
              <a:gd name="connsiteY5-1014" fmla="*/ 4234712 h 4345837"/>
              <a:gd name="connsiteX6-1015" fmla="*/ 99538 w 8542655"/>
              <a:gd name="connsiteY6-1016" fmla="*/ 4336312 h 4345837"/>
              <a:gd name="connsiteX7-1017" fmla="*/ 6882131 w 8542655"/>
              <a:gd name="connsiteY7-1018" fmla="*/ 4345837 h 4345837"/>
              <a:gd name="connsiteX0-1019" fmla="*/ 8545512 w 8545512"/>
              <a:gd name="connsiteY0-1020" fmla="*/ 881912 h 4354569"/>
              <a:gd name="connsiteX1-1021" fmla="*/ 8542338 w 8545512"/>
              <a:gd name="connsiteY1-1022" fmla="*/ 102448 h 4354569"/>
              <a:gd name="connsiteX2-1023" fmla="*/ 8458200 w 8545512"/>
              <a:gd name="connsiteY2-1024" fmla="*/ 21487 h 4354569"/>
              <a:gd name="connsiteX3-1025" fmla="*/ 106364 w 8545512"/>
              <a:gd name="connsiteY3-1026" fmla="*/ 21487 h 4354569"/>
              <a:gd name="connsiteX4-1027" fmla="*/ 9526 w 8545512"/>
              <a:gd name="connsiteY4-1028" fmla="*/ 122291 h 4354569"/>
              <a:gd name="connsiteX5-1029" fmla="*/ 9526 w 8545512"/>
              <a:gd name="connsiteY5-1030" fmla="*/ 4234712 h 4354569"/>
              <a:gd name="connsiteX6-1031" fmla="*/ 97632 w 8545512"/>
              <a:gd name="connsiteY6-1032" fmla="*/ 4345837 h 4354569"/>
              <a:gd name="connsiteX7-1033" fmla="*/ 6884988 w 8545512"/>
              <a:gd name="connsiteY7-1034" fmla="*/ 4345837 h 4354569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69" y="connsiteY7-170"/>
              </a:cxn>
            </a:cxnLst>
            <a:rect l="l" t="t" r="r" b="b"/>
            <a:pathLst>
              <a:path w="8545512" h="4354569">
                <a:moveTo>
                  <a:pt x="8545512" y="881912"/>
                </a:moveTo>
                <a:cubicBezTo>
                  <a:pt x="8544454" y="730041"/>
                  <a:pt x="8543396" y="254319"/>
                  <a:pt x="8542338" y="102448"/>
                </a:cubicBezTo>
                <a:cubicBezTo>
                  <a:pt x="8538264" y="11060"/>
                  <a:pt x="8489580" y="27942"/>
                  <a:pt x="8458200" y="21487"/>
                </a:cubicBezTo>
                <a:lnTo>
                  <a:pt x="106364" y="21487"/>
                </a:lnTo>
                <a:cubicBezTo>
                  <a:pt x="37784" y="27731"/>
                  <a:pt x="2857" y="0"/>
                  <a:pt x="9526" y="122291"/>
                </a:cubicBezTo>
                <a:lnTo>
                  <a:pt x="9526" y="4234712"/>
                </a:lnTo>
                <a:cubicBezTo>
                  <a:pt x="7144" y="4322025"/>
                  <a:pt x="0" y="4354569"/>
                  <a:pt x="97632" y="4345837"/>
                </a:cubicBezTo>
                <a:lnTo>
                  <a:pt x="6884988" y="4345837"/>
                </a:lnTo>
              </a:path>
            </a:pathLst>
          </a:custGeom>
          <a:ln w="19050">
            <a:solidFill>
              <a:srgbClr val="D5D30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prstClr val="black"/>
              </a:solidFill>
            </a:endParaRPr>
          </a:p>
        </p:txBody>
      </p:sp>
      <p:sp>
        <p:nvSpPr>
          <p:cNvPr id="10" name="Freeform 5"/>
          <p:cNvSpPr/>
          <p:nvPr userDrawn="1"/>
        </p:nvSpPr>
        <p:spPr bwMode="auto">
          <a:xfrm>
            <a:off x="10245845" y="3843104"/>
            <a:ext cx="912164" cy="1005027"/>
          </a:xfrm>
          <a:custGeom>
            <a:avLst/>
            <a:gdLst/>
            <a:ahLst/>
            <a:cxnLst>
              <a:cxn ang="0">
                <a:pos x="0" y="938"/>
              </a:cxn>
              <a:cxn ang="0">
                <a:pos x="402" y="651"/>
              </a:cxn>
              <a:cxn ang="0">
                <a:pos x="639" y="0"/>
              </a:cxn>
            </a:cxnLst>
            <a:rect l="0" t="0" r="r" b="b"/>
            <a:pathLst>
              <a:path w="639" h="938">
                <a:moveTo>
                  <a:pt x="0" y="938"/>
                </a:moveTo>
                <a:cubicBezTo>
                  <a:pt x="168" y="882"/>
                  <a:pt x="322" y="747"/>
                  <a:pt x="402" y="651"/>
                </a:cubicBezTo>
                <a:cubicBezTo>
                  <a:pt x="550" y="475"/>
                  <a:pt x="639" y="248"/>
                  <a:pt x="639" y="0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prstClr val="black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sp>
        <p:nvSpPr>
          <p:cNvPr id="11" name="Freeform 6"/>
          <p:cNvSpPr/>
          <p:nvPr userDrawn="1"/>
        </p:nvSpPr>
        <p:spPr bwMode="auto">
          <a:xfrm>
            <a:off x="10813947" y="3144085"/>
            <a:ext cx="344062" cy="699019"/>
          </a:xfrm>
          <a:custGeom>
            <a:avLst/>
            <a:gdLst/>
            <a:ahLst/>
            <a:cxnLst>
              <a:cxn ang="0">
                <a:pos x="240" y="654"/>
              </a:cxn>
              <a:cxn ang="0">
                <a:pos x="0" y="0"/>
              </a:cxn>
            </a:cxnLst>
            <a:rect l="0" t="0" r="r" b="b"/>
            <a:pathLst>
              <a:path w="240" h="654">
                <a:moveTo>
                  <a:pt x="240" y="654"/>
                </a:moveTo>
                <a:cubicBezTo>
                  <a:pt x="240" y="405"/>
                  <a:pt x="150" y="177"/>
                  <a:pt x="0" y="0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prstClr val="black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sp>
        <p:nvSpPr>
          <p:cNvPr id="12" name="Freeform 7"/>
          <p:cNvSpPr/>
          <p:nvPr userDrawn="1"/>
        </p:nvSpPr>
        <p:spPr bwMode="auto">
          <a:xfrm>
            <a:off x="8263490" y="3147085"/>
            <a:ext cx="338060" cy="696019"/>
          </a:xfrm>
          <a:custGeom>
            <a:avLst/>
            <a:gdLst/>
            <a:ahLst/>
            <a:cxnLst>
              <a:cxn ang="0">
                <a:pos x="237" y="0"/>
              </a:cxn>
              <a:cxn ang="0">
                <a:pos x="0" y="651"/>
              </a:cxn>
            </a:cxnLst>
            <a:rect l="0" t="0" r="r" b="b"/>
            <a:pathLst>
              <a:path w="237" h="651">
                <a:moveTo>
                  <a:pt x="237" y="0"/>
                </a:moveTo>
                <a:cubicBezTo>
                  <a:pt x="89" y="176"/>
                  <a:pt x="0" y="403"/>
                  <a:pt x="0" y="651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prstClr val="black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sp>
        <p:nvSpPr>
          <p:cNvPr id="13" name="Freeform 8"/>
          <p:cNvSpPr/>
          <p:nvPr userDrawn="1"/>
        </p:nvSpPr>
        <p:spPr bwMode="auto">
          <a:xfrm>
            <a:off x="8263489" y="3843105"/>
            <a:ext cx="878158" cy="1000527"/>
          </a:xfrm>
          <a:custGeom>
            <a:avLst/>
            <a:gdLst/>
            <a:ahLst/>
            <a:cxnLst>
              <a:cxn ang="0">
                <a:pos x="616" y="933"/>
              </a:cxn>
              <a:cxn ang="0">
                <a:pos x="0" y="0"/>
              </a:cxn>
            </a:cxnLst>
            <a:rect l="0" t="0" r="r" b="b"/>
            <a:pathLst>
              <a:path w="616" h="933">
                <a:moveTo>
                  <a:pt x="616" y="933"/>
                </a:moveTo>
                <a:cubicBezTo>
                  <a:pt x="254" y="778"/>
                  <a:pt x="0" y="419"/>
                  <a:pt x="0" y="0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prstClr val="black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sp>
        <p:nvSpPr>
          <p:cNvPr id="14" name="Freeform 9"/>
          <p:cNvSpPr/>
          <p:nvPr userDrawn="1"/>
        </p:nvSpPr>
        <p:spPr bwMode="auto">
          <a:xfrm>
            <a:off x="9709749" y="2758575"/>
            <a:ext cx="1104199" cy="38551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74" y="360"/>
              </a:cxn>
            </a:cxnLst>
            <a:rect l="0" t="0" r="r" b="b"/>
            <a:pathLst>
              <a:path w="774" h="360">
                <a:moveTo>
                  <a:pt x="0" y="0"/>
                </a:moveTo>
                <a:cubicBezTo>
                  <a:pt x="311" y="0"/>
                  <a:pt x="588" y="140"/>
                  <a:pt x="774" y="360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prstClr val="black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sp>
        <p:nvSpPr>
          <p:cNvPr id="15" name="Freeform 10"/>
          <p:cNvSpPr/>
          <p:nvPr userDrawn="1"/>
        </p:nvSpPr>
        <p:spPr bwMode="auto">
          <a:xfrm>
            <a:off x="8601549" y="2758575"/>
            <a:ext cx="1108200" cy="388510"/>
          </a:xfrm>
          <a:custGeom>
            <a:avLst/>
            <a:gdLst/>
            <a:ahLst/>
            <a:cxnLst>
              <a:cxn ang="0">
                <a:pos x="777" y="0"/>
              </a:cxn>
              <a:cxn ang="0">
                <a:pos x="0" y="363"/>
              </a:cxn>
            </a:cxnLst>
            <a:rect l="0" t="0" r="r" b="b"/>
            <a:pathLst>
              <a:path w="777" h="363">
                <a:moveTo>
                  <a:pt x="777" y="0"/>
                </a:moveTo>
                <a:cubicBezTo>
                  <a:pt x="465" y="0"/>
                  <a:pt x="186" y="141"/>
                  <a:pt x="0" y="363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prstClr val="black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sp>
        <p:nvSpPr>
          <p:cNvPr id="16" name="Freeform 11"/>
          <p:cNvSpPr/>
          <p:nvPr userDrawn="1"/>
        </p:nvSpPr>
        <p:spPr bwMode="auto">
          <a:xfrm>
            <a:off x="8601549" y="3147085"/>
            <a:ext cx="2001" cy="150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prstClr val="black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auto">
          <a:xfrm>
            <a:off x="8601549" y="3147085"/>
            <a:ext cx="442080" cy="127504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10" y="120"/>
              </a:cxn>
            </a:cxnLst>
            <a:rect l="0" t="0" r="r" b="b"/>
            <a:pathLst>
              <a:path w="310" h="120">
                <a:moveTo>
                  <a:pt x="0" y="0"/>
                </a:moveTo>
                <a:cubicBezTo>
                  <a:pt x="86" y="49"/>
                  <a:pt x="191" y="90"/>
                  <a:pt x="310" y="120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prstClr val="black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sp>
        <p:nvSpPr>
          <p:cNvPr id="18" name="Freeform 13"/>
          <p:cNvSpPr/>
          <p:nvPr userDrawn="1"/>
        </p:nvSpPr>
        <p:spPr bwMode="auto">
          <a:xfrm>
            <a:off x="9709748" y="3273088"/>
            <a:ext cx="666121" cy="61502"/>
          </a:xfrm>
          <a:custGeom>
            <a:avLst/>
            <a:gdLst/>
            <a:ahLst/>
            <a:cxnLst>
              <a:cxn ang="0">
                <a:pos x="466" y="0"/>
              </a:cxn>
              <a:cxn ang="0">
                <a:pos x="0" y="57"/>
              </a:cxn>
            </a:cxnLst>
            <a:rect l="0" t="0" r="r" b="b"/>
            <a:pathLst>
              <a:path w="466" h="57">
                <a:moveTo>
                  <a:pt x="466" y="0"/>
                </a:moveTo>
                <a:cubicBezTo>
                  <a:pt x="327" y="36"/>
                  <a:pt x="168" y="56"/>
                  <a:pt x="0" y="57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prstClr val="black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sp>
        <p:nvSpPr>
          <p:cNvPr id="19" name="Freeform 14"/>
          <p:cNvSpPr/>
          <p:nvPr userDrawn="1"/>
        </p:nvSpPr>
        <p:spPr bwMode="auto">
          <a:xfrm>
            <a:off x="10375869" y="3144086"/>
            <a:ext cx="438078" cy="129003"/>
          </a:xfrm>
          <a:custGeom>
            <a:avLst/>
            <a:gdLst/>
            <a:ahLst/>
            <a:cxnLst>
              <a:cxn ang="0">
                <a:pos x="0" y="121"/>
              </a:cxn>
              <a:cxn ang="0">
                <a:pos x="308" y="0"/>
              </a:cxn>
            </a:cxnLst>
            <a:rect l="0" t="0" r="r" b="b"/>
            <a:pathLst>
              <a:path w="308" h="121">
                <a:moveTo>
                  <a:pt x="0" y="121"/>
                </a:moveTo>
                <a:cubicBezTo>
                  <a:pt x="119" y="91"/>
                  <a:pt x="223" y="50"/>
                  <a:pt x="308" y="0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prstClr val="black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sp>
        <p:nvSpPr>
          <p:cNvPr id="20" name="Freeform 15"/>
          <p:cNvSpPr/>
          <p:nvPr userDrawn="1"/>
        </p:nvSpPr>
        <p:spPr bwMode="auto">
          <a:xfrm>
            <a:off x="8601549" y="3147085"/>
            <a:ext cx="2001" cy="150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prstClr val="black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sp>
        <p:nvSpPr>
          <p:cNvPr id="21" name="Freeform 16"/>
          <p:cNvSpPr/>
          <p:nvPr userDrawn="1"/>
        </p:nvSpPr>
        <p:spPr bwMode="auto">
          <a:xfrm>
            <a:off x="9043630" y="3274589"/>
            <a:ext cx="666119" cy="60002"/>
          </a:xfrm>
          <a:custGeom>
            <a:avLst/>
            <a:gdLst/>
            <a:ahLst/>
            <a:cxnLst>
              <a:cxn ang="0">
                <a:pos x="467" y="55"/>
              </a:cxn>
              <a:cxn ang="0">
                <a:pos x="463" y="55"/>
              </a:cxn>
              <a:cxn ang="0">
                <a:pos x="0" y="0"/>
              </a:cxn>
            </a:cxnLst>
            <a:rect l="0" t="0" r="r" b="b"/>
            <a:pathLst>
              <a:path w="467" h="55">
                <a:moveTo>
                  <a:pt x="467" y="55"/>
                </a:moveTo>
                <a:cubicBezTo>
                  <a:pt x="463" y="55"/>
                  <a:pt x="463" y="55"/>
                  <a:pt x="463" y="55"/>
                </a:cubicBezTo>
                <a:cubicBezTo>
                  <a:pt x="296" y="55"/>
                  <a:pt x="139" y="35"/>
                  <a:pt x="0" y="0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prstClr val="black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sp>
        <p:nvSpPr>
          <p:cNvPr id="22" name="Freeform 17"/>
          <p:cNvSpPr/>
          <p:nvPr userDrawn="1"/>
        </p:nvSpPr>
        <p:spPr bwMode="auto">
          <a:xfrm>
            <a:off x="8601549" y="4410120"/>
            <a:ext cx="440079" cy="130504"/>
          </a:xfrm>
          <a:custGeom>
            <a:avLst/>
            <a:gdLst/>
            <a:ahLst/>
            <a:cxnLst>
              <a:cxn ang="0">
                <a:pos x="309" y="0"/>
              </a:cxn>
              <a:cxn ang="0">
                <a:pos x="0" y="122"/>
              </a:cxn>
            </a:cxnLst>
            <a:rect l="0" t="0" r="r" b="b"/>
            <a:pathLst>
              <a:path w="309" h="122">
                <a:moveTo>
                  <a:pt x="309" y="0"/>
                </a:moveTo>
                <a:cubicBezTo>
                  <a:pt x="190" y="30"/>
                  <a:pt x="85" y="72"/>
                  <a:pt x="0" y="122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prstClr val="black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sp>
        <p:nvSpPr>
          <p:cNvPr id="23" name="Freeform 18"/>
          <p:cNvSpPr/>
          <p:nvPr userDrawn="1"/>
        </p:nvSpPr>
        <p:spPr bwMode="auto">
          <a:xfrm>
            <a:off x="9041629" y="4368118"/>
            <a:ext cx="300054" cy="42001"/>
          </a:xfrm>
          <a:custGeom>
            <a:avLst/>
            <a:gdLst/>
            <a:ahLst/>
            <a:cxnLst>
              <a:cxn ang="0">
                <a:pos x="0" y="40"/>
              </a:cxn>
              <a:cxn ang="0">
                <a:pos x="210" y="0"/>
              </a:cxn>
            </a:cxnLst>
            <a:rect l="0" t="0" r="r" b="b"/>
            <a:pathLst>
              <a:path w="210" h="40">
                <a:moveTo>
                  <a:pt x="0" y="40"/>
                </a:moveTo>
                <a:cubicBezTo>
                  <a:pt x="66" y="23"/>
                  <a:pt x="137" y="10"/>
                  <a:pt x="210" y="0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prstClr val="black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sp>
        <p:nvSpPr>
          <p:cNvPr id="24" name="Freeform 19"/>
          <p:cNvSpPr/>
          <p:nvPr userDrawn="1"/>
        </p:nvSpPr>
        <p:spPr bwMode="auto">
          <a:xfrm>
            <a:off x="10037808" y="4363618"/>
            <a:ext cx="340061" cy="4650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38" y="43"/>
              </a:cxn>
            </a:cxnLst>
            <a:rect l="0" t="0" r="r" b="b"/>
            <a:pathLst>
              <a:path w="238" h="43">
                <a:moveTo>
                  <a:pt x="0" y="0"/>
                </a:moveTo>
                <a:cubicBezTo>
                  <a:pt x="84" y="9"/>
                  <a:pt x="164" y="24"/>
                  <a:pt x="238" y="43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prstClr val="black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sp>
        <p:nvSpPr>
          <p:cNvPr id="25" name="Freeform 20"/>
          <p:cNvSpPr/>
          <p:nvPr userDrawn="1"/>
        </p:nvSpPr>
        <p:spPr bwMode="auto">
          <a:xfrm>
            <a:off x="10377869" y="4410119"/>
            <a:ext cx="436079" cy="127504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06" y="119"/>
              </a:cxn>
            </a:cxnLst>
            <a:rect l="0" t="0" r="r" b="b"/>
            <a:pathLst>
              <a:path w="306" h="119">
                <a:moveTo>
                  <a:pt x="0" y="0"/>
                </a:moveTo>
                <a:cubicBezTo>
                  <a:pt x="117" y="30"/>
                  <a:pt x="221" y="70"/>
                  <a:pt x="306" y="119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prstClr val="black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sp>
        <p:nvSpPr>
          <p:cNvPr id="26" name="Freeform 21"/>
          <p:cNvSpPr/>
          <p:nvPr userDrawn="1"/>
        </p:nvSpPr>
        <p:spPr bwMode="auto">
          <a:xfrm>
            <a:off x="9041628" y="4410119"/>
            <a:ext cx="216039" cy="321009"/>
          </a:xfrm>
          <a:custGeom>
            <a:avLst/>
            <a:gdLst/>
            <a:ahLst/>
            <a:cxnLst>
              <a:cxn ang="0">
                <a:pos x="151" y="299"/>
              </a:cxn>
              <a:cxn ang="0">
                <a:pos x="0" y="0"/>
              </a:cxn>
            </a:cxnLst>
            <a:rect l="0" t="0" r="r" b="b"/>
            <a:pathLst>
              <a:path w="151" h="299">
                <a:moveTo>
                  <a:pt x="151" y="299"/>
                </a:moveTo>
                <a:cubicBezTo>
                  <a:pt x="91" y="219"/>
                  <a:pt x="39" y="118"/>
                  <a:pt x="0" y="0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prstClr val="black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sp>
        <p:nvSpPr>
          <p:cNvPr id="27" name="Freeform 22"/>
          <p:cNvSpPr/>
          <p:nvPr userDrawn="1"/>
        </p:nvSpPr>
        <p:spPr bwMode="auto">
          <a:xfrm>
            <a:off x="8927609" y="3274589"/>
            <a:ext cx="116021" cy="568515"/>
          </a:xfrm>
          <a:custGeom>
            <a:avLst/>
            <a:gdLst/>
            <a:ahLst/>
            <a:cxnLst>
              <a:cxn ang="0">
                <a:pos x="82" y="0"/>
              </a:cxn>
              <a:cxn ang="0">
                <a:pos x="0" y="531"/>
              </a:cxn>
            </a:cxnLst>
            <a:rect l="0" t="0" r="r" b="b"/>
            <a:pathLst>
              <a:path w="82" h="531">
                <a:moveTo>
                  <a:pt x="82" y="0"/>
                </a:moveTo>
                <a:cubicBezTo>
                  <a:pt x="30" y="154"/>
                  <a:pt x="0" y="336"/>
                  <a:pt x="0" y="531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prstClr val="black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sp>
        <p:nvSpPr>
          <p:cNvPr id="28" name="Freeform 23"/>
          <p:cNvSpPr/>
          <p:nvPr userDrawn="1"/>
        </p:nvSpPr>
        <p:spPr bwMode="auto">
          <a:xfrm>
            <a:off x="10143828" y="4410119"/>
            <a:ext cx="234042" cy="337510"/>
          </a:xfrm>
          <a:custGeom>
            <a:avLst/>
            <a:gdLst/>
            <a:ahLst/>
            <a:cxnLst>
              <a:cxn ang="0">
                <a:pos x="164" y="0"/>
              </a:cxn>
              <a:cxn ang="0">
                <a:pos x="0" y="315"/>
              </a:cxn>
            </a:cxnLst>
            <a:rect l="0" t="0" r="r" b="b"/>
            <a:pathLst>
              <a:path w="164" h="315">
                <a:moveTo>
                  <a:pt x="164" y="0"/>
                </a:moveTo>
                <a:cubicBezTo>
                  <a:pt x="122" y="125"/>
                  <a:pt x="66" y="233"/>
                  <a:pt x="0" y="315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prstClr val="black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sp>
        <p:nvSpPr>
          <p:cNvPr id="29" name="Freeform 24"/>
          <p:cNvSpPr/>
          <p:nvPr userDrawn="1"/>
        </p:nvSpPr>
        <p:spPr bwMode="auto">
          <a:xfrm>
            <a:off x="9043630" y="2758575"/>
            <a:ext cx="666119" cy="516014"/>
          </a:xfrm>
          <a:custGeom>
            <a:avLst/>
            <a:gdLst/>
            <a:ahLst/>
            <a:cxnLst>
              <a:cxn ang="0">
                <a:pos x="467" y="0"/>
              </a:cxn>
              <a:cxn ang="0">
                <a:pos x="0" y="483"/>
              </a:cxn>
            </a:cxnLst>
            <a:rect l="0" t="0" r="r" b="b"/>
            <a:pathLst>
              <a:path w="467" h="483">
                <a:moveTo>
                  <a:pt x="467" y="0"/>
                </a:moveTo>
                <a:cubicBezTo>
                  <a:pt x="269" y="0"/>
                  <a:pt x="96" y="193"/>
                  <a:pt x="0" y="483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prstClr val="black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sp>
        <p:nvSpPr>
          <p:cNvPr id="30" name="Freeform 25"/>
          <p:cNvSpPr/>
          <p:nvPr userDrawn="1"/>
        </p:nvSpPr>
        <p:spPr bwMode="auto">
          <a:xfrm>
            <a:off x="9709748" y="2758575"/>
            <a:ext cx="666121" cy="51451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466" y="481"/>
              </a:cxn>
            </a:cxnLst>
            <a:rect l="0" t="0" r="r" b="b"/>
            <a:pathLst>
              <a:path w="466" h="481">
                <a:moveTo>
                  <a:pt x="0" y="0"/>
                </a:moveTo>
                <a:cubicBezTo>
                  <a:pt x="197" y="0"/>
                  <a:pt x="370" y="193"/>
                  <a:pt x="466" y="481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prstClr val="black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sp>
        <p:nvSpPr>
          <p:cNvPr id="31" name="Freeform 26"/>
          <p:cNvSpPr/>
          <p:nvPr userDrawn="1"/>
        </p:nvSpPr>
        <p:spPr bwMode="auto">
          <a:xfrm>
            <a:off x="10377869" y="3843104"/>
            <a:ext cx="114021" cy="567015"/>
          </a:xfrm>
          <a:custGeom>
            <a:avLst/>
            <a:gdLst/>
            <a:ahLst/>
            <a:cxnLst>
              <a:cxn ang="0">
                <a:pos x="0" y="529"/>
              </a:cxn>
              <a:cxn ang="0">
                <a:pos x="80" y="0"/>
              </a:cxn>
            </a:cxnLst>
            <a:rect l="0" t="0" r="r" b="b"/>
            <a:pathLst>
              <a:path w="80" h="529">
                <a:moveTo>
                  <a:pt x="0" y="529"/>
                </a:moveTo>
                <a:cubicBezTo>
                  <a:pt x="51" y="375"/>
                  <a:pt x="80" y="194"/>
                  <a:pt x="80" y="0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prstClr val="black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sp>
        <p:nvSpPr>
          <p:cNvPr id="32" name="Freeform 27"/>
          <p:cNvSpPr/>
          <p:nvPr userDrawn="1"/>
        </p:nvSpPr>
        <p:spPr bwMode="auto">
          <a:xfrm>
            <a:off x="10375870" y="3273089"/>
            <a:ext cx="116021" cy="57001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82" y="533"/>
              </a:cxn>
            </a:cxnLst>
            <a:rect l="0" t="0" r="r" b="b"/>
            <a:pathLst>
              <a:path w="82" h="533">
                <a:moveTo>
                  <a:pt x="0" y="0"/>
                </a:moveTo>
                <a:cubicBezTo>
                  <a:pt x="52" y="155"/>
                  <a:pt x="82" y="337"/>
                  <a:pt x="82" y="533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prstClr val="black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sp>
        <p:nvSpPr>
          <p:cNvPr id="33" name="Freeform 28"/>
          <p:cNvSpPr/>
          <p:nvPr userDrawn="1"/>
        </p:nvSpPr>
        <p:spPr bwMode="auto">
          <a:xfrm>
            <a:off x="8927609" y="3843104"/>
            <a:ext cx="114020" cy="567015"/>
          </a:xfrm>
          <a:custGeom>
            <a:avLst/>
            <a:gdLst/>
            <a:ahLst/>
            <a:cxnLst>
              <a:cxn ang="0">
                <a:pos x="80" y="529"/>
              </a:cxn>
              <a:cxn ang="0">
                <a:pos x="0" y="0"/>
              </a:cxn>
            </a:cxnLst>
            <a:rect l="0" t="0" r="r" b="b"/>
            <a:pathLst>
              <a:path w="80" h="529">
                <a:moveTo>
                  <a:pt x="80" y="529"/>
                </a:moveTo>
                <a:cubicBezTo>
                  <a:pt x="29" y="375"/>
                  <a:pt x="0" y="194"/>
                  <a:pt x="0" y="0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prstClr val="black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sp>
        <p:nvSpPr>
          <p:cNvPr id="34" name="Line 29"/>
          <p:cNvSpPr>
            <a:spLocks noChangeShapeType="1"/>
          </p:cNvSpPr>
          <p:nvPr userDrawn="1"/>
        </p:nvSpPr>
        <p:spPr bwMode="auto">
          <a:xfrm>
            <a:off x="8263489" y="3843104"/>
            <a:ext cx="664120" cy="1501"/>
          </a:xfrm>
          <a:prstGeom prst="line">
            <a:avLst/>
          </a:pr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prstClr val="black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sp>
        <p:nvSpPr>
          <p:cNvPr id="35" name="Line 30"/>
          <p:cNvSpPr>
            <a:spLocks noChangeShapeType="1"/>
          </p:cNvSpPr>
          <p:nvPr userDrawn="1"/>
        </p:nvSpPr>
        <p:spPr bwMode="auto">
          <a:xfrm>
            <a:off x="10029807" y="3843104"/>
            <a:ext cx="462084" cy="1501"/>
          </a:xfrm>
          <a:prstGeom prst="line">
            <a:avLst/>
          </a:pr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prstClr val="black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sp>
        <p:nvSpPr>
          <p:cNvPr id="36" name="Line 31"/>
          <p:cNvSpPr>
            <a:spLocks noChangeShapeType="1"/>
          </p:cNvSpPr>
          <p:nvPr userDrawn="1"/>
        </p:nvSpPr>
        <p:spPr bwMode="auto">
          <a:xfrm flipH="1">
            <a:off x="10491891" y="3843104"/>
            <a:ext cx="666119" cy="1501"/>
          </a:xfrm>
          <a:prstGeom prst="line">
            <a:avLst/>
          </a:pr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prstClr val="black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sp>
        <p:nvSpPr>
          <p:cNvPr id="37" name="Line 32"/>
          <p:cNvSpPr>
            <a:spLocks noChangeShapeType="1"/>
          </p:cNvSpPr>
          <p:nvPr userDrawn="1"/>
        </p:nvSpPr>
        <p:spPr bwMode="auto">
          <a:xfrm>
            <a:off x="8927609" y="3843104"/>
            <a:ext cx="492089" cy="1501"/>
          </a:xfrm>
          <a:prstGeom prst="line">
            <a:avLst/>
          </a:pr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prstClr val="black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sp>
        <p:nvSpPr>
          <p:cNvPr id="38" name="Line 33"/>
          <p:cNvSpPr>
            <a:spLocks noChangeShapeType="1"/>
          </p:cNvSpPr>
          <p:nvPr userDrawn="1"/>
        </p:nvSpPr>
        <p:spPr bwMode="auto">
          <a:xfrm>
            <a:off x="9709749" y="3334591"/>
            <a:ext cx="2001" cy="405011"/>
          </a:xfrm>
          <a:prstGeom prst="line">
            <a:avLst/>
          </a:pr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prstClr val="black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sp>
        <p:nvSpPr>
          <p:cNvPr id="39" name="Line 34"/>
          <p:cNvSpPr>
            <a:spLocks noChangeShapeType="1"/>
          </p:cNvSpPr>
          <p:nvPr userDrawn="1"/>
        </p:nvSpPr>
        <p:spPr bwMode="auto">
          <a:xfrm>
            <a:off x="9709749" y="2758575"/>
            <a:ext cx="2001" cy="576016"/>
          </a:xfrm>
          <a:prstGeom prst="line">
            <a:avLst/>
          </a:pr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prstClr val="black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sp>
        <p:nvSpPr>
          <p:cNvPr id="40" name="Freeform 39"/>
          <p:cNvSpPr/>
          <p:nvPr userDrawn="1"/>
        </p:nvSpPr>
        <p:spPr bwMode="auto">
          <a:xfrm>
            <a:off x="10135826" y="4741629"/>
            <a:ext cx="8001" cy="60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6" y="6"/>
              </a:cxn>
            </a:cxnLst>
            <a:rect l="0" t="0" r="r" b="b"/>
            <a:pathLst>
              <a:path w="6" h="6">
                <a:moveTo>
                  <a:pt x="0" y="0"/>
                </a:moveTo>
                <a:cubicBezTo>
                  <a:pt x="2" y="2"/>
                  <a:pt x="4" y="4"/>
                  <a:pt x="6" y="6"/>
                </a:cubicBezTo>
              </a:path>
            </a:pathLst>
          </a:custGeom>
          <a:noFill/>
          <a:ln w="19050" cap="rnd">
            <a:solidFill>
              <a:srgbClr val="D5D30F"/>
            </a:solidFill>
            <a:prstDash val="solid"/>
            <a:round/>
          </a:ln>
        </p:spPr>
        <p:txBody>
          <a:bodyPr/>
          <a:lstStyle/>
          <a:p>
            <a:pPr defTabSz="4318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prstClr val="black"/>
              </a:solidFill>
              <a:latin typeface="Arial" panose="020B0604020202090204" pitchFamily="34" charset="0"/>
              <a:ea typeface="MS PGothic" pitchFamily="34" charset="-128"/>
              <a:cs typeface="Arial" panose="020B0604020202090204" pitchFamily="34" charset="0"/>
            </a:endParaRPr>
          </a:p>
        </p:txBody>
      </p:sp>
      <p:grpSp>
        <p:nvGrpSpPr>
          <p:cNvPr id="41" name="Group 60"/>
          <p:cNvGrpSpPr/>
          <p:nvPr userDrawn="1"/>
        </p:nvGrpSpPr>
        <p:grpSpPr bwMode="auto">
          <a:xfrm>
            <a:off x="8881599" y="3739602"/>
            <a:ext cx="1632294" cy="1932052"/>
            <a:chOff x="7048500" y="3957638"/>
            <a:chExt cx="1295400" cy="2044699"/>
          </a:xfrm>
        </p:grpSpPr>
        <p:sp>
          <p:nvSpPr>
            <p:cNvPr id="42" name="Freeform 35"/>
            <p:cNvSpPr/>
            <p:nvPr userDrawn="1"/>
          </p:nvSpPr>
          <p:spPr bwMode="auto">
            <a:xfrm>
              <a:off x="7408863" y="4343400"/>
              <a:ext cx="63500" cy="193675"/>
            </a:xfrm>
            <a:custGeom>
              <a:avLst/>
              <a:gdLst/>
              <a:ahLst/>
              <a:cxnLst>
                <a:cxn ang="0">
                  <a:pos x="56" y="0"/>
                </a:cxn>
                <a:cxn ang="0">
                  <a:pos x="0" y="171"/>
                </a:cxn>
              </a:cxnLst>
              <a:rect l="0" t="0" r="r" b="b"/>
              <a:pathLst>
                <a:path w="56" h="171">
                  <a:moveTo>
                    <a:pt x="56" y="0"/>
                  </a:moveTo>
                  <a:cubicBezTo>
                    <a:pt x="25" y="46"/>
                    <a:pt x="5" y="104"/>
                    <a:pt x="0" y="171"/>
                  </a:cubicBezTo>
                </a:path>
              </a:pathLst>
            </a:custGeom>
            <a:noFill/>
            <a:ln w="19050" cap="rnd">
              <a:solidFill>
                <a:srgbClr val="D5D30F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700">
                <a:solidFill>
                  <a:prstClr val="black"/>
                </a:solidFill>
                <a:latin typeface="Arial" panose="020B0604020202090204" pitchFamily="34" charset="0"/>
                <a:ea typeface="MS PGothic" pitchFamily="34" charset="-128"/>
                <a:cs typeface="Arial" panose="020B0604020202090204" pitchFamily="34" charset="0"/>
              </a:endParaRPr>
            </a:p>
          </p:txBody>
        </p:sp>
        <p:sp>
          <p:nvSpPr>
            <p:cNvPr id="43" name="Freeform 36"/>
            <p:cNvSpPr/>
            <p:nvPr userDrawn="1"/>
          </p:nvSpPr>
          <p:spPr bwMode="auto">
            <a:xfrm>
              <a:off x="7254875" y="5006974"/>
              <a:ext cx="92075" cy="119063"/>
            </a:xfrm>
            <a:custGeom>
              <a:avLst/>
              <a:gdLst/>
              <a:ahLst/>
              <a:cxnLst>
                <a:cxn ang="0">
                  <a:pos x="0" y="105"/>
                </a:cxn>
                <a:cxn ang="0">
                  <a:pos x="81" y="0"/>
                </a:cxn>
              </a:cxnLst>
              <a:rect l="0" t="0" r="r" b="b"/>
              <a:pathLst>
                <a:path w="81" h="105">
                  <a:moveTo>
                    <a:pt x="0" y="105"/>
                  </a:moveTo>
                  <a:cubicBezTo>
                    <a:pt x="23" y="66"/>
                    <a:pt x="50" y="30"/>
                    <a:pt x="81" y="0"/>
                  </a:cubicBezTo>
                </a:path>
              </a:pathLst>
            </a:custGeom>
            <a:noFill/>
            <a:ln w="19050" cap="rnd">
              <a:solidFill>
                <a:srgbClr val="D5D30F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700">
                <a:solidFill>
                  <a:prstClr val="black"/>
                </a:solidFill>
                <a:latin typeface="Arial" panose="020B0604020202090204" pitchFamily="34" charset="0"/>
                <a:ea typeface="MS PGothic" pitchFamily="34" charset="-128"/>
                <a:cs typeface="Arial" panose="020B0604020202090204" pitchFamily="34" charset="0"/>
              </a:endParaRPr>
            </a:p>
          </p:txBody>
        </p:sp>
        <p:sp>
          <p:nvSpPr>
            <p:cNvPr id="44" name="Freeform 37"/>
            <p:cNvSpPr/>
            <p:nvPr userDrawn="1"/>
          </p:nvSpPr>
          <p:spPr bwMode="auto">
            <a:xfrm>
              <a:off x="7408863" y="4537075"/>
              <a:ext cx="4762" cy="85725"/>
            </a:xfrm>
            <a:custGeom>
              <a:avLst/>
              <a:gdLst/>
              <a:ahLst/>
              <a:cxnLst>
                <a:cxn ang="0">
                  <a:pos x="5" y="75"/>
                </a:cxn>
                <a:cxn ang="0">
                  <a:pos x="0" y="27"/>
                </a:cxn>
                <a:cxn ang="0">
                  <a:pos x="1" y="0"/>
                </a:cxn>
              </a:cxnLst>
              <a:rect l="0" t="0" r="r" b="b"/>
              <a:pathLst>
                <a:path w="5" h="75">
                  <a:moveTo>
                    <a:pt x="5" y="75"/>
                  </a:moveTo>
                  <a:cubicBezTo>
                    <a:pt x="2" y="59"/>
                    <a:pt x="0" y="43"/>
                    <a:pt x="0" y="27"/>
                  </a:cubicBezTo>
                  <a:cubicBezTo>
                    <a:pt x="0" y="18"/>
                    <a:pt x="1" y="9"/>
                    <a:pt x="1" y="0"/>
                  </a:cubicBezTo>
                </a:path>
              </a:pathLst>
            </a:custGeom>
            <a:noFill/>
            <a:ln w="19050" cap="rnd">
              <a:solidFill>
                <a:srgbClr val="D5D30F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700">
                <a:solidFill>
                  <a:prstClr val="black"/>
                </a:solidFill>
                <a:latin typeface="Arial" panose="020B0604020202090204" pitchFamily="34" charset="0"/>
                <a:ea typeface="MS PGothic" pitchFamily="34" charset="-128"/>
                <a:cs typeface="Arial" panose="020B0604020202090204" pitchFamily="34" charset="0"/>
              </a:endParaRPr>
            </a:p>
          </p:txBody>
        </p:sp>
        <p:sp>
          <p:nvSpPr>
            <p:cNvPr id="45" name="Freeform 38"/>
            <p:cNvSpPr/>
            <p:nvPr userDrawn="1"/>
          </p:nvSpPr>
          <p:spPr bwMode="auto">
            <a:xfrm>
              <a:off x="7213600" y="5126037"/>
              <a:ext cx="41275" cy="82550"/>
            </a:xfrm>
            <a:custGeom>
              <a:avLst/>
              <a:gdLst/>
              <a:ahLst/>
              <a:cxnLst>
                <a:cxn ang="0">
                  <a:pos x="37" y="0"/>
                </a:cxn>
                <a:cxn ang="0">
                  <a:pos x="0" y="73"/>
                </a:cxn>
              </a:cxnLst>
              <a:rect l="0" t="0" r="r" b="b"/>
              <a:pathLst>
                <a:path w="37" h="73">
                  <a:moveTo>
                    <a:pt x="37" y="0"/>
                  </a:moveTo>
                  <a:cubicBezTo>
                    <a:pt x="24" y="23"/>
                    <a:pt x="11" y="48"/>
                    <a:pt x="0" y="73"/>
                  </a:cubicBezTo>
                </a:path>
              </a:pathLst>
            </a:custGeom>
            <a:noFill/>
            <a:ln w="19050" cap="rnd">
              <a:solidFill>
                <a:srgbClr val="D5D30F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700">
                <a:solidFill>
                  <a:prstClr val="black"/>
                </a:solidFill>
                <a:latin typeface="Arial" panose="020B0604020202090204" pitchFamily="34" charset="0"/>
                <a:ea typeface="MS PGothic" pitchFamily="34" charset="-128"/>
                <a:cs typeface="Arial" panose="020B0604020202090204" pitchFamily="34" charset="0"/>
              </a:endParaRPr>
            </a:p>
          </p:txBody>
        </p:sp>
        <p:sp>
          <p:nvSpPr>
            <p:cNvPr id="46" name="Freeform 40"/>
            <p:cNvSpPr/>
            <p:nvPr userDrawn="1"/>
          </p:nvSpPr>
          <p:spPr bwMode="auto">
            <a:xfrm>
              <a:off x="8050213" y="5024437"/>
              <a:ext cx="117475" cy="188912"/>
            </a:xfrm>
            <a:custGeom>
              <a:avLst/>
              <a:gdLst/>
              <a:ahLst/>
              <a:cxnLst>
                <a:cxn ang="0">
                  <a:pos x="104" y="167"/>
                </a:cxn>
                <a:cxn ang="0">
                  <a:pos x="0" y="0"/>
                </a:cxn>
              </a:cxnLst>
              <a:rect l="0" t="0" r="r" b="b"/>
              <a:pathLst>
                <a:path w="104" h="167">
                  <a:moveTo>
                    <a:pt x="104" y="167"/>
                  </a:moveTo>
                  <a:cubicBezTo>
                    <a:pt x="77" y="103"/>
                    <a:pt x="43" y="47"/>
                    <a:pt x="0" y="0"/>
                  </a:cubicBezTo>
                </a:path>
              </a:pathLst>
            </a:custGeom>
            <a:noFill/>
            <a:ln w="19050" cap="rnd">
              <a:solidFill>
                <a:srgbClr val="D5D30F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700">
                <a:solidFill>
                  <a:prstClr val="black"/>
                </a:solidFill>
                <a:latin typeface="Arial" panose="020B0604020202090204" pitchFamily="34" charset="0"/>
                <a:ea typeface="MS PGothic" pitchFamily="34" charset="-128"/>
                <a:cs typeface="Arial" panose="020B0604020202090204" pitchFamily="34" charset="0"/>
              </a:endParaRPr>
            </a:p>
          </p:txBody>
        </p:sp>
        <p:sp>
          <p:nvSpPr>
            <p:cNvPr id="47" name="Freeform 41"/>
            <p:cNvSpPr/>
            <p:nvPr userDrawn="1"/>
          </p:nvSpPr>
          <p:spPr bwMode="auto">
            <a:xfrm>
              <a:off x="7905750" y="4340225"/>
              <a:ext cx="28575" cy="50800"/>
            </a:xfrm>
            <a:custGeom>
              <a:avLst/>
              <a:gdLst/>
              <a:ahLst/>
              <a:cxnLst>
                <a:cxn ang="0">
                  <a:pos x="26" y="45"/>
                </a:cxn>
                <a:cxn ang="0">
                  <a:pos x="0" y="0"/>
                </a:cxn>
              </a:cxnLst>
              <a:rect l="0" t="0" r="r" b="b"/>
              <a:pathLst>
                <a:path w="26" h="45">
                  <a:moveTo>
                    <a:pt x="26" y="45"/>
                  </a:moveTo>
                  <a:cubicBezTo>
                    <a:pt x="18" y="29"/>
                    <a:pt x="10" y="14"/>
                    <a:pt x="0" y="0"/>
                  </a:cubicBezTo>
                </a:path>
              </a:pathLst>
            </a:custGeom>
            <a:noFill/>
            <a:ln w="19050" cap="rnd">
              <a:solidFill>
                <a:srgbClr val="D5D30F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700">
                <a:solidFill>
                  <a:prstClr val="black"/>
                </a:solidFill>
                <a:latin typeface="Arial" panose="020B0604020202090204" pitchFamily="34" charset="0"/>
                <a:ea typeface="MS PGothic" pitchFamily="34" charset="-128"/>
                <a:cs typeface="Arial" panose="020B0604020202090204" pitchFamily="34" charset="0"/>
              </a:endParaRPr>
            </a:p>
          </p:txBody>
        </p:sp>
        <p:sp>
          <p:nvSpPr>
            <p:cNvPr id="48" name="Freeform 42"/>
            <p:cNvSpPr/>
            <p:nvPr userDrawn="1"/>
          </p:nvSpPr>
          <p:spPr bwMode="auto">
            <a:xfrm>
              <a:off x="7934325" y="4391025"/>
              <a:ext cx="38100" cy="227013"/>
            </a:xfrm>
            <a:custGeom>
              <a:avLst/>
              <a:gdLst/>
              <a:ahLst/>
              <a:cxnLst>
                <a:cxn ang="0">
                  <a:pos x="28" y="201"/>
                </a:cxn>
                <a:cxn ang="0">
                  <a:pos x="33" y="156"/>
                </a:cxn>
                <a:cxn ang="0">
                  <a:pos x="0" y="0"/>
                </a:cxn>
              </a:cxnLst>
              <a:rect l="0" t="0" r="r" b="b"/>
              <a:pathLst>
                <a:path w="33" h="201">
                  <a:moveTo>
                    <a:pt x="28" y="201"/>
                  </a:moveTo>
                  <a:cubicBezTo>
                    <a:pt x="31" y="186"/>
                    <a:pt x="33" y="171"/>
                    <a:pt x="33" y="156"/>
                  </a:cubicBezTo>
                  <a:cubicBezTo>
                    <a:pt x="33" y="97"/>
                    <a:pt x="21" y="45"/>
                    <a:pt x="0" y="0"/>
                  </a:cubicBezTo>
                </a:path>
              </a:pathLst>
            </a:custGeom>
            <a:noFill/>
            <a:ln w="19050" cap="rnd">
              <a:solidFill>
                <a:srgbClr val="D5D30F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700">
                <a:solidFill>
                  <a:prstClr val="black"/>
                </a:solidFill>
                <a:latin typeface="Arial" panose="020B0604020202090204" pitchFamily="34" charset="0"/>
                <a:ea typeface="MS PGothic" pitchFamily="34" charset="-128"/>
                <a:cs typeface="Arial" panose="020B0604020202090204" pitchFamily="34" charset="0"/>
              </a:endParaRPr>
            </a:p>
          </p:txBody>
        </p:sp>
        <p:sp>
          <p:nvSpPr>
            <p:cNvPr id="49" name="Freeform 43"/>
            <p:cNvSpPr/>
            <p:nvPr userDrawn="1"/>
          </p:nvSpPr>
          <p:spPr bwMode="auto">
            <a:xfrm>
              <a:off x="7346950" y="4622800"/>
              <a:ext cx="215900" cy="384175"/>
            </a:xfrm>
            <a:custGeom>
              <a:avLst/>
              <a:gdLst/>
              <a:ahLst/>
              <a:cxnLst>
                <a:cxn ang="0">
                  <a:pos x="0" y="339"/>
                </a:cxn>
                <a:cxn ang="0">
                  <a:pos x="190" y="228"/>
                </a:cxn>
                <a:cxn ang="0">
                  <a:pos x="59" y="0"/>
                </a:cxn>
              </a:cxnLst>
              <a:rect l="0" t="0" r="r" b="b"/>
              <a:pathLst>
                <a:path w="190" h="339">
                  <a:moveTo>
                    <a:pt x="0" y="339"/>
                  </a:moveTo>
                  <a:cubicBezTo>
                    <a:pt x="52" y="288"/>
                    <a:pt x="114" y="250"/>
                    <a:pt x="190" y="228"/>
                  </a:cubicBezTo>
                  <a:cubicBezTo>
                    <a:pt x="140" y="178"/>
                    <a:pt x="77" y="90"/>
                    <a:pt x="59" y="0"/>
                  </a:cubicBezTo>
                </a:path>
              </a:pathLst>
            </a:custGeom>
            <a:noFill/>
            <a:ln w="19050" cap="rnd">
              <a:solidFill>
                <a:srgbClr val="D5D30F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700">
                <a:solidFill>
                  <a:prstClr val="black"/>
                </a:solidFill>
                <a:latin typeface="Arial" panose="020B0604020202090204" pitchFamily="34" charset="0"/>
                <a:ea typeface="MS PGothic" pitchFamily="34" charset="-128"/>
                <a:cs typeface="Arial" panose="020B0604020202090204" pitchFamily="34" charset="0"/>
              </a:endParaRPr>
            </a:p>
          </p:txBody>
        </p:sp>
        <p:sp>
          <p:nvSpPr>
            <p:cNvPr id="50" name="Freeform 44"/>
            <p:cNvSpPr/>
            <p:nvPr userDrawn="1"/>
          </p:nvSpPr>
          <p:spPr bwMode="auto">
            <a:xfrm>
              <a:off x="7818438" y="4618038"/>
              <a:ext cx="225425" cy="400050"/>
            </a:xfrm>
            <a:custGeom>
              <a:avLst/>
              <a:gdLst/>
              <a:ahLst/>
              <a:cxnLst>
                <a:cxn ang="0">
                  <a:pos x="131" y="0"/>
                </a:cxn>
                <a:cxn ang="0">
                  <a:pos x="0" y="231"/>
                </a:cxn>
                <a:cxn ang="0">
                  <a:pos x="199" y="352"/>
                </a:cxn>
              </a:cxnLst>
              <a:rect l="0" t="0" r="r" b="b"/>
              <a:pathLst>
                <a:path w="199" h="352">
                  <a:moveTo>
                    <a:pt x="131" y="0"/>
                  </a:moveTo>
                  <a:cubicBezTo>
                    <a:pt x="114" y="91"/>
                    <a:pt x="51" y="180"/>
                    <a:pt x="0" y="231"/>
                  </a:cubicBezTo>
                  <a:cubicBezTo>
                    <a:pt x="81" y="254"/>
                    <a:pt x="146" y="296"/>
                    <a:pt x="199" y="352"/>
                  </a:cubicBezTo>
                </a:path>
              </a:pathLst>
            </a:custGeom>
            <a:noFill/>
            <a:ln w="19050" cap="rnd">
              <a:solidFill>
                <a:srgbClr val="D5D30F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700">
                <a:solidFill>
                  <a:prstClr val="black"/>
                </a:solidFill>
                <a:latin typeface="Arial" panose="020B0604020202090204" pitchFamily="34" charset="0"/>
                <a:ea typeface="MS PGothic" pitchFamily="34" charset="-128"/>
                <a:cs typeface="Arial" panose="020B0604020202090204" pitchFamily="34" charset="0"/>
              </a:endParaRPr>
            </a:p>
          </p:txBody>
        </p:sp>
        <p:sp>
          <p:nvSpPr>
            <p:cNvPr id="51" name="Freeform 45"/>
            <p:cNvSpPr/>
            <p:nvPr userDrawn="1"/>
          </p:nvSpPr>
          <p:spPr bwMode="auto">
            <a:xfrm>
              <a:off x="7324725" y="4278313"/>
              <a:ext cx="96838" cy="176212"/>
            </a:xfrm>
            <a:custGeom>
              <a:avLst/>
              <a:gdLst/>
              <a:ahLst/>
              <a:cxnLst>
                <a:cxn ang="0">
                  <a:pos x="86" y="155"/>
                </a:cxn>
                <a:cxn ang="0">
                  <a:pos x="32" y="107"/>
                </a:cxn>
                <a:cxn ang="0">
                  <a:pos x="0" y="0"/>
                </a:cxn>
              </a:cxnLst>
              <a:rect l="0" t="0" r="r" b="b"/>
              <a:pathLst>
                <a:path w="86" h="155">
                  <a:moveTo>
                    <a:pt x="86" y="155"/>
                  </a:moveTo>
                  <a:cubicBezTo>
                    <a:pt x="72" y="147"/>
                    <a:pt x="47" y="129"/>
                    <a:pt x="32" y="107"/>
                  </a:cubicBezTo>
                  <a:cubicBezTo>
                    <a:pt x="13" y="79"/>
                    <a:pt x="0" y="0"/>
                    <a:pt x="0" y="0"/>
                  </a:cubicBezTo>
                </a:path>
              </a:pathLst>
            </a:custGeom>
            <a:noFill/>
            <a:ln w="19050" cap="rnd">
              <a:solidFill>
                <a:srgbClr val="D5D30F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700">
                <a:solidFill>
                  <a:prstClr val="black"/>
                </a:solidFill>
                <a:latin typeface="Arial" panose="020B0604020202090204" pitchFamily="34" charset="0"/>
                <a:ea typeface="MS PGothic" pitchFamily="34" charset="-128"/>
                <a:cs typeface="Arial" panose="020B0604020202090204" pitchFamily="34" charset="0"/>
              </a:endParaRPr>
            </a:p>
          </p:txBody>
        </p:sp>
        <p:sp>
          <p:nvSpPr>
            <p:cNvPr id="52" name="Freeform 46"/>
            <p:cNvSpPr/>
            <p:nvPr userDrawn="1"/>
          </p:nvSpPr>
          <p:spPr bwMode="auto">
            <a:xfrm>
              <a:off x="7961313" y="4275138"/>
              <a:ext cx="84137" cy="180975"/>
            </a:xfrm>
            <a:custGeom>
              <a:avLst/>
              <a:gdLst/>
              <a:ahLst/>
              <a:cxnLst>
                <a:cxn ang="0">
                  <a:pos x="0" y="160"/>
                </a:cxn>
                <a:cxn ang="0">
                  <a:pos x="49" y="109"/>
                </a:cxn>
                <a:cxn ang="0">
                  <a:pos x="75" y="0"/>
                </a:cxn>
              </a:cxnLst>
              <a:rect l="0" t="0" r="r" b="b"/>
              <a:pathLst>
                <a:path w="75" h="160">
                  <a:moveTo>
                    <a:pt x="0" y="160"/>
                  </a:moveTo>
                  <a:cubicBezTo>
                    <a:pt x="13" y="150"/>
                    <a:pt x="36" y="131"/>
                    <a:pt x="49" y="109"/>
                  </a:cubicBezTo>
                  <a:cubicBezTo>
                    <a:pt x="66" y="80"/>
                    <a:pt x="75" y="0"/>
                    <a:pt x="75" y="0"/>
                  </a:cubicBezTo>
                </a:path>
              </a:pathLst>
            </a:custGeom>
            <a:noFill/>
            <a:ln w="19050" cap="rnd">
              <a:solidFill>
                <a:srgbClr val="D5D30F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700">
                <a:solidFill>
                  <a:prstClr val="black"/>
                </a:solidFill>
                <a:latin typeface="Arial" panose="020B0604020202090204" pitchFamily="34" charset="0"/>
                <a:ea typeface="MS PGothic" pitchFamily="34" charset="-128"/>
                <a:cs typeface="Arial" panose="020B0604020202090204" pitchFamily="34" charset="0"/>
              </a:endParaRPr>
            </a:p>
          </p:txBody>
        </p:sp>
        <p:sp>
          <p:nvSpPr>
            <p:cNvPr id="53" name="Freeform 47"/>
            <p:cNvSpPr/>
            <p:nvPr userDrawn="1"/>
          </p:nvSpPr>
          <p:spPr bwMode="auto">
            <a:xfrm>
              <a:off x="7705725" y="5099049"/>
              <a:ext cx="638175" cy="903288"/>
            </a:xfrm>
            <a:custGeom>
              <a:avLst/>
              <a:gdLst/>
              <a:ahLst/>
              <a:cxnLst>
                <a:cxn ang="0">
                  <a:pos x="305" y="436"/>
                </a:cxn>
                <a:cxn ang="0">
                  <a:pos x="0" y="569"/>
                </a:cxn>
                <a:cxn ang="0">
                  <a:pos x="0" y="265"/>
                </a:cxn>
                <a:cxn ang="0">
                  <a:pos x="402" y="0"/>
                </a:cxn>
                <a:cxn ang="0">
                  <a:pos x="305" y="436"/>
                </a:cxn>
              </a:cxnLst>
              <a:rect l="0" t="0" r="r" b="b"/>
              <a:pathLst>
                <a:path w="402" h="569">
                  <a:moveTo>
                    <a:pt x="305" y="436"/>
                  </a:moveTo>
                  <a:lnTo>
                    <a:pt x="0" y="569"/>
                  </a:lnTo>
                  <a:lnTo>
                    <a:pt x="0" y="265"/>
                  </a:lnTo>
                  <a:lnTo>
                    <a:pt x="402" y="0"/>
                  </a:lnTo>
                  <a:lnTo>
                    <a:pt x="305" y="436"/>
                  </a:lnTo>
                  <a:close/>
                </a:path>
              </a:pathLst>
            </a:custGeom>
            <a:noFill/>
            <a:ln w="19050" cap="rnd">
              <a:solidFill>
                <a:srgbClr val="D5D30F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700">
                <a:solidFill>
                  <a:prstClr val="black"/>
                </a:solidFill>
                <a:latin typeface="Arial" panose="020B0604020202090204" pitchFamily="34" charset="0"/>
                <a:ea typeface="MS PGothic" pitchFamily="34" charset="-128"/>
                <a:cs typeface="Arial" panose="020B0604020202090204" pitchFamily="34" charset="0"/>
              </a:endParaRPr>
            </a:p>
          </p:txBody>
        </p:sp>
        <p:sp>
          <p:nvSpPr>
            <p:cNvPr id="54" name="Freeform 48"/>
            <p:cNvSpPr/>
            <p:nvPr userDrawn="1"/>
          </p:nvSpPr>
          <p:spPr bwMode="auto">
            <a:xfrm>
              <a:off x="7048500" y="5099049"/>
              <a:ext cx="636588" cy="903288"/>
            </a:xfrm>
            <a:custGeom>
              <a:avLst/>
              <a:gdLst/>
              <a:ahLst/>
              <a:cxnLst>
                <a:cxn ang="0">
                  <a:pos x="133" y="452"/>
                </a:cxn>
                <a:cxn ang="0">
                  <a:pos x="401" y="569"/>
                </a:cxn>
                <a:cxn ang="0">
                  <a:pos x="401" y="265"/>
                </a:cxn>
                <a:cxn ang="0">
                  <a:pos x="104" y="69"/>
                </a:cxn>
                <a:cxn ang="0">
                  <a:pos x="0" y="0"/>
                </a:cxn>
                <a:cxn ang="0">
                  <a:pos x="97" y="436"/>
                </a:cxn>
              </a:cxnLst>
              <a:rect l="0" t="0" r="r" b="b"/>
              <a:pathLst>
                <a:path w="401" h="569">
                  <a:moveTo>
                    <a:pt x="133" y="452"/>
                  </a:moveTo>
                  <a:lnTo>
                    <a:pt x="401" y="569"/>
                  </a:lnTo>
                  <a:lnTo>
                    <a:pt x="401" y="265"/>
                  </a:lnTo>
                  <a:lnTo>
                    <a:pt x="104" y="69"/>
                  </a:lnTo>
                  <a:lnTo>
                    <a:pt x="0" y="0"/>
                  </a:lnTo>
                  <a:lnTo>
                    <a:pt x="97" y="436"/>
                  </a:lnTo>
                </a:path>
              </a:pathLst>
            </a:custGeom>
            <a:noFill/>
            <a:ln w="19050" cap="rnd">
              <a:solidFill>
                <a:srgbClr val="D5D30F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700">
                <a:solidFill>
                  <a:prstClr val="black"/>
                </a:solidFill>
                <a:latin typeface="Arial" panose="020B0604020202090204" pitchFamily="34" charset="0"/>
                <a:ea typeface="MS PGothic" pitchFamily="34" charset="-128"/>
                <a:cs typeface="Arial" panose="020B0604020202090204" pitchFamily="34" charset="0"/>
              </a:endParaRPr>
            </a:p>
          </p:txBody>
        </p:sp>
        <p:sp>
          <p:nvSpPr>
            <p:cNvPr id="55" name="Freeform 49"/>
            <p:cNvSpPr/>
            <p:nvPr userDrawn="1"/>
          </p:nvSpPr>
          <p:spPr bwMode="auto">
            <a:xfrm>
              <a:off x="7180263" y="3957638"/>
              <a:ext cx="1042987" cy="482600"/>
            </a:xfrm>
            <a:custGeom>
              <a:avLst/>
              <a:gdLst/>
              <a:ahLst/>
              <a:cxnLst>
                <a:cxn ang="0">
                  <a:pos x="657" y="144"/>
                </a:cxn>
                <a:cxn ang="0">
                  <a:pos x="330" y="0"/>
                </a:cxn>
                <a:cxn ang="0">
                  <a:pos x="0" y="160"/>
                </a:cxn>
                <a:cxn ang="0">
                  <a:pos x="326" y="304"/>
                </a:cxn>
                <a:cxn ang="0">
                  <a:pos x="620" y="162"/>
                </a:cxn>
              </a:cxnLst>
              <a:rect l="0" t="0" r="r" b="b"/>
              <a:pathLst>
                <a:path w="657" h="304">
                  <a:moveTo>
                    <a:pt x="657" y="144"/>
                  </a:moveTo>
                  <a:lnTo>
                    <a:pt x="330" y="0"/>
                  </a:lnTo>
                  <a:lnTo>
                    <a:pt x="0" y="160"/>
                  </a:lnTo>
                  <a:lnTo>
                    <a:pt x="326" y="304"/>
                  </a:lnTo>
                  <a:lnTo>
                    <a:pt x="620" y="162"/>
                  </a:lnTo>
                </a:path>
              </a:pathLst>
            </a:custGeom>
            <a:noFill/>
            <a:ln w="19050" cap="rnd">
              <a:solidFill>
                <a:srgbClr val="D5D30F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700">
                <a:solidFill>
                  <a:prstClr val="black"/>
                </a:solidFill>
                <a:latin typeface="Arial" panose="020B0604020202090204" pitchFamily="34" charset="0"/>
                <a:ea typeface="MS PGothic" pitchFamily="34" charset="-128"/>
                <a:cs typeface="Arial" panose="020B0604020202090204" pitchFamily="34" charset="0"/>
              </a:endParaRPr>
            </a:p>
          </p:txBody>
        </p:sp>
        <p:sp>
          <p:nvSpPr>
            <p:cNvPr id="56" name="Freeform 50"/>
            <p:cNvSpPr/>
            <p:nvPr userDrawn="1"/>
          </p:nvSpPr>
          <p:spPr bwMode="auto">
            <a:xfrm>
              <a:off x="8123238" y="4186238"/>
              <a:ext cx="139700" cy="274637"/>
            </a:xfrm>
            <a:custGeom>
              <a:avLst/>
              <a:gdLst/>
              <a:ahLst/>
              <a:cxnLst>
                <a:cxn ang="0">
                  <a:pos x="88" y="0"/>
                </a:cxn>
                <a:cxn ang="0">
                  <a:pos x="65" y="243"/>
                </a:cxn>
              </a:cxnLst>
              <a:rect l="0" t="0" r="r" b="b"/>
              <a:pathLst>
                <a:path w="124" h="243">
                  <a:moveTo>
                    <a:pt x="88" y="0"/>
                  </a:moveTo>
                  <a:cubicBezTo>
                    <a:pt x="124" y="46"/>
                    <a:pt x="0" y="201"/>
                    <a:pt x="65" y="243"/>
                  </a:cubicBezTo>
                </a:path>
              </a:pathLst>
            </a:custGeom>
            <a:noFill/>
            <a:ln w="19050" cap="rnd">
              <a:solidFill>
                <a:srgbClr val="D5D30F"/>
              </a:solidFill>
              <a:prstDash val="solid"/>
              <a:round/>
            </a:ln>
          </p:spPr>
          <p:txBody>
            <a:bodyPr/>
            <a:lstStyle/>
            <a:p>
              <a:pPr defTabSz="431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700">
                <a:solidFill>
                  <a:prstClr val="black"/>
                </a:solidFill>
                <a:latin typeface="Arial" panose="020B0604020202090204" pitchFamily="34" charset="0"/>
                <a:ea typeface="MS PGothic" pitchFamily="34" charset="-128"/>
                <a:cs typeface="Arial" panose="020B0604020202090204" pitchFamily="34" charset="0"/>
              </a:endParaRPr>
            </a:p>
          </p:txBody>
        </p:sp>
      </p:grpSp>
      <p:sp>
        <p:nvSpPr>
          <p:cNvPr id="58" name="Title Placeholder 1"/>
          <p:cNvSpPr>
            <a:spLocks noGrp="1"/>
          </p:cNvSpPr>
          <p:nvPr>
            <p:ph type="title"/>
          </p:nvPr>
        </p:nvSpPr>
        <p:spPr bwMode="auto">
          <a:xfrm>
            <a:off x="242045" y="127504"/>
            <a:ext cx="9505166" cy="67651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59" name="Picture 58" descr="CAF_logo_color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9790206" y="117823"/>
            <a:ext cx="1464068" cy="432011"/>
          </a:xfrm>
          <a:prstGeom prst="rect">
            <a:avLst/>
          </a:prstGeom>
        </p:spPr>
      </p:pic>
      <p:pic>
        <p:nvPicPr>
          <p:cNvPr id="60" name="Picture 59" descr="Tagline01a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9754485" y="586203"/>
            <a:ext cx="1623564" cy="22617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073" y="1383038"/>
            <a:ext cx="10719930" cy="4449120"/>
          </a:xfrm>
          <a:prstGeom prst="rect">
            <a:avLst/>
          </a:prstGeom>
        </p:spPr>
        <p:txBody>
          <a:bodyPr/>
          <a:lstStyle>
            <a:lvl1pPr>
              <a:defRPr sz="2270">
                <a:solidFill>
                  <a:schemeClr val="tx1"/>
                </a:solidFill>
              </a:defRPr>
            </a:lvl1pPr>
            <a:lvl2pPr>
              <a:defRPr sz="1890">
                <a:solidFill>
                  <a:schemeClr val="tx1"/>
                </a:solidFill>
              </a:defRPr>
            </a:lvl2pPr>
            <a:lvl3pPr>
              <a:defRPr sz="1700">
                <a:solidFill>
                  <a:schemeClr val="tx1"/>
                </a:solidFill>
              </a:defRPr>
            </a:lvl3pPr>
            <a:lvl4pPr>
              <a:defRPr sz="1510">
                <a:solidFill>
                  <a:schemeClr val="tx1"/>
                </a:solidFill>
              </a:defRPr>
            </a:lvl4pPr>
            <a:lvl5pPr>
              <a:defRPr sz="151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073" y="1932052"/>
            <a:ext cx="10719930" cy="3900105"/>
          </a:xfrm>
          <a:prstGeom prst="rect">
            <a:avLst/>
          </a:prstGeom>
        </p:spPr>
        <p:txBody>
          <a:bodyPr/>
          <a:lstStyle>
            <a:lvl1pPr>
              <a:defRPr sz="2270">
                <a:solidFill>
                  <a:schemeClr val="tx1"/>
                </a:solidFill>
              </a:defRPr>
            </a:lvl1pPr>
            <a:lvl2pPr>
              <a:defRPr sz="1890">
                <a:solidFill>
                  <a:schemeClr val="tx1"/>
                </a:solidFill>
              </a:defRPr>
            </a:lvl2pPr>
            <a:lvl3pPr>
              <a:defRPr sz="1700">
                <a:solidFill>
                  <a:schemeClr val="tx1"/>
                </a:solidFill>
              </a:defRPr>
            </a:lvl3pPr>
            <a:lvl4pPr>
              <a:defRPr sz="1510">
                <a:solidFill>
                  <a:schemeClr val="tx1"/>
                </a:solidFill>
              </a:defRPr>
            </a:lvl4pPr>
            <a:lvl5pPr>
              <a:defRPr sz="151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402073" y="1383038"/>
            <a:ext cx="10719930" cy="44101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9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242045" y="127504"/>
            <a:ext cx="9505166" cy="67651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en-GB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2"/>
          <a:ext cx="171053" cy="1360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20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图片 1620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171053" cy="1360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396996" y="1413039"/>
            <a:ext cx="10728086" cy="4509122"/>
          </a:xfrm>
          <a:prstGeom prst="rect">
            <a:avLst/>
          </a:prstGeom>
        </p:spPr>
        <p:txBody>
          <a:bodyPr/>
          <a:lstStyle>
            <a:lvl1pPr>
              <a:defRPr b="0"/>
            </a:lvl1pPr>
            <a:lvl2pPr marL="431800" indent="-215900">
              <a:defRPr/>
            </a:lvl2pPr>
            <a:lvl3pPr marL="647700" indent="-215900">
              <a:defRPr/>
            </a:lvl3pPr>
            <a:lvl4pPr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2"/>
          <a:ext cx="171053" cy="1360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44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图片 172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171053" cy="1360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84648" cy="1500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37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图片 1909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84648" cy="15000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/>
          <p:cNvSpPr txBox="1"/>
          <p:nvPr>
            <p:custDataLst>
              <p:tags r:id="rId3"/>
            </p:custDataLst>
          </p:nvPr>
        </p:nvSpPr>
        <p:spPr>
          <a:xfrm>
            <a:off x="11142784" y="6294324"/>
            <a:ext cx="99386" cy="101695"/>
          </a:xfrm>
          <a:prstGeom prst="rect">
            <a:avLst/>
          </a:prstGeom>
          <a:noFill/>
        </p:spPr>
        <p:txBody>
          <a:bodyPr wrap="none" lIns="0" tIns="0" rIns="0" bIns="0" anchor="ctr">
            <a:spAutoFit/>
          </a:bodyPr>
          <a:lstStyle/>
          <a:p>
            <a:pPr algn="ctr" defTabSz="904875">
              <a:defRPr/>
            </a:pPr>
            <a:fld id="{CED6B42B-B0C6-4DA8-8F0B-D68FCF458D78}" type="slidenum">
              <a:rPr lang="en-US" sz="660">
                <a:solidFill>
                  <a:srgbClr val="1F497D"/>
                </a:solidFill>
                <a:ea typeface="MS PGothic" pitchFamily="34" charset="-128"/>
              </a:rPr>
              <a:t>‹#›</a:t>
            </a:fld>
            <a:endParaRPr lang="en-US" sz="660" dirty="0">
              <a:solidFill>
                <a:srgbClr val="1F497D"/>
              </a:solidFill>
              <a:ea typeface="MS PGothic" pitchFamily="34" charset="-128"/>
            </a:endParaRPr>
          </a:p>
        </p:txBody>
      </p:sp>
      <p:sp>
        <p:nvSpPr>
          <p:cNvPr id="5" name="Freeform 4"/>
          <p:cNvSpPr/>
          <p:nvPr>
            <p:custDataLst>
              <p:tags r:id="rId4"/>
            </p:custDataLst>
          </p:nvPr>
        </p:nvSpPr>
        <p:spPr bwMode="auto">
          <a:xfrm>
            <a:off x="0" y="639019"/>
            <a:ext cx="11522075" cy="688519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4078" tIns="47039" rIns="94078" bIns="47039"/>
          <a:lstStyle/>
          <a:p>
            <a:pPr defTabSz="904875">
              <a:defRPr/>
            </a:pPr>
            <a:endParaRPr lang="fr-FR" sz="1700" dirty="0">
              <a:solidFill>
                <a:prstClr val="black"/>
              </a:solidFill>
              <a:ea typeface="MS PGothic" pitchFamily="34" charset="-128"/>
            </a:endParaRPr>
          </a:p>
        </p:txBody>
      </p:sp>
      <p:sp>
        <p:nvSpPr>
          <p:cNvPr id="6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7842029" y="6258169"/>
            <a:ext cx="3094712" cy="174005"/>
          </a:xfrm>
          <a:prstGeom prst="rect">
            <a:avLst/>
          </a:prstGeom>
          <a:noFill/>
          <a:ln w="19050">
            <a:noFill/>
            <a:miter lim="800000"/>
          </a:ln>
          <a:effectLst/>
        </p:spPr>
        <p:txBody>
          <a:bodyPr lIns="34014" tIns="34014" rIns="34014" bIns="34014" anchor="b"/>
          <a:lstStyle/>
          <a:p>
            <a:pPr algn="r" defTabSz="94043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660" dirty="0">
                <a:solidFill>
                  <a:srgbClr val="1F497D"/>
                </a:solidFill>
                <a:ea typeface="MS PGothic" pitchFamily="34" charset="-128"/>
                <a:cs typeface="Helvetica Light"/>
              </a:rPr>
              <a:t>Copyright © Capgemini 2014. All Rights Reserved</a:t>
            </a:r>
          </a:p>
        </p:txBody>
      </p:sp>
      <p:pic>
        <p:nvPicPr>
          <p:cNvPr id="7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84649" y="6088666"/>
            <a:ext cx="1525198" cy="303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9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184648" cy="1500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38" name="think-cell Slide" r:id="rId12" imgW="0" imgH="0" progId="">
                  <p:embed/>
                </p:oleObj>
              </mc:Choice>
              <mc:Fallback>
                <p:oleObj name="think-cell Slide" r:id="rId12" imgW="0" imgH="0" progId="">
                  <p:embed/>
                  <p:pic>
                    <p:nvPicPr>
                      <p:cNvPr id="0" name="图片 1909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84648" cy="15000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 flipV="1">
            <a:off x="2" y="5483487"/>
            <a:ext cx="11522072" cy="996688"/>
          </a:xfrm>
          <a:prstGeom prst="rect">
            <a:avLst/>
          </a:prstGeom>
          <a:solidFill>
            <a:srgbClr val="EAEAEA"/>
          </a:solidFill>
          <a:ln w="15875" cap="flat">
            <a:noFill/>
            <a:prstDash val="solid"/>
            <a:miter lim="800000"/>
          </a:ln>
        </p:spPr>
        <p:txBody>
          <a:bodyPr vert="horz" wrap="square" lIns="86136" tIns="43068" rIns="86136" bIns="43068" numCol="1" anchor="t" anchorCtr="0" compatLnSpc="1"/>
          <a:lstStyle/>
          <a:p>
            <a:pPr defTabSz="860425"/>
            <a:endParaRPr lang="de-DE" sz="1765" dirty="0">
              <a:solidFill>
                <a:prstClr val="black"/>
              </a:solidFill>
            </a:endParaRPr>
          </a:p>
        </p:txBody>
      </p:sp>
      <p:sp>
        <p:nvSpPr>
          <p:cNvPr id="9" name="Rechteck 8"/>
          <p:cNvSpPr/>
          <p:nvPr userDrawn="1"/>
        </p:nvSpPr>
        <p:spPr bwMode="auto">
          <a:xfrm>
            <a:off x="2" y="0"/>
            <a:ext cx="11522072" cy="5483487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5875" cap="flat">
            <a:noFill/>
            <a:prstDash val="solid"/>
            <a:miter lim="800000"/>
          </a:ln>
        </p:spPr>
        <p:txBody>
          <a:bodyPr vert="horz" wrap="square" lIns="86136" tIns="43068" rIns="86136" bIns="43068" numCol="1" anchor="t" anchorCtr="0" compatLnSpc="1"/>
          <a:lstStyle/>
          <a:p>
            <a:pPr defTabSz="860425"/>
            <a:endParaRPr lang="de-DE" sz="1765" dirty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>
          <a:xfrm>
            <a:off x="987118" y="32"/>
            <a:ext cx="9547841" cy="3069406"/>
          </a:xfrm>
        </p:spPr>
        <p:txBody>
          <a:bodyPr anchor="b" anchorCtr="0">
            <a:noAutofit/>
          </a:bodyPr>
          <a:lstStyle>
            <a:lvl1pPr algn="ctr">
              <a:lnSpc>
                <a:spcPct val="80000"/>
              </a:lnSpc>
              <a:defRPr sz="8315" b="0" cap="all">
                <a:solidFill>
                  <a:schemeClr val="bg1"/>
                </a:solidFill>
                <a:latin typeface="Bebas Neue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987118" y="3069405"/>
            <a:ext cx="9547841" cy="2414082"/>
          </a:xfrm>
        </p:spPr>
        <p:txBody>
          <a:bodyPr anchor="t" anchorCtr="0"/>
          <a:lstStyle>
            <a:lvl1pPr marL="0" indent="0" algn="ctr">
              <a:lnSpc>
                <a:spcPct val="80000"/>
              </a:lnSpc>
              <a:buNone/>
              <a:defRPr sz="4160">
                <a:solidFill>
                  <a:srgbClr val="B2B2B2"/>
                </a:solidFill>
              </a:defRPr>
            </a:lvl1pPr>
            <a:lvl2pPr marL="430530" indent="0">
              <a:buNone/>
              <a:defRPr sz="1765">
                <a:solidFill>
                  <a:schemeClr val="tx1">
                    <a:tint val="75000"/>
                  </a:schemeClr>
                </a:solidFill>
              </a:defRPr>
            </a:lvl2pPr>
            <a:lvl3pPr marL="861060" indent="0">
              <a:buNone/>
              <a:defRPr sz="1510">
                <a:solidFill>
                  <a:schemeClr val="tx1">
                    <a:tint val="75000"/>
                  </a:schemeClr>
                </a:solidFill>
              </a:defRPr>
            </a:lvl3pPr>
            <a:lvl4pPr marL="129159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4pPr>
            <a:lvl5pPr marL="172212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5pPr>
            <a:lvl6pPr marL="215265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6pPr>
            <a:lvl7pPr marL="258318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7pPr>
            <a:lvl8pPr marL="301371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8pPr>
            <a:lvl9pPr marL="344424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图片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" y="63"/>
            <a:ext cx="11521758" cy="6480226"/>
          </a:xfrm>
          <a:prstGeom prst="rect">
            <a:avLst/>
          </a:prstGeom>
        </p:spPr>
      </p:pic>
      <p:sp>
        <p:nvSpPr>
          <p:cNvPr id="7" name="文本占位符 6"/>
          <p:cNvSpPr>
            <a:spLocks noGrp="1"/>
          </p:cNvSpPr>
          <p:nvPr>
            <p:ph type="body" sz="quarter" idx="10" hasCustomPrompt="1"/>
          </p:nvPr>
        </p:nvSpPr>
        <p:spPr>
          <a:xfrm>
            <a:off x="648469" y="503783"/>
            <a:ext cx="2664296" cy="647724"/>
          </a:xfrm>
          <a:prstGeom prst="rect">
            <a:avLst/>
          </a:prstGeom>
        </p:spPr>
        <p:txBody>
          <a:bodyPr/>
          <a:lstStyle>
            <a:lvl1pPr marL="385445" marR="0" indent="-385445" algn="l" defTabSz="102806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lang="zh-CN" altLang="en-US" sz="3200" b="0" kern="1200" dirty="0" smtClean="0">
                <a:solidFill>
                  <a:srgbClr val="0E68C9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</a:lstStyle>
          <a:p>
            <a:pPr marL="385445" marR="0" lvl="0" indent="-385445" algn="l" defTabSz="102806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kumimoji="1" lang="zh-CN" altLang="en-US" dirty="0"/>
              <a:t>目录</a:t>
            </a:r>
          </a:p>
        </p:txBody>
      </p:sp>
      <p:sp>
        <p:nvSpPr>
          <p:cNvPr id="14" name="文本占位符 13"/>
          <p:cNvSpPr>
            <a:spLocks noGrp="1"/>
          </p:cNvSpPr>
          <p:nvPr>
            <p:ph type="body" sz="quarter" idx="11" hasCustomPrompt="1"/>
          </p:nvPr>
        </p:nvSpPr>
        <p:spPr>
          <a:xfrm>
            <a:off x="2838044" y="1439887"/>
            <a:ext cx="550702" cy="43150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000">
                <a:solidFill>
                  <a:srgbClr val="E2231A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pPr marL="385445" marR="0" lvl="0" indent="-385445" algn="l" defTabSz="102806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kumimoji="1" lang="en-US" altLang="zh-CN" dirty="0"/>
              <a:t>1</a:t>
            </a:r>
            <a:endParaRPr kumimoji="1" lang="zh-CN" altLang="en-US" dirty="0"/>
          </a:p>
        </p:txBody>
      </p:sp>
      <p:sp>
        <p:nvSpPr>
          <p:cNvPr id="16" name="文本占位符 15"/>
          <p:cNvSpPr>
            <a:spLocks noGrp="1"/>
          </p:cNvSpPr>
          <p:nvPr>
            <p:ph type="body" sz="quarter" idx="12" hasCustomPrompt="1"/>
          </p:nvPr>
        </p:nvSpPr>
        <p:spPr>
          <a:xfrm>
            <a:off x="3389415" y="1439887"/>
            <a:ext cx="3883789" cy="43150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pPr marL="385445" marR="0" lvl="0" indent="-385445" algn="l" defTabSz="102806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kumimoji="1" lang="zh-CN" altLang="en-US" dirty="0"/>
              <a:t>单击此处添加标题</a:t>
            </a:r>
          </a:p>
        </p:txBody>
      </p:sp>
      <p:sp>
        <p:nvSpPr>
          <p:cNvPr id="20" name="文本占位符 19"/>
          <p:cNvSpPr>
            <a:spLocks noGrp="1"/>
          </p:cNvSpPr>
          <p:nvPr>
            <p:ph type="body" sz="quarter" idx="13" hasCustomPrompt="1"/>
          </p:nvPr>
        </p:nvSpPr>
        <p:spPr>
          <a:xfrm>
            <a:off x="2838044" y="1975555"/>
            <a:ext cx="550702" cy="40043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000">
                <a:solidFill>
                  <a:srgbClr val="E2231A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pPr marL="385445" marR="0" lvl="0" indent="-385445" algn="l" defTabSz="102806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kumimoji="1" lang="en-US" altLang="zh-CN" dirty="0"/>
              <a:t>2</a:t>
            </a:r>
            <a:endParaRPr kumimoji="1" lang="zh-CN" altLang="en-US" dirty="0"/>
          </a:p>
        </p:txBody>
      </p:sp>
      <p:sp>
        <p:nvSpPr>
          <p:cNvPr id="23" name="文本占位符 22"/>
          <p:cNvSpPr>
            <a:spLocks noGrp="1"/>
          </p:cNvSpPr>
          <p:nvPr>
            <p:ph type="body" sz="quarter" idx="14" hasCustomPrompt="1"/>
          </p:nvPr>
        </p:nvSpPr>
        <p:spPr>
          <a:xfrm>
            <a:off x="3388746" y="1975555"/>
            <a:ext cx="3884458" cy="400436"/>
          </a:xfrm>
          <a:prstGeom prst="rect">
            <a:avLst/>
          </a:prstGeom>
        </p:spPr>
        <p:txBody>
          <a:bodyPr/>
          <a:lstStyle>
            <a:lvl1pPr marL="385445" marR="0" indent="-385445" algn="l" defTabSz="102806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pPr marL="385445" marR="0" lvl="0" indent="-385445" algn="l" defTabSz="102806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kumimoji="1" lang="zh-CN" altLang="en-US" dirty="0"/>
              <a:t>单击此处添加标题</a:t>
            </a:r>
          </a:p>
        </p:txBody>
      </p:sp>
      <p:sp>
        <p:nvSpPr>
          <p:cNvPr id="27" name="文本占位符 26"/>
          <p:cNvSpPr>
            <a:spLocks noGrp="1"/>
          </p:cNvSpPr>
          <p:nvPr>
            <p:ph type="body" sz="quarter" idx="15" hasCustomPrompt="1"/>
          </p:nvPr>
        </p:nvSpPr>
        <p:spPr>
          <a:xfrm>
            <a:off x="2838044" y="2511225"/>
            <a:ext cx="550702" cy="40921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000">
                <a:solidFill>
                  <a:srgbClr val="E2231A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pPr marL="385445" marR="0" lvl="0" indent="-385445" algn="l" defTabSz="102806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kumimoji="1" lang="en-US" altLang="zh-CN" dirty="0"/>
              <a:t>3</a:t>
            </a:r>
            <a:endParaRPr kumimoji="1" lang="zh-CN" altLang="en-US" dirty="0"/>
          </a:p>
        </p:txBody>
      </p:sp>
      <p:sp>
        <p:nvSpPr>
          <p:cNvPr id="31" name="文本占位符 30"/>
          <p:cNvSpPr>
            <a:spLocks noGrp="1"/>
          </p:cNvSpPr>
          <p:nvPr>
            <p:ph type="body" sz="quarter" idx="16" hasCustomPrompt="1"/>
          </p:nvPr>
        </p:nvSpPr>
        <p:spPr>
          <a:xfrm>
            <a:off x="2838044" y="3046894"/>
            <a:ext cx="550702" cy="40921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000">
                <a:solidFill>
                  <a:srgbClr val="E2231A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pPr marL="385445" marR="0" lvl="0" indent="-385445" algn="l" defTabSz="102806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kumimoji="1" lang="en-US" altLang="zh-CN" dirty="0"/>
              <a:t>4</a:t>
            </a:r>
            <a:endParaRPr kumimoji="1" lang="zh-CN" altLang="en-US" dirty="0"/>
          </a:p>
        </p:txBody>
      </p:sp>
      <p:sp>
        <p:nvSpPr>
          <p:cNvPr id="34" name="文本占位符 33"/>
          <p:cNvSpPr>
            <a:spLocks noGrp="1"/>
          </p:cNvSpPr>
          <p:nvPr>
            <p:ph type="body" sz="quarter" idx="17" hasCustomPrompt="1"/>
          </p:nvPr>
        </p:nvSpPr>
        <p:spPr>
          <a:xfrm>
            <a:off x="2841891" y="3582565"/>
            <a:ext cx="546855" cy="36036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000">
                <a:solidFill>
                  <a:srgbClr val="E2231A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pPr marL="385445" marR="0" lvl="0" indent="-385445" algn="l" defTabSz="102806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kumimoji="1" lang="en-US" altLang="zh-CN" dirty="0"/>
              <a:t>5</a:t>
            </a:r>
            <a:endParaRPr kumimoji="1" lang="zh-CN" altLang="en-US" dirty="0"/>
          </a:p>
        </p:txBody>
      </p:sp>
      <p:sp>
        <p:nvSpPr>
          <p:cNvPr id="38" name="文本占位符 26"/>
          <p:cNvSpPr>
            <a:spLocks noGrp="1"/>
          </p:cNvSpPr>
          <p:nvPr>
            <p:ph type="body" sz="quarter" idx="18" hasCustomPrompt="1"/>
          </p:nvPr>
        </p:nvSpPr>
        <p:spPr>
          <a:xfrm>
            <a:off x="3391093" y="2511225"/>
            <a:ext cx="3882111" cy="409215"/>
          </a:xfrm>
          <a:prstGeom prst="rect">
            <a:avLst/>
          </a:prstGeom>
        </p:spPr>
        <p:txBody>
          <a:bodyPr/>
          <a:lstStyle>
            <a:lvl1pPr marL="385445" marR="0" indent="-385445" algn="l" defTabSz="102806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pPr marL="385445" marR="0" lvl="0" indent="-385445" algn="l" defTabSz="102806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kumimoji="1" lang="zh-CN" altLang="en-US" dirty="0"/>
              <a:t>单击此处添加标题</a:t>
            </a:r>
          </a:p>
        </p:txBody>
      </p:sp>
      <p:sp>
        <p:nvSpPr>
          <p:cNvPr id="40" name="文本占位符 30"/>
          <p:cNvSpPr>
            <a:spLocks noGrp="1"/>
          </p:cNvSpPr>
          <p:nvPr>
            <p:ph type="body" sz="quarter" idx="19" hasCustomPrompt="1"/>
          </p:nvPr>
        </p:nvSpPr>
        <p:spPr>
          <a:xfrm>
            <a:off x="3391094" y="3046894"/>
            <a:ext cx="3882110" cy="409217"/>
          </a:xfrm>
          <a:prstGeom prst="rect">
            <a:avLst/>
          </a:prstGeom>
        </p:spPr>
        <p:txBody>
          <a:bodyPr/>
          <a:lstStyle>
            <a:lvl1pPr marL="385445" marR="0" indent="-385445" algn="l" defTabSz="102806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pPr marL="385445" marR="0" lvl="0" indent="-385445" algn="l" defTabSz="102806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kumimoji="1" lang="zh-CN" altLang="en-US" dirty="0"/>
              <a:t>单击此处添加标题</a:t>
            </a:r>
          </a:p>
        </p:txBody>
      </p:sp>
      <p:sp>
        <p:nvSpPr>
          <p:cNvPr id="41" name="文本占位符 33"/>
          <p:cNvSpPr>
            <a:spLocks noGrp="1"/>
          </p:cNvSpPr>
          <p:nvPr>
            <p:ph type="body" sz="quarter" idx="20" hasCustomPrompt="1"/>
          </p:nvPr>
        </p:nvSpPr>
        <p:spPr>
          <a:xfrm>
            <a:off x="3388746" y="3582565"/>
            <a:ext cx="3884458" cy="360362"/>
          </a:xfrm>
          <a:prstGeom prst="rect">
            <a:avLst/>
          </a:prstGeom>
        </p:spPr>
        <p:txBody>
          <a:bodyPr/>
          <a:lstStyle>
            <a:lvl1pPr marL="385445" marR="0" indent="-385445" algn="l" defTabSz="102806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pPr marL="385445" marR="0" lvl="0" indent="-385445" algn="l" defTabSz="102806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kumimoji="1" lang="zh-CN" altLang="en-US" dirty="0"/>
              <a:t>单击此处添加标题</a:t>
            </a:r>
          </a:p>
        </p:txBody>
      </p:sp>
      <p:pic>
        <p:nvPicPr>
          <p:cNvPr id="17" name="Picture 2" descr="pasted-image.pdf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07438" y="12906375"/>
            <a:ext cx="1530350" cy="50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2" name="图片 1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05453" y="5616351"/>
            <a:ext cx="1530229" cy="512108"/>
          </a:xfrm>
          <a:prstGeom prst="rect">
            <a:avLst/>
          </a:prstGeom>
        </p:spPr>
      </p:pic>
      <p:pic>
        <p:nvPicPr>
          <p:cNvPr id="18" name="Picture 2" descr="pasted-image.pdf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59838" y="13058775"/>
            <a:ext cx="1530350" cy="50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87995" y="1402197"/>
            <a:ext cx="10522965" cy="4081289"/>
          </a:xfrm>
          <a:noFill/>
        </p:spPr>
        <p:txBody>
          <a:bodyPr/>
          <a:lstStyle>
            <a:lvl1pPr>
              <a:defRPr sz="2140"/>
            </a:lvl1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38" name="Titel 1"/>
          <p:cNvSpPr>
            <a:spLocks noGrp="1"/>
          </p:cNvSpPr>
          <p:nvPr>
            <p:ph type="title"/>
          </p:nvPr>
        </p:nvSpPr>
        <p:spPr>
          <a:xfrm>
            <a:off x="487995" y="388195"/>
            <a:ext cx="10522965" cy="1014002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487995" y="388195"/>
            <a:ext cx="10522965" cy="1014002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87949" y="1402197"/>
            <a:ext cx="6886685" cy="4081289"/>
          </a:xfrm>
          <a:noFill/>
        </p:spPr>
        <p:txBody>
          <a:bodyPr/>
          <a:lstStyle>
            <a:lvl1pPr>
              <a:defRPr sz="2140"/>
            </a:lvl1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487995" y="388195"/>
            <a:ext cx="10522965" cy="1014002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87996" y="1402197"/>
            <a:ext cx="5068547" cy="4081289"/>
          </a:xfrm>
          <a:noFill/>
        </p:spPr>
        <p:txBody>
          <a:bodyPr/>
          <a:lstStyle>
            <a:lvl1pPr>
              <a:defRPr sz="2140"/>
            </a:lvl1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5941561" y="388195"/>
            <a:ext cx="5069356" cy="1014002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941499" y="1402197"/>
            <a:ext cx="5068547" cy="4081289"/>
          </a:xfrm>
          <a:noFill/>
        </p:spPr>
        <p:txBody>
          <a:bodyPr/>
          <a:lstStyle>
            <a:lvl1pPr>
              <a:defRPr sz="2140"/>
            </a:lvl1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487995" y="388195"/>
            <a:ext cx="10522965" cy="1014002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87951" y="1402197"/>
            <a:ext cx="2882696" cy="4081289"/>
          </a:xfrm>
          <a:noFill/>
        </p:spPr>
        <p:txBody>
          <a:bodyPr/>
          <a:lstStyle>
            <a:lvl1pPr>
              <a:defRPr sz="1890"/>
            </a:lvl1pPr>
            <a:lvl2pPr>
              <a:defRPr sz="1765"/>
            </a:lvl2pPr>
            <a:lvl3pPr>
              <a:defRPr sz="1510"/>
            </a:lvl3pPr>
            <a:lvl4pPr>
              <a:defRPr sz="1385"/>
            </a:lvl4pPr>
            <a:lvl5pPr>
              <a:defRPr sz="1385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487995" y="388195"/>
            <a:ext cx="10522965" cy="1014002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8293347" y="1402197"/>
            <a:ext cx="2706629" cy="4081289"/>
          </a:xfrm>
          <a:noFill/>
        </p:spPr>
        <p:txBody>
          <a:bodyPr/>
          <a:lstStyle>
            <a:lvl1pPr>
              <a:defRPr sz="1890"/>
            </a:lvl1pPr>
            <a:lvl2pPr>
              <a:defRPr sz="1765"/>
            </a:lvl2pPr>
            <a:lvl3pPr>
              <a:defRPr sz="1510"/>
            </a:lvl3pPr>
            <a:lvl4pPr>
              <a:defRPr sz="1385"/>
            </a:lvl4pPr>
            <a:lvl5pPr>
              <a:defRPr sz="1385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ellenplatzhalter 3"/>
          <p:cNvSpPr>
            <a:spLocks noGrp="1"/>
          </p:cNvSpPr>
          <p:nvPr>
            <p:ph type="tbl" sz="quarter" idx="14"/>
          </p:nvPr>
        </p:nvSpPr>
        <p:spPr>
          <a:xfrm>
            <a:off x="510159" y="1470084"/>
            <a:ext cx="10500257" cy="4014109"/>
          </a:xfrm>
          <a:noFill/>
        </p:spPr>
        <p:txBody>
          <a:bodyPr/>
          <a:lstStyle/>
          <a:p>
            <a:endParaRPr lang="de-DE" dirty="0"/>
          </a:p>
        </p:txBody>
      </p:sp>
      <p:sp>
        <p:nvSpPr>
          <p:cNvPr id="38" name="Titel 1"/>
          <p:cNvSpPr>
            <a:spLocks noGrp="1"/>
          </p:cNvSpPr>
          <p:nvPr>
            <p:ph type="title"/>
          </p:nvPr>
        </p:nvSpPr>
        <p:spPr>
          <a:xfrm>
            <a:off x="487995" y="388195"/>
            <a:ext cx="10522965" cy="1014002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11522075" cy="6480175"/>
          </a:xfrm>
          <a:prstGeom prst="rect">
            <a:avLst/>
          </a:prstGeom>
          <a:solidFill>
            <a:srgbClr val="D9D9D9"/>
          </a:solidFill>
          <a:ln w="12700">
            <a:noFill/>
            <a:round/>
          </a:ln>
        </p:spPr>
        <p:txBody>
          <a:bodyPr rot="0" spcFirstLastPara="0" vert="horz" wrap="square" lIns="86136" tIns="43068" rIns="86136" bIns="43068" numCol="1" spcCol="0" rtlCol="0" fromWordArt="0" anchor="ctr" anchorCtr="0" forceAA="0" compatLnSpc="1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270" dirty="0">
              <a:solidFill>
                <a:prstClr val="black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5" name="Inhaltsplatzhalter 2"/>
          <p:cNvSpPr>
            <a:spLocks noGrp="1"/>
          </p:cNvSpPr>
          <p:nvPr>
            <p:ph idx="1" hasCustomPrompt="1"/>
          </p:nvPr>
        </p:nvSpPr>
        <p:spPr>
          <a:xfrm>
            <a:off x="487995" y="1402197"/>
            <a:ext cx="10522965" cy="4081289"/>
          </a:xfrm>
          <a:noFill/>
        </p:spPr>
        <p:txBody>
          <a:bodyPr/>
          <a:lstStyle>
            <a:lvl1pPr>
              <a:defRPr sz="2140"/>
            </a:lvl1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504453" y="503783"/>
            <a:ext cx="6120680" cy="647700"/>
          </a:xfrm>
          <a:prstGeom prst="rect">
            <a:avLst/>
          </a:prstGeom>
        </p:spPr>
        <p:txBody>
          <a:bodyPr/>
          <a:lstStyle>
            <a:lvl1pPr marL="385445" marR="0" indent="-385445" algn="l" defTabSz="102806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lang="zh-CN" altLang="en-US" sz="3200" b="0" kern="1200" dirty="0" smtClean="0">
                <a:solidFill>
                  <a:srgbClr val="0E68C9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</a:lstStyle>
          <a:p>
            <a:pPr marL="385445" marR="0" lvl="0" indent="-385445" algn="l" defTabSz="102806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kumimoji="1" lang="zh-CN" altLang="en-US" dirty="0"/>
              <a:t>雪球</a:t>
            </a:r>
          </a:p>
        </p:txBody>
      </p:sp>
      <p:pic>
        <p:nvPicPr>
          <p:cNvPr id="2" name="图片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577461" y="5688359"/>
            <a:ext cx="1530229" cy="51210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11522075" cy="6480175"/>
          </a:xfrm>
          <a:prstGeom prst="rect">
            <a:avLst/>
          </a:prstGeom>
          <a:solidFill>
            <a:srgbClr val="262626"/>
          </a:solidFill>
          <a:ln w="12700">
            <a:noFill/>
            <a:round/>
          </a:ln>
        </p:spPr>
        <p:txBody>
          <a:bodyPr rot="0" spcFirstLastPara="0" vert="horz" wrap="square" lIns="86136" tIns="43068" rIns="86136" bIns="43068" numCol="1" spcCol="0" rtlCol="0" fromWordArt="0" anchor="ctr" anchorCtr="0" forceAA="0" compatLnSpc="1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270" dirty="0">
              <a:solidFill>
                <a:prstClr val="black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 hasCustomPrompt="1"/>
          </p:nvPr>
        </p:nvSpPr>
        <p:spPr>
          <a:xfrm>
            <a:off x="487995" y="1402197"/>
            <a:ext cx="10522965" cy="4081289"/>
          </a:xfrm>
          <a:noFill/>
        </p:spPr>
        <p:txBody>
          <a:bodyPr/>
          <a:lstStyle>
            <a:lvl1pPr>
              <a:defRPr sz="2140">
                <a:solidFill>
                  <a:srgbClr val="D9D9D9"/>
                </a:solidFill>
              </a:defRPr>
            </a:lvl1pPr>
            <a:lvl2pPr>
              <a:defRPr>
                <a:solidFill>
                  <a:srgbClr val="D9D9D9"/>
                </a:solidFill>
              </a:defRPr>
            </a:lvl2pPr>
            <a:lvl3pPr>
              <a:defRPr>
                <a:solidFill>
                  <a:srgbClr val="D9D9D9"/>
                </a:solidFill>
              </a:defRPr>
            </a:lvl3pPr>
            <a:lvl4pPr>
              <a:defRPr>
                <a:solidFill>
                  <a:srgbClr val="D9D9D9"/>
                </a:solidFill>
              </a:defRPr>
            </a:lvl4pPr>
            <a:lvl5pPr>
              <a:defRPr>
                <a:solidFill>
                  <a:srgbClr val="D9D9D9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0" y="0"/>
            <a:ext cx="11522075" cy="6480175"/>
          </a:xfrm>
          <a:prstGeom prst="rect">
            <a:avLst/>
          </a:prstGeom>
          <a:solidFill>
            <a:srgbClr val="C8303F"/>
          </a:solidFill>
          <a:ln w="15875" cap="flat">
            <a:noFill/>
            <a:prstDash val="solid"/>
            <a:miter lim="800000"/>
          </a:ln>
        </p:spPr>
        <p:txBody>
          <a:bodyPr vert="horz" wrap="square" lIns="86136" tIns="43068" rIns="86136" bIns="43068" numCol="1" anchor="t" anchorCtr="0" compatLnSpc="1"/>
          <a:lstStyle/>
          <a:p>
            <a:pPr defTabSz="860425"/>
            <a:endParaRPr lang="en-US" sz="1765" dirty="0">
              <a:solidFill>
                <a:prstClr val="black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 hasCustomPrompt="1"/>
          </p:nvPr>
        </p:nvSpPr>
        <p:spPr>
          <a:xfrm>
            <a:off x="487995" y="1402197"/>
            <a:ext cx="10522965" cy="4081289"/>
          </a:xfrm>
          <a:noFill/>
        </p:spPr>
        <p:txBody>
          <a:bodyPr/>
          <a:lstStyle>
            <a:lvl1pPr>
              <a:defRPr sz="2140">
                <a:solidFill>
                  <a:srgbClr val="DDDDDD"/>
                </a:solidFill>
              </a:defRPr>
            </a:lvl1pPr>
            <a:lvl2pPr>
              <a:defRPr>
                <a:solidFill>
                  <a:srgbClr val="DDDDDD"/>
                </a:solidFill>
              </a:defRPr>
            </a:lvl2pPr>
            <a:lvl3pPr>
              <a:defRPr>
                <a:solidFill>
                  <a:srgbClr val="DDDDDD"/>
                </a:solidFill>
              </a:defRPr>
            </a:lvl3pPr>
            <a:lvl4pPr>
              <a:defRPr>
                <a:solidFill>
                  <a:srgbClr val="DDDDDD"/>
                </a:solidFill>
              </a:defRPr>
            </a:lvl4pPr>
            <a:lvl5pPr>
              <a:defRPr>
                <a:solidFill>
                  <a:srgbClr val="DDDDDD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87949" y="890554"/>
            <a:ext cx="10522764" cy="511643"/>
          </a:xfrm>
        </p:spPr>
        <p:txBody>
          <a:bodyPr lIns="8099" anchor="t" anchorCtr="0"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87949" y="890554"/>
            <a:ext cx="10522764" cy="511643"/>
          </a:xfrm>
        </p:spPr>
        <p:txBody>
          <a:bodyPr lIns="10770" anchor="t" anchorCtr="0"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  <p:pic>
        <p:nvPicPr>
          <p:cNvPr id="25602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1132" y="5304143"/>
            <a:ext cx="4212759" cy="11760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2" y="0"/>
            <a:ext cx="11522072" cy="5483487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5875" cap="flat">
            <a:noFill/>
            <a:prstDash val="solid"/>
            <a:miter lim="800000"/>
          </a:ln>
        </p:spPr>
        <p:txBody>
          <a:bodyPr vert="horz" wrap="square" lIns="86212" tIns="43105" rIns="86212" bIns="43105" numCol="1" anchor="t" anchorCtr="0" compatLnSpc="1"/>
          <a:lstStyle/>
          <a:p>
            <a:pPr defTabSz="861695"/>
            <a:endParaRPr lang="de-DE" sz="1765" dirty="0">
              <a:solidFill>
                <a:prstClr val="black"/>
              </a:solidFill>
            </a:endParaRPr>
          </a:p>
        </p:txBody>
      </p:sp>
      <p:sp>
        <p:nvSpPr>
          <p:cNvPr id="9" name="Rechteck 8"/>
          <p:cNvSpPr/>
          <p:nvPr userDrawn="1"/>
        </p:nvSpPr>
        <p:spPr bwMode="auto">
          <a:xfrm flipV="1">
            <a:off x="2" y="5483487"/>
            <a:ext cx="11522072" cy="996688"/>
          </a:xfrm>
          <a:prstGeom prst="rect">
            <a:avLst/>
          </a:prstGeom>
          <a:solidFill>
            <a:srgbClr val="EAEAEA"/>
          </a:solidFill>
          <a:ln w="15875" cap="flat">
            <a:noFill/>
            <a:prstDash val="solid"/>
            <a:miter lim="800000"/>
          </a:ln>
        </p:spPr>
        <p:txBody>
          <a:bodyPr vert="horz" wrap="square" lIns="86212" tIns="43105" rIns="86212" bIns="43105" numCol="1" anchor="t" anchorCtr="0" compatLnSpc="1"/>
          <a:lstStyle/>
          <a:p>
            <a:pPr defTabSz="861695"/>
            <a:endParaRPr lang="de-DE" sz="1765" dirty="0">
              <a:solidFill>
                <a:prstClr val="black"/>
              </a:solidFill>
            </a:endParaRPr>
          </a:p>
        </p:txBody>
      </p:sp>
      <p:sp>
        <p:nvSpPr>
          <p:cNvPr id="6" name="Textfeld 5"/>
          <p:cNvSpPr txBox="1"/>
          <p:nvPr userDrawn="1"/>
        </p:nvSpPr>
        <p:spPr>
          <a:xfrm>
            <a:off x="-98746" y="-2011937"/>
            <a:ext cx="174189" cy="358545"/>
          </a:xfrm>
          <a:prstGeom prst="rect">
            <a:avLst/>
          </a:prstGeom>
          <a:noFill/>
        </p:spPr>
        <p:txBody>
          <a:bodyPr wrap="none" lIns="86220" tIns="43109" rIns="86220" bIns="43109" rtlCol="0">
            <a:spAutoFit/>
          </a:bodyPr>
          <a:lstStyle/>
          <a:p>
            <a:pPr defTabSz="861695"/>
            <a:endParaRPr lang="en-US" sz="1765" dirty="0">
              <a:solidFill>
                <a:prstClr val="black"/>
              </a:solidFill>
            </a:endParaRP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987118" y="29"/>
            <a:ext cx="9547841" cy="3535316"/>
          </a:xfrm>
        </p:spPr>
        <p:txBody>
          <a:bodyPr anchor="b" anchorCtr="0">
            <a:noAutofit/>
          </a:bodyPr>
          <a:lstStyle>
            <a:lvl1pPr algn="l">
              <a:lnSpc>
                <a:spcPct val="80000"/>
              </a:lnSpc>
              <a:defRPr sz="8315" b="0" cap="all">
                <a:solidFill>
                  <a:schemeClr val="bg1"/>
                </a:solidFill>
                <a:latin typeface="Bebas Neue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987118" y="3535348"/>
            <a:ext cx="9547841" cy="1948171"/>
          </a:xfrm>
        </p:spPr>
        <p:txBody>
          <a:bodyPr anchor="t" anchorCtr="0"/>
          <a:lstStyle>
            <a:lvl1pPr marL="0" indent="0">
              <a:lnSpc>
                <a:spcPct val="80000"/>
              </a:lnSpc>
              <a:buNone/>
              <a:defRPr sz="4160">
                <a:solidFill>
                  <a:srgbClr val="B2B2B2"/>
                </a:solidFill>
              </a:defRPr>
            </a:lvl1pPr>
            <a:lvl2pPr marL="431165" indent="0">
              <a:buNone/>
              <a:defRPr sz="1765">
                <a:solidFill>
                  <a:schemeClr val="tx1">
                    <a:tint val="75000"/>
                  </a:schemeClr>
                </a:solidFill>
              </a:defRPr>
            </a:lvl2pPr>
            <a:lvl3pPr marL="861695" indent="0">
              <a:buNone/>
              <a:defRPr sz="1510">
                <a:solidFill>
                  <a:schemeClr val="tx1">
                    <a:tint val="75000"/>
                  </a:schemeClr>
                </a:solidFill>
              </a:defRPr>
            </a:lvl3pPr>
            <a:lvl4pPr marL="129286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4pPr>
            <a:lvl5pPr marL="1724025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5pPr>
            <a:lvl6pPr marL="215519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6pPr>
            <a:lvl7pPr marL="258572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7pPr>
            <a:lvl8pPr marL="3016885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8pPr>
            <a:lvl9pPr marL="344805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682564" y="5813601"/>
            <a:ext cx="6454429" cy="34016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487949" y="5813601"/>
            <a:ext cx="864181" cy="340167"/>
          </a:xfrm>
        </p:spPr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 flipV="1">
            <a:off x="2" y="5483487"/>
            <a:ext cx="11522072" cy="996688"/>
          </a:xfrm>
          <a:prstGeom prst="rect">
            <a:avLst/>
          </a:prstGeom>
          <a:solidFill>
            <a:srgbClr val="EAEAEA"/>
          </a:solidFill>
          <a:ln w="15875" cap="flat">
            <a:noFill/>
            <a:prstDash val="solid"/>
            <a:miter lim="800000"/>
          </a:ln>
        </p:spPr>
        <p:txBody>
          <a:bodyPr vert="horz" wrap="square" lIns="86212" tIns="43105" rIns="86212" bIns="43105" numCol="1" anchor="t" anchorCtr="0" compatLnSpc="1"/>
          <a:lstStyle/>
          <a:p>
            <a:pPr defTabSz="861695"/>
            <a:endParaRPr lang="de-DE" sz="1765" dirty="0">
              <a:solidFill>
                <a:prstClr val="black"/>
              </a:solidFill>
            </a:endParaRPr>
          </a:p>
        </p:txBody>
      </p:sp>
      <p:sp>
        <p:nvSpPr>
          <p:cNvPr id="9" name="Rechteck 8"/>
          <p:cNvSpPr/>
          <p:nvPr userDrawn="1"/>
        </p:nvSpPr>
        <p:spPr bwMode="auto">
          <a:xfrm>
            <a:off x="2" y="0"/>
            <a:ext cx="11522072" cy="5483487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5875" cap="flat">
            <a:noFill/>
            <a:prstDash val="solid"/>
            <a:miter lim="800000"/>
          </a:ln>
        </p:spPr>
        <p:txBody>
          <a:bodyPr vert="horz" wrap="square" lIns="86212" tIns="43105" rIns="86212" bIns="43105" numCol="1" anchor="t" anchorCtr="0" compatLnSpc="1"/>
          <a:lstStyle/>
          <a:p>
            <a:pPr defTabSz="861695"/>
            <a:endParaRPr lang="de-DE" sz="1765" dirty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>
          <a:xfrm>
            <a:off x="987118" y="29"/>
            <a:ext cx="9547841" cy="3535316"/>
          </a:xfrm>
        </p:spPr>
        <p:txBody>
          <a:bodyPr anchor="b" anchorCtr="0">
            <a:noAutofit/>
          </a:bodyPr>
          <a:lstStyle>
            <a:lvl1pPr algn="ctr">
              <a:lnSpc>
                <a:spcPct val="80000"/>
              </a:lnSpc>
              <a:defRPr sz="8315" b="0" cap="all">
                <a:solidFill>
                  <a:schemeClr val="bg1"/>
                </a:solidFill>
                <a:latin typeface="Bebas Neue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987118" y="3535348"/>
            <a:ext cx="9547841" cy="1948171"/>
          </a:xfrm>
        </p:spPr>
        <p:txBody>
          <a:bodyPr anchor="t" anchorCtr="0"/>
          <a:lstStyle>
            <a:lvl1pPr marL="0" indent="0" algn="ctr">
              <a:lnSpc>
                <a:spcPct val="80000"/>
              </a:lnSpc>
              <a:buNone/>
              <a:defRPr sz="4160">
                <a:solidFill>
                  <a:srgbClr val="B2B2B2"/>
                </a:solidFill>
              </a:defRPr>
            </a:lvl1pPr>
            <a:lvl2pPr marL="431165" indent="0">
              <a:buNone/>
              <a:defRPr sz="1765">
                <a:solidFill>
                  <a:schemeClr val="tx1">
                    <a:tint val="75000"/>
                  </a:schemeClr>
                </a:solidFill>
              </a:defRPr>
            </a:lvl2pPr>
            <a:lvl3pPr marL="861695" indent="0">
              <a:buNone/>
              <a:defRPr sz="1510">
                <a:solidFill>
                  <a:schemeClr val="tx1">
                    <a:tint val="75000"/>
                  </a:schemeClr>
                </a:solidFill>
              </a:defRPr>
            </a:lvl3pPr>
            <a:lvl4pPr marL="129286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4pPr>
            <a:lvl5pPr marL="1724025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5pPr>
            <a:lvl6pPr marL="215519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6pPr>
            <a:lvl7pPr marL="258572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7pPr>
            <a:lvl8pPr marL="3016885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8pPr>
            <a:lvl9pPr marL="344805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 flipV="1">
            <a:off x="2" y="5483487"/>
            <a:ext cx="11522072" cy="996688"/>
          </a:xfrm>
          <a:prstGeom prst="rect">
            <a:avLst/>
          </a:prstGeom>
          <a:solidFill>
            <a:srgbClr val="EAEAEA"/>
          </a:solidFill>
          <a:ln w="15875" cap="flat">
            <a:noFill/>
            <a:prstDash val="solid"/>
            <a:miter lim="800000"/>
          </a:ln>
        </p:spPr>
        <p:txBody>
          <a:bodyPr vert="horz" wrap="square" lIns="86212" tIns="43105" rIns="86212" bIns="43105" numCol="1" anchor="t" anchorCtr="0" compatLnSpc="1"/>
          <a:lstStyle/>
          <a:p>
            <a:pPr defTabSz="861695"/>
            <a:endParaRPr lang="de-DE" sz="1765" dirty="0">
              <a:solidFill>
                <a:prstClr val="black"/>
              </a:solidFill>
            </a:endParaRPr>
          </a:p>
        </p:txBody>
      </p:sp>
      <p:sp>
        <p:nvSpPr>
          <p:cNvPr id="9" name="Rechteck 8"/>
          <p:cNvSpPr/>
          <p:nvPr userDrawn="1"/>
        </p:nvSpPr>
        <p:spPr bwMode="auto">
          <a:xfrm>
            <a:off x="2" y="0"/>
            <a:ext cx="11522072" cy="5483487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5875" cap="flat">
            <a:noFill/>
            <a:prstDash val="solid"/>
            <a:miter lim="800000"/>
          </a:ln>
        </p:spPr>
        <p:txBody>
          <a:bodyPr vert="horz" wrap="square" lIns="86212" tIns="43105" rIns="86212" bIns="43105" numCol="1" anchor="t" anchorCtr="0" compatLnSpc="1"/>
          <a:lstStyle/>
          <a:p>
            <a:pPr defTabSz="861695"/>
            <a:endParaRPr lang="de-DE" sz="1765" dirty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>
          <a:xfrm>
            <a:off x="987118" y="19"/>
            <a:ext cx="9547841" cy="3069406"/>
          </a:xfrm>
        </p:spPr>
        <p:txBody>
          <a:bodyPr anchor="b" anchorCtr="0">
            <a:noAutofit/>
          </a:bodyPr>
          <a:lstStyle>
            <a:lvl1pPr algn="ctr">
              <a:lnSpc>
                <a:spcPct val="80000"/>
              </a:lnSpc>
              <a:defRPr sz="8315" b="0" cap="all">
                <a:solidFill>
                  <a:schemeClr val="bg1"/>
                </a:solidFill>
                <a:latin typeface="Bebas Neue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987118" y="3069405"/>
            <a:ext cx="9547841" cy="2414082"/>
          </a:xfrm>
        </p:spPr>
        <p:txBody>
          <a:bodyPr anchor="t" anchorCtr="0"/>
          <a:lstStyle>
            <a:lvl1pPr marL="0" indent="0" algn="ctr">
              <a:lnSpc>
                <a:spcPct val="80000"/>
              </a:lnSpc>
              <a:buNone/>
              <a:defRPr sz="4160">
                <a:solidFill>
                  <a:srgbClr val="B2B2B2"/>
                </a:solidFill>
              </a:defRPr>
            </a:lvl1pPr>
            <a:lvl2pPr marL="431165" indent="0">
              <a:buNone/>
              <a:defRPr sz="1765">
                <a:solidFill>
                  <a:schemeClr val="tx1">
                    <a:tint val="75000"/>
                  </a:schemeClr>
                </a:solidFill>
              </a:defRPr>
            </a:lvl2pPr>
            <a:lvl3pPr marL="861695" indent="0">
              <a:buNone/>
              <a:defRPr sz="1510">
                <a:solidFill>
                  <a:schemeClr val="tx1">
                    <a:tint val="75000"/>
                  </a:schemeClr>
                </a:solidFill>
              </a:defRPr>
            </a:lvl3pPr>
            <a:lvl4pPr marL="129286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4pPr>
            <a:lvl5pPr marL="1724025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5pPr>
            <a:lvl6pPr marL="215519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6pPr>
            <a:lvl7pPr marL="258572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7pPr>
            <a:lvl8pPr marL="3016885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8pPr>
            <a:lvl9pPr marL="344805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87983" y="1402197"/>
            <a:ext cx="10522965" cy="4081289"/>
          </a:xfrm>
          <a:noFill/>
        </p:spPr>
        <p:txBody>
          <a:bodyPr/>
          <a:lstStyle>
            <a:lvl1pPr>
              <a:defRPr sz="2140"/>
            </a:lvl1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38" name="Titel 1"/>
          <p:cNvSpPr>
            <a:spLocks noGrp="1"/>
          </p:cNvSpPr>
          <p:nvPr>
            <p:ph type="title"/>
          </p:nvPr>
        </p:nvSpPr>
        <p:spPr>
          <a:xfrm>
            <a:off x="487983" y="388195"/>
            <a:ext cx="10522965" cy="1014002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487983" y="388195"/>
            <a:ext cx="10522965" cy="1014002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87949" y="1402197"/>
            <a:ext cx="6886685" cy="4081289"/>
          </a:xfrm>
          <a:noFill/>
        </p:spPr>
        <p:txBody>
          <a:bodyPr/>
          <a:lstStyle>
            <a:lvl1pPr>
              <a:defRPr sz="2140"/>
            </a:lvl1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487983" y="388195"/>
            <a:ext cx="10522965" cy="1014002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87983" y="1402197"/>
            <a:ext cx="5068547" cy="4081289"/>
          </a:xfrm>
          <a:noFill/>
        </p:spPr>
        <p:txBody>
          <a:bodyPr/>
          <a:lstStyle>
            <a:lvl1pPr>
              <a:defRPr sz="2140"/>
            </a:lvl1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" y="63"/>
            <a:ext cx="11521555" cy="6480112"/>
          </a:xfrm>
          <a:prstGeom prst="rect">
            <a:avLst/>
          </a:prstGeom>
        </p:spPr>
      </p:pic>
      <p:sp>
        <p:nvSpPr>
          <p:cNvPr id="3" name="文本占位符 2"/>
          <p:cNvSpPr>
            <a:spLocks noGrp="1"/>
          </p:cNvSpPr>
          <p:nvPr>
            <p:ph type="body" sz="quarter" idx="13" hasCustomPrompt="1"/>
          </p:nvPr>
        </p:nvSpPr>
        <p:spPr>
          <a:xfrm>
            <a:off x="864493" y="1079847"/>
            <a:ext cx="5329238" cy="80664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400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pPr marL="385445" marR="0" lvl="0" indent="-385445" algn="l" defTabSz="102806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kumimoji="1" lang="zh-CN" altLang="en-US" dirty="0"/>
              <a:t>感谢您的时间。</a:t>
            </a:r>
          </a:p>
        </p:txBody>
      </p:sp>
      <p:sp>
        <p:nvSpPr>
          <p:cNvPr id="12" name="文本占位符 2"/>
          <p:cNvSpPr>
            <a:spLocks noGrp="1"/>
          </p:cNvSpPr>
          <p:nvPr>
            <p:ph type="body" sz="quarter" idx="14" hasCustomPrompt="1"/>
          </p:nvPr>
        </p:nvSpPr>
        <p:spPr>
          <a:xfrm>
            <a:off x="864493" y="1877580"/>
            <a:ext cx="5329238" cy="570420"/>
          </a:xfrm>
          <a:prstGeom prst="rect">
            <a:avLst/>
          </a:prstGeom>
        </p:spPr>
        <p:txBody>
          <a:bodyPr anchor="ctr"/>
          <a:lstStyle>
            <a:lvl1pPr marL="0" marR="0" indent="0" algn="l" defTabSz="102806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defRPr sz="280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pPr marL="385445" marR="0" lvl="0" indent="-385445" algn="l" defTabSz="102806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en-US" altLang="zh-CN" sz="2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HANKS</a:t>
            </a:r>
            <a:r>
              <a:rPr kumimoji="1" lang="en-US" altLang="zh-CN" dirty="0"/>
              <a:t>.</a:t>
            </a:r>
            <a:endParaRPr kumimoji="1" lang="zh-CN" altLang="en-US" dirty="0"/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75184" y="5544343"/>
            <a:ext cx="1609888" cy="49313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5941561" y="388195"/>
            <a:ext cx="5069356" cy="1014002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941487" y="1402197"/>
            <a:ext cx="5068547" cy="4081289"/>
          </a:xfrm>
          <a:noFill/>
        </p:spPr>
        <p:txBody>
          <a:bodyPr/>
          <a:lstStyle>
            <a:lvl1pPr>
              <a:defRPr sz="2140"/>
            </a:lvl1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487983" y="388195"/>
            <a:ext cx="10522965" cy="1014002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87951" y="1402197"/>
            <a:ext cx="2882696" cy="4081289"/>
          </a:xfrm>
          <a:noFill/>
        </p:spPr>
        <p:txBody>
          <a:bodyPr/>
          <a:lstStyle>
            <a:lvl1pPr>
              <a:defRPr sz="1890"/>
            </a:lvl1pPr>
            <a:lvl2pPr>
              <a:defRPr sz="1765"/>
            </a:lvl2pPr>
            <a:lvl3pPr>
              <a:defRPr sz="1510"/>
            </a:lvl3pPr>
            <a:lvl4pPr>
              <a:defRPr sz="1385"/>
            </a:lvl4pPr>
            <a:lvl5pPr>
              <a:defRPr sz="1385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487983" y="388195"/>
            <a:ext cx="10522965" cy="1014002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8293347" y="1402197"/>
            <a:ext cx="2706629" cy="4081289"/>
          </a:xfrm>
          <a:noFill/>
        </p:spPr>
        <p:txBody>
          <a:bodyPr/>
          <a:lstStyle>
            <a:lvl1pPr>
              <a:defRPr sz="1890"/>
            </a:lvl1pPr>
            <a:lvl2pPr>
              <a:defRPr sz="1765"/>
            </a:lvl2pPr>
            <a:lvl3pPr>
              <a:defRPr sz="1510"/>
            </a:lvl3pPr>
            <a:lvl4pPr>
              <a:defRPr sz="1385"/>
            </a:lvl4pPr>
            <a:lvl5pPr>
              <a:defRPr sz="1385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ellenplatzhalter 3"/>
          <p:cNvSpPr>
            <a:spLocks noGrp="1"/>
          </p:cNvSpPr>
          <p:nvPr>
            <p:ph type="tbl" sz="quarter" idx="14"/>
          </p:nvPr>
        </p:nvSpPr>
        <p:spPr>
          <a:xfrm>
            <a:off x="510159" y="1470071"/>
            <a:ext cx="10500257" cy="4014109"/>
          </a:xfrm>
          <a:noFill/>
        </p:spPr>
        <p:txBody>
          <a:bodyPr/>
          <a:lstStyle/>
          <a:p>
            <a:endParaRPr lang="de-DE" dirty="0"/>
          </a:p>
        </p:txBody>
      </p:sp>
      <p:sp>
        <p:nvSpPr>
          <p:cNvPr id="38" name="Titel 1"/>
          <p:cNvSpPr>
            <a:spLocks noGrp="1"/>
          </p:cNvSpPr>
          <p:nvPr>
            <p:ph type="title"/>
          </p:nvPr>
        </p:nvSpPr>
        <p:spPr>
          <a:xfrm>
            <a:off x="487983" y="388195"/>
            <a:ext cx="10522965" cy="1014002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11522075" cy="6480175"/>
          </a:xfrm>
          <a:prstGeom prst="rect">
            <a:avLst/>
          </a:prstGeom>
          <a:solidFill>
            <a:srgbClr val="D9D9D9"/>
          </a:solidFill>
          <a:ln w="12700">
            <a:noFill/>
            <a:round/>
          </a:ln>
        </p:spPr>
        <p:txBody>
          <a:bodyPr rot="0" spcFirstLastPara="0" vert="horz" wrap="square" lIns="86212" tIns="43105" rIns="86212" bIns="43105" numCol="1" spcCol="0" rtlCol="0" fromWordArt="0" anchor="ctr" anchorCtr="0" forceAA="0" compatLnSpc="1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270" dirty="0">
              <a:solidFill>
                <a:prstClr val="black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5" name="Inhaltsplatzhalter 2"/>
          <p:cNvSpPr>
            <a:spLocks noGrp="1"/>
          </p:cNvSpPr>
          <p:nvPr>
            <p:ph idx="1" hasCustomPrompt="1"/>
          </p:nvPr>
        </p:nvSpPr>
        <p:spPr>
          <a:xfrm>
            <a:off x="487983" y="1402197"/>
            <a:ext cx="10522965" cy="4081289"/>
          </a:xfrm>
          <a:noFill/>
        </p:spPr>
        <p:txBody>
          <a:bodyPr/>
          <a:lstStyle>
            <a:lvl1pPr>
              <a:defRPr sz="2140"/>
            </a:lvl1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11522075" cy="6480175"/>
          </a:xfrm>
          <a:prstGeom prst="rect">
            <a:avLst/>
          </a:prstGeom>
          <a:solidFill>
            <a:srgbClr val="262626"/>
          </a:solidFill>
          <a:ln w="12700">
            <a:noFill/>
            <a:round/>
          </a:ln>
        </p:spPr>
        <p:txBody>
          <a:bodyPr rot="0" spcFirstLastPara="0" vert="horz" wrap="square" lIns="86212" tIns="43105" rIns="86212" bIns="43105" numCol="1" spcCol="0" rtlCol="0" fromWordArt="0" anchor="ctr" anchorCtr="0" forceAA="0" compatLnSpc="1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270" dirty="0">
              <a:solidFill>
                <a:prstClr val="black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 hasCustomPrompt="1"/>
          </p:nvPr>
        </p:nvSpPr>
        <p:spPr>
          <a:xfrm>
            <a:off x="487983" y="1402197"/>
            <a:ext cx="10522965" cy="4081289"/>
          </a:xfrm>
          <a:noFill/>
        </p:spPr>
        <p:txBody>
          <a:bodyPr/>
          <a:lstStyle>
            <a:lvl1pPr>
              <a:defRPr sz="2140">
                <a:solidFill>
                  <a:srgbClr val="D9D9D9"/>
                </a:solidFill>
              </a:defRPr>
            </a:lvl1pPr>
            <a:lvl2pPr>
              <a:defRPr>
                <a:solidFill>
                  <a:srgbClr val="D9D9D9"/>
                </a:solidFill>
              </a:defRPr>
            </a:lvl2pPr>
            <a:lvl3pPr>
              <a:defRPr>
                <a:solidFill>
                  <a:srgbClr val="D9D9D9"/>
                </a:solidFill>
              </a:defRPr>
            </a:lvl3pPr>
            <a:lvl4pPr>
              <a:defRPr>
                <a:solidFill>
                  <a:srgbClr val="D9D9D9"/>
                </a:solidFill>
              </a:defRPr>
            </a:lvl4pPr>
            <a:lvl5pPr>
              <a:defRPr>
                <a:solidFill>
                  <a:srgbClr val="D9D9D9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0" y="0"/>
            <a:ext cx="11522075" cy="6480175"/>
          </a:xfrm>
          <a:prstGeom prst="rect">
            <a:avLst/>
          </a:prstGeom>
          <a:solidFill>
            <a:srgbClr val="C8303F"/>
          </a:solidFill>
          <a:ln w="15875" cap="flat">
            <a:noFill/>
            <a:prstDash val="solid"/>
            <a:miter lim="800000"/>
          </a:ln>
        </p:spPr>
        <p:txBody>
          <a:bodyPr vert="horz" wrap="square" lIns="86212" tIns="43105" rIns="86212" bIns="43105" numCol="1" anchor="t" anchorCtr="0" compatLnSpc="1"/>
          <a:lstStyle/>
          <a:p>
            <a:pPr defTabSz="861695"/>
            <a:endParaRPr lang="en-US" sz="1765" dirty="0">
              <a:solidFill>
                <a:prstClr val="black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 hasCustomPrompt="1"/>
          </p:nvPr>
        </p:nvSpPr>
        <p:spPr>
          <a:xfrm>
            <a:off x="487983" y="1402197"/>
            <a:ext cx="10522965" cy="4081289"/>
          </a:xfrm>
          <a:noFill/>
        </p:spPr>
        <p:txBody>
          <a:bodyPr/>
          <a:lstStyle>
            <a:lvl1pPr>
              <a:defRPr sz="2140">
                <a:solidFill>
                  <a:srgbClr val="DDDDDD"/>
                </a:solidFill>
              </a:defRPr>
            </a:lvl1pPr>
            <a:lvl2pPr>
              <a:defRPr>
                <a:solidFill>
                  <a:srgbClr val="DDDDDD"/>
                </a:solidFill>
              </a:defRPr>
            </a:lvl2pPr>
            <a:lvl3pPr>
              <a:defRPr>
                <a:solidFill>
                  <a:srgbClr val="DDDDDD"/>
                </a:solidFill>
              </a:defRPr>
            </a:lvl3pPr>
            <a:lvl4pPr>
              <a:defRPr>
                <a:solidFill>
                  <a:srgbClr val="DDDDDD"/>
                </a:solidFill>
              </a:defRPr>
            </a:lvl4pPr>
            <a:lvl5pPr>
              <a:defRPr>
                <a:solidFill>
                  <a:srgbClr val="DDDDDD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87949" y="890554"/>
            <a:ext cx="10522764" cy="511643"/>
          </a:xfrm>
        </p:spPr>
        <p:txBody>
          <a:bodyPr lIns="8099" anchor="t" anchorCtr="0"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92143" y="345010"/>
            <a:ext cx="9937790" cy="1252534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792143" y="1725046"/>
            <a:ext cx="9937790" cy="41116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792143" y="6006163"/>
            <a:ext cx="2592467" cy="345009"/>
          </a:xfrm>
          <a:prstGeom prst="rect">
            <a:avLst/>
          </a:prstGeom>
        </p:spPr>
        <p:txBody>
          <a:bodyPr/>
          <a:lstStyle/>
          <a:p>
            <a:fld id="{7CF4F632-42EE-49A9-ACEE-7D9601D639BE}" type="datetimeFigureOut">
              <a:rPr lang="zh-CN" altLang="en-US" smtClean="0">
                <a:solidFill>
                  <a:prstClr val="black"/>
                </a:solidFill>
              </a:rPr>
              <a:t>19/11/22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816688" y="6006163"/>
            <a:ext cx="3888700" cy="345009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137465" y="6006163"/>
            <a:ext cx="2592467" cy="345009"/>
          </a:xfrm>
          <a:prstGeom prst="rect">
            <a:avLst/>
          </a:prstGeom>
        </p:spPr>
        <p:txBody>
          <a:bodyPr/>
          <a:lstStyle/>
          <a:p>
            <a:fld id="{BBC0211A-8432-4287-9801-2BCC6197BD12}" type="slidenum">
              <a:rPr lang="zh-CN" altLang="en-US" smtClean="0">
                <a:solidFill>
                  <a:prstClr val="black"/>
                </a:solidFill>
              </a:rPr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87949" y="890554"/>
            <a:ext cx="10522764" cy="511643"/>
          </a:xfrm>
        </p:spPr>
        <p:txBody>
          <a:bodyPr lIns="10780" anchor="t" anchorCtr="0"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  <p:pic>
        <p:nvPicPr>
          <p:cNvPr id="25602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1132" y="5304143"/>
            <a:ext cx="4212759" cy="11760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kicker page no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27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08074" y="1306084"/>
            <a:ext cx="10475030" cy="371905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4"/>
          </p:nvPr>
        </p:nvSpPr>
        <p:spPr>
          <a:xfrm>
            <a:off x="8833591" y="6343676"/>
            <a:ext cx="2688484" cy="14100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D1E3DD-2B4E-4B40-BAAE-44B7B98BF3EC}" type="slidenum">
              <a:rPr lang="en-GB"/>
              <a:t>‹#›</a:t>
            </a:fld>
            <a:endParaRPr lang="en-GB"/>
          </a:p>
        </p:txBody>
      </p:sp>
    </p:spTree>
  </p:cSld>
  <p:clrMapOvr>
    <a:masterClrMapping/>
  </p:clrMapOvr>
  <p:transition xmlns:p14="http://schemas.microsoft.com/office/powerpoint/2010/main" spd="med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2" y="0"/>
            <a:ext cx="11522072" cy="5483487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5875" cap="flat">
            <a:noFill/>
            <a:prstDash val="solid"/>
            <a:miter lim="800000"/>
          </a:ln>
        </p:spPr>
        <p:txBody>
          <a:bodyPr vert="horz" wrap="square" lIns="86212" tIns="43105" rIns="86212" bIns="43105" numCol="1" anchor="t" anchorCtr="0" compatLnSpc="1"/>
          <a:lstStyle/>
          <a:p>
            <a:pPr defTabSz="861695"/>
            <a:endParaRPr lang="de-DE" sz="1765" dirty="0">
              <a:solidFill>
                <a:prstClr val="black"/>
              </a:solidFill>
            </a:endParaRPr>
          </a:p>
        </p:txBody>
      </p:sp>
      <p:sp>
        <p:nvSpPr>
          <p:cNvPr id="9" name="Rechteck 8"/>
          <p:cNvSpPr/>
          <p:nvPr userDrawn="1"/>
        </p:nvSpPr>
        <p:spPr bwMode="auto">
          <a:xfrm flipV="1">
            <a:off x="2" y="5483487"/>
            <a:ext cx="11522072" cy="996688"/>
          </a:xfrm>
          <a:prstGeom prst="rect">
            <a:avLst/>
          </a:prstGeom>
          <a:solidFill>
            <a:srgbClr val="EAEAEA"/>
          </a:solidFill>
          <a:ln w="15875" cap="flat">
            <a:noFill/>
            <a:prstDash val="solid"/>
            <a:miter lim="800000"/>
          </a:ln>
        </p:spPr>
        <p:txBody>
          <a:bodyPr vert="horz" wrap="square" lIns="86212" tIns="43105" rIns="86212" bIns="43105" numCol="1" anchor="t" anchorCtr="0" compatLnSpc="1"/>
          <a:lstStyle/>
          <a:p>
            <a:pPr defTabSz="861695"/>
            <a:endParaRPr lang="de-DE" sz="1765" dirty="0">
              <a:solidFill>
                <a:prstClr val="black"/>
              </a:solidFill>
            </a:endParaRPr>
          </a:p>
        </p:txBody>
      </p:sp>
      <p:sp>
        <p:nvSpPr>
          <p:cNvPr id="6" name="Textfeld 5"/>
          <p:cNvSpPr txBox="1"/>
          <p:nvPr userDrawn="1"/>
        </p:nvSpPr>
        <p:spPr>
          <a:xfrm>
            <a:off x="-98746" y="-2011937"/>
            <a:ext cx="174189" cy="358545"/>
          </a:xfrm>
          <a:prstGeom prst="rect">
            <a:avLst/>
          </a:prstGeom>
          <a:noFill/>
        </p:spPr>
        <p:txBody>
          <a:bodyPr wrap="none" lIns="86220" tIns="43109" rIns="86220" bIns="43109" rtlCol="0">
            <a:spAutoFit/>
          </a:bodyPr>
          <a:lstStyle/>
          <a:p>
            <a:pPr defTabSz="861695"/>
            <a:endParaRPr lang="en-US" sz="1765" dirty="0">
              <a:solidFill>
                <a:prstClr val="black"/>
              </a:solidFill>
            </a:endParaRP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987118" y="29"/>
            <a:ext cx="9547841" cy="3535316"/>
          </a:xfrm>
        </p:spPr>
        <p:txBody>
          <a:bodyPr anchor="b" anchorCtr="0">
            <a:noAutofit/>
          </a:bodyPr>
          <a:lstStyle>
            <a:lvl1pPr algn="l">
              <a:lnSpc>
                <a:spcPct val="80000"/>
              </a:lnSpc>
              <a:defRPr sz="8315" b="0" cap="all">
                <a:solidFill>
                  <a:schemeClr val="bg1"/>
                </a:solidFill>
                <a:latin typeface="Bebas Neue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987118" y="3535348"/>
            <a:ext cx="9547841" cy="1948171"/>
          </a:xfrm>
        </p:spPr>
        <p:txBody>
          <a:bodyPr anchor="t" anchorCtr="0"/>
          <a:lstStyle>
            <a:lvl1pPr marL="0" indent="0">
              <a:lnSpc>
                <a:spcPct val="80000"/>
              </a:lnSpc>
              <a:buNone/>
              <a:defRPr sz="4160">
                <a:solidFill>
                  <a:srgbClr val="B2B2B2"/>
                </a:solidFill>
              </a:defRPr>
            </a:lvl1pPr>
            <a:lvl2pPr marL="431165" indent="0">
              <a:buNone/>
              <a:defRPr sz="1765">
                <a:solidFill>
                  <a:schemeClr val="tx1">
                    <a:tint val="75000"/>
                  </a:schemeClr>
                </a:solidFill>
              </a:defRPr>
            </a:lvl2pPr>
            <a:lvl3pPr marL="861695" indent="0">
              <a:buNone/>
              <a:defRPr sz="1510">
                <a:solidFill>
                  <a:schemeClr val="tx1">
                    <a:tint val="75000"/>
                  </a:schemeClr>
                </a:solidFill>
              </a:defRPr>
            </a:lvl3pPr>
            <a:lvl4pPr marL="129286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4pPr>
            <a:lvl5pPr marL="1724025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5pPr>
            <a:lvl6pPr marL="215519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6pPr>
            <a:lvl7pPr marL="258572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7pPr>
            <a:lvl8pPr marL="3016885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8pPr>
            <a:lvl9pPr marL="344805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682564" y="5813601"/>
            <a:ext cx="6454429" cy="34016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487949" y="5813601"/>
            <a:ext cx="864181" cy="340167"/>
          </a:xfrm>
        </p:spPr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 flipV="1">
            <a:off x="2" y="5483487"/>
            <a:ext cx="11522072" cy="996688"/>
          </a:xfrm>
          <a:prstGeom prst="rect">
            <a:avLst/>
          </a:prstGeom>
          <a:solidFill>
            <a:srgbClr val="EAEAEA"/>
          </a:solidFill>
          <a:ln w="15875" cap="flat">
            <a:noFill/>
            <a:prstDash val="solid"/>
            <a:miter lim="800000"/>
          </a:ln>
        </p:spPr>
        <p:txBody>
          <a:bodyPr vert="horz" wrap="square" lIns="86212" tIns="43105" rIns="86212" bIns="43105" numCol="1" anchor="t" anchorCtr="0" compatLnSpc="1"/>
          <a:lstStyle/>
          <a:p>
            <a:pPr defTabSz="861695"/>
            <a:endParaRPr lang="de-DE" sz="1765" dirty="0">
              <a:solidFill>
                <a:prstClr val="black"/>
              </a:solidFill>
            </a:endParaRPr>
          </a:p>
        </p:txBody>
      </p:sp>
      <p:sp>
        <p:nvSpPr>
          <p:cNvPr id="9" name="Rechteck 8"/>
          <p:cNvSpPr/>
          <p:nvPr userDrawn="1"/>
        </p:nvSpPr>
        <p:spPr bwMode="auto">
          <a:xfrm>
            <a:off x="2" y="0"/>
            <a:ext cx="11522072" cy="5483487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5875" cap="flat">
            <a:noFill/>
            <a:prstDash val="solid"/>
            <a:miter lim="800000"/>
          </a:ln>
        </p:spPr>
        <p:txBody>
          <a:bodyPr vert="horz" wrap="square" lIns="86212" tIns="43105" rIns="86212" bIns="43105" numCol="1" anchor="t" anchorCtr="0" compatLnSpc="1"/>
          <a:lstStyle/>
          <a:p>
            <a:pPr defTabSz="861695"/>
            <a:endParaRPr lang="de-DE" sz="1765" dirty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>
          <a:xfrm>
            <a:off x="987118" y="29"/>
            <a:ext cx="9547841" cy="3535316"/>
          </a:xfrm>
        </p:spPr>
        <p:txBody>
          <a:bodyPr anchor="b" anchorCtr="0">
            <a:noAutofit/>
          </a:bodyPr>
          <a:lstStyle>
            <a:lvl1pPr algn="ctr">
              <a:lnSpc>
                <a:spcPct val="80000"/>
              </a:lnSpc>
              <a:defRPr sz="8315" b="0" cap="all">
                <a:solidFill>
                  <a:schemeClr val="bg1"/>
                </a:solidFill>
                <a:latin typeface="Bebas Neue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987118" y="3535348"/>
            <a:ext cx="9547841" cy="1948171"/>
          </a:xfrm>
        </p:spPr>
        <p:txBody>
          <a:bodyPr anchor="t" anchorCtr="0"/>
          <a:lstStyle>
            <a:lvl1pPr marL="0" indent="0" algn="ctr">
              <a:lnSpc>
                <a:spcPct val="80000"/>
              </a:lnSpc>
              <a:buNone/>
              <a:defRPr sz="4160">
                <a:solidFill>
                  <a:srgbClr val="B2B2B2"/>
                </a:solidFill>
              </a:defRPr>
            </a:lvl1pPr>
            <a:lvl2pPr marL="431165" indent="0">
              <a:buNone/>
              <a:defRPr sz="1765">
                <a:solidFill>
                  <a:schemeClr val="tx1">
                    <a:tint val="75000"/>
                  </a:schemeClr>
                </a:solidFill>
              </a:defRPr>
            </a:lvl2pPr>
            <a:lvl3pPr marL="861695" indent="0">
              <a:buNone/>
              <a:defRPr sz="1510">
                <a:solidFill>
                  <a:schemeClr val="tx1">
                    <a:tint val="75000"/>
                  </a:schemeClr>
                </a:solidFill>
              </a:defRPr>
            </a:lvl3pPr>
            <a:lvl4pPr marL="129286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4pPr>
            <a:lvl5pPr marL="1724025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5pPr>
            <a:lvl6pPr marL="215519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6pPr>
            <a:lvl7pPr marL="258572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7pPr>
            <a:lvl8pPr marL="3016885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8pPr>
            <a:lvl9pPr marL="344805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 flipV="1">
            <a:off x="2" y="5483487"/>
            <a:ext cx="11522072" cy="996688"/>
          </a:xfrm>
          <a:prstGeom prst="rect">
            <a:avLst/>
          </a:prstGeom>
          <a:solidFill>
            <a:srgbClr val="EAEAEA"/>
          </a:solidFill>
          <a:ln w="15875" cap="flat">
            <a:noFill/>
            <a:prstDash val="solid"/>
            <a:miter lim="800000"/>
          </a:ln>
        </p:spPr>
        <p:txBody>
          <a:bodyPr vert="horz" wrap="square" lIns="86212" tIns="43105" rIns="86212" bIns="43105" numCol="1" anchor="t" anchorCtr="0" compatLnSpc="1"/>
          <a:lstStyle/>
          <a:p>
            <a:pPr defTabSz="861695"/>
            <a:endParaRPr lang="de-DE" sz="1765" dirty="0">
              <a:solidFill>
                <a:prstClr val="black"/>
              </a:solidFill>
            </a:endParaRPr>
          </a:p>
        </p:txBody>
      </p:sp>
      <p:sp>
        <p:nvSpPr>
          <p:cNvPr id="9" name="Rechteck 8"/>
          <p:cNvSpPr/>
          <p:nvPr userDrawn="1"/>
        </p:nvSpPr>
        <p:spPr bwMode="auto">
          <a:xfrm>
            <a:off x="2" y="0"/>
            <a:ext cx="11522072" cy="5483487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5875" cap="flat">
            <a:noFill/>
            <a:prstDash val="solid"/>
            <a:miter lim="800000"/>
          </a:ln>
        </p:spPr>
        <p:txBody>
          <a:bodyPr vert="horz" wrap="square" lIns="86212" tIns="43105" rIns="86212" bIns="43105" numCol="1" anchor="t" anchorCtr="0" compatLnSpc="1"/>
          <a:lstStyle/>
          <a:p>
            <a:pPr defTabSz="861695"/>
            <a:endParaRPr lang="de-DE" sz="1765" dirty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>
          <a:xfrm>
            <a:off x="987118" y="19"/>
            <a:ext cx="9547841" cy="3069406"/>
          </a:xfrm>
        </p:spPr>
        <p:txBody>
          <a:bodyPr anchor="b" anchorCtr="0">
            <a:noAutofit/>
          </a:bodyPr>
          <a:lstStyle>
            <a:lvl1pPr algn="ctr">
              <a:lnSpc>
                <a:spcPct val="80000"/>
              </a:lnSpc>
              <a:defRPr sz="8315" b="0" cap="all">
                <a:solidFill>
                  <a:schemeClr val="bg1"/>
                </a:solidFill>
                <a:latin typeface="Bebas Neue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987118" y="3069405"/>
            <a:ext cx="9547841" cy="2414082"/>
          </a:xfrm>
        </p:spPr>
        <p:txBody>
          <a:bodyPr anchor="t" anchorCtr="0"/>
          <a:lstStyle>
            <a:lvl1pPr marL="0" indent="0" algn="ctr">
              <a:lnSpc>
                <a:spcPct val="80000"/>
              </a:lnSpc>
              <a:buNone/>
              <a:defRPr sz="4160">
                <a:solidFill>
                  <a:srgbClr val="B2B2B2"/>
                </a:solidFill>
              </a:defRPr>
            </a:lvl1pPr>
            <a:lvl2pPr marL="431165" indent="0">
              <a:buNone/>
              <a:defRPr sz="1765">
                <a:solidFill>
                  <a:schemeClr val="tx1">
                    <a:tint val="75000"/>
                  </a:schemeClr>
                </a:solidFill>
              </a:defRPr>
            </a:lvl2pPr>
            <a:lvl3pPr marL="861695" indent="0">
              <a:buNone/>
              <a:defRPr sz="1510">
                <a:solidFill>
                  <a:schemeClr val="tx1">
                    <a:tint val="75000"/>
                  </a:schemeClr>
                </a:solidFill>
              </a:defRPr>
            </a:lvl3pPr>
            <a:lvl4pPr marL="129286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4pPr>
            <a:lvl5pPr marL="1724025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5pPr>
            <a:lvl6pPr marL="215519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6pPr>
            <a:lvl7pPr marL="258572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7pPr>
            <a:lvl8pPr marL="3016885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8pPr>
            <a:lvl9pPr marL="344805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87983" y="1402197"/>
            <a:ext cx="10522965" cy="4081289"/>
          </a:xfrm>
          <a:noFill/>
        </p:spPr>
        <p:txBody>
          <a:bodyPr/>
          <a:lstStyle>
            <a:lvl1pPr>
              <a:defRPr sz="2140"/>
            </a:lvl1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38" name="Titel 1"/>
          <p:cNvSpPr>
            <a:spLocks noGrp="1"/>
          </p:cNvSpPr>
          <p:nvPr>
            <p:ph type="title"/>
          </p:nvPr>
        </p:nvSpPr>
        <p:spPr>
          <a:xfrm>
            <a:off x="487983" y="388195"/>
            <a:ext cx="10522965" cy="1014002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487983" y="388195"/>
            <a:ext cx="10522965" cy="1014002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87949" y="1402197"/>
            <a:ext cx="6886685" cy="4081289"/>
          </a:xfrm>
          <a:noFill/>
        </p:spPr>
        <p:txBody>
          <a:bodyPr/>
          <a:lstStyle>
            <a:lvl1pPr>
              <a:defRPr sz="2140"/>
            </a:lvl1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487983" y="388195"/>
            <a:ext cx="10522965" cy="1014002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87983" y="1402197"/>
            <a:ext cx="5068547" cy="4081289"/>
          </a:xfrm>
          <a:noFill/>
        </p:spPr>
        <p:txBody>
          <a:bodyPr/>
          <a:lstStyle>
            <a:lvl1pPr>
              <a:defRPr sz="2140"/>
            </a:lvl1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5941561" y="388195"/>
            <a:ext cx="5069356" cy="1014002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941487" y="1402197"/>
            <a:ext cx="5068547" cy="4081289"/>
          </a:xfrm>
          <a:noFill/>
        </p:spPr>
        <p:txBody>
          <a:bodyPr/>
          <a:lstStyle>
            <a:lvl1pPr>
              <a:defRPr sz="2140"/>
            </a:lvl1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487983" y="388195"/>
            <a:ext cx="10522965" cy="1014002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87951" y="1402197"/>
            <a:ext cx="2882696" cy="4081289"/>
          </a:xfrm>
          <a:noFill/>
        </p:spPr>
        <p:txBody>
          <a:bodyPr/>
          <a:lstStyle>
            <a:lvl1pPr>
              <a:defRPr sz="1890"/>
            </a:lvl1pPr>
            <a:lvl2pPr>
              <a:defRPr sz="1765"/>
            </a:lvl2pPr>
            <a:lvl3pPr>
              <a:defRPr sz="1510"/>
            </a:lvl3pPr>
            <a:lvl4pPr>
              <a:defRPr sz="1385"/>
            </a:lvl4pPr>
            <a:lvl5pPr>
              <a:defRPr sz="1385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440260" y="1060529"/>
            <a:ext cx="8641556" cy="2256061"/>
          </a:xfrm>
        </p:spPr>
        <p:txBody>
          <a:bodyPr anchor="b"/>
          <a:lstStyle>
            <a:lvl1pPr algn="ctr">
              <a:defRPr sz="2835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440260" y="3403592"/>
            <a:ext cx="8641556" cy="1564542"/>
          </a:xfrm>
        </p:spPr>
        <p:txBody>
          <a:bodyPr/>
          <a:lstStyle>
            <a:lvl1pPr marL="0" indent="0" algn="ctr">
              <a:buNone/>
              <a:defRPr sz="1135"/>
            </a:lvl1pPr>
            <a:lvl2pPr marL="215900" indent="0" algn="ctr">
              <a:buNone/>
              <a:defRPr sz="945"/>
            </a:lvl2pPr>
            <a:lvl3pPr marL="431800" indent="0" algn="ctr">
              <a:buNone/>
              <a:defRPr sz="850"/>
            </a:lvl3pPr>
            <a:lvl4pPr marL="648335" indent="0" algn="ctr">
              <a:buNone/>
              <a:defRPr sz="755"/>
            </a:lvl4pPr>
            <a:lvl5pPr marL="864235" indent="0" algn="ctr">
              <a:buNone/>
              <a:defRPr sz="755"/>
            </a:lvl5pPr>
            <a:lvl6pPr marL="1080135" indent="0" algn="ctr">
              <a:buNone/>
              <a:defRPr sz="755"/>
            </a:lvl6pPr>
            <a:lvl7pPr marL="1296035" indent="0" algn="ctr">
              <a:buNone/>
              <a:defRPr sz="755"/>
            </a:lvl7pPr>
            <a:lvl8pPr marL="1511935" indent="0" algn="ctr">
              <a:buNone/>
              <a:defRPr sz="755"/>
            </a:lvl8pPr>
            <a:lvl9pPr marL="1728470" indent="0" algn="ctr">
              <a:buNone/>
              <a:defRPr sz="755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algn="ctr" defTabSz="387350" fontAlgn="base" hangingPunct="0">
              <a:spcBef>
                <a:spcPct val="0"/>
              </a:spcBef>
              <a:spcAft>
                <a:spcPct val="0"/>
              </a:spcAft>
            </a:pPr>
            <a:fld id="{EDE67491-D905-4C65-BCEC-0C6447F28830}" type="slidenum">
              <a:rPr lang="zh-CN" altLang="zh-CN" smtClean="0">
                <a:solidFill>
                  <a:srgbClr val="000000"/>
                </a:solidFill>
              </a:rPr>
              <a:t>‹#›</a:t>
            </a:fld>
            <a:endParaRPr lang="zh-CN" altLang="zh-CN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487983" y="388195"/>
            <a:ext cx="10522965" cy="1014002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8293347" y="1402197"/>
            <a:ext cx="2706629" cy="4081289"/>
          </a:xfrm>
          <a:noFill/>
        </p:spPr>
        <p:txBody>
          <a:bodyPr/>
          <a:lstStyle>
            <a:lvl1pPr>
              <a:defRPr sz="1890"/>
            </a:lvl1pPr>
            <a:lvl2pPr>
              <a:defRPr sz="1765"/>
            </a:lvl2pPr>
            <a:lvl3pPr>
              <a:defRPr sz="1510"/>
            </a:lvl3pPr>
            <a:lvl4pPr>
              <a:defRPr sz="1385"/>
            </a:lvl4pPr>
            <a:lvl5pPr>
              <a:defRPr sz="1385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ellenplatzhalter 3"/>
          <p:cNvSpPr>
            <a:spLocks noGrp="1"/>
          </p:cNvSpPr>
          <p:nvPr>
            <p:ph type="tbl" sz="quarter" idx="14"/>
          </p:nvPr>
        </p:nvSpPr>
        <p:spPr>
          <a:xfrm>
            <a:off x="510159" y="1470071"/>
            <a:ext cx="10500257" cy="4014109"/>
          </a:xfrm>
          <a:noFill/>
        </p:spPr>
        <p:txBody>
          <a:bodyPr/>
          <a:lstStyle/>
          <a:p>
            <a:endParaRPr lang="de-DE" dirty="0"/>
          </a:p>
        </p:txBody>
      </p:sp>
      <p:sp>
        <p:nvSpPr>
          <p:cNvPr id="38" name="Titel 1"/>
          <p:cNvSpPr>
            <a:spLocks noGrp="1"/>
          </p:cNvSpPr>
          <p:nvPr>
            <p:ph type="title"/>
          </p:nvPr>
        </p:nvSpPr>
        <p:spPr>
          <a:xfrm>
            <a:off x="487983" y="388195"/>
            <a:ext cx="10522965" cy="1014002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11522075" cy="6480175"/>
          </a:xfrm>
          <a:prstGeom prst="rect">
            <a:avLst/>
          </a:prstGeom>
          <a:solidFill>
            <a:srgbClr val="D9D9D9"/>
          </a:solidFill>
          <a:ln w="12700">
            <a:noFill/>
            <a:round/>
          </a:ln>
        </p:spPr>
        <p:txBody>
          <a:bodyPr rot="0" spcFirstLastPara="0" vert="horz" wrap="square" lIns="86212" tIns="43105" rIns="86212" bIns="43105" numCol="1" spcCol="0" rtlCol="0" fromWordArt="0" anchor="ctr" anchorCtr="0" forceAA="0" compatLnSpc="1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270" dirty="0">
              <a:solidFill>
                <a:prstClr val="black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5" name="Inhaltsplatzhalter 2"/>
          <p:cNvSpPr>
            <a:spLocks noGrp="1"/>
          </p:cNvSpPr>
          <p:nvPr>
            <p:ph idx="1" hasCustomPrompt="1"/>
          </p:nvPr>
        </p:nvSpPr>
        <p:spPr>
          <a:xfrm>
            <a:off x="487983" y="1402197"/>
            <a:ext cx="10522965" cy="4081289"/>
          </a:xfrm>
          <a:noFill/>
        </p:spPr>
        <p:txBody>
          <a:bodyPr/>
          <a:lstStyle>
            <a:lvl1pPr>
              <a:defRPr sz="2140"/>
            </a:lvl1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11522075" cy="6480175"/>
          </a:xfrm>
          <a:prstGeom prst="rect">
            <a:avLst/>
          </a:prstGeom>
          <a:solidFill>
            <a:srgbClr val="262626"/>
          </a:solidFill>
          <a:ln w="12700">
            <a:noFill/>
            <a:round/>
          </a:ln>
        </p:spPr>
        <p:txBody>
          <a:bodyPr rot="0" spcFirstLastPara="0" vert="horz" wrap="square" lIns="86212" tIns="43105" rIns="86212" bIns="43105" numCol="1" spcCol="0" rtlCol="0" fromWordArt="0" anchor="ctr" anchorCtr="0" forceAA="0" compatLnSpc="1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270" dirty="0">
              <a:solidFill>
                <a:prstClr val="black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 hasCustomPrompt="1"/>
          </p:nvPr>
        </p:nvSpPr>
        <p:spPr>
          <a:xfrm>
            <a:off x="487983" y="1402197"/>
            <a:ext cx="10522965" cy="4081289"/>
          </a:xfrm>
          <a:noFill/>
        </p:spPr>
        <p:txBody>
          <a:bodyPr/>
          <a:lstStyle>
            <a:lvl1pPr>
              <a:defRPr sz="2140">
                <a:solidFill>
                  <a:srgbClr val="D9D9D9"/>
                </a:solidFill>
              </a:defRPr>
            </a:lvl1pPr>
            <a:lvl2pPr>
              <a:defRPr>
                <a:solidFill>
                  <a:srgbClr val="D9D9D9"/>
                </a:solidFill>
              </a:defRPr>
            </a:lvl2pPr>
            <a:lvl3pPr>
              <a:defRPr>
                <a:solidFill>
                  <a:srgbClr val="D9D9D9"/>
                </a:solidFill>
              </a:defRPr>
            </a:lvl3pPr>
            <a:lvl4pPr>
              <a:defRPr>
                <a:solidFill>
                  <a:srgbClr val="D9D9D9"/>
                </a:solidFill>
              </a:defRPr>
            </a:lvl4pPr>
            <a:lvl5pPr>
              <a:defRPr>
                <a:solidFill>
                  <a:srgbClr val="D9D9D9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0" y="0"/>
            <a:ext cx="11522075" cy="6480175"/>
          </a:xfrm>
          <a:prstGeom prst="rect">
            <a:avLst/>
          </a:prstGeom>
          <a:solidFill>
            <a:srgbClr val="C8303F"/>
          </a:solidFill>
          <a:ln w="15875" cap="flat">
            <a:noFill/>
            <a:prstDash val="solid"/>
            <a:miter lim="800000"/>
          </a:ln>
        </p:spPr>
        <p:txBody>
          <a:bodyPr vert="horz" wrap="square" lIns="86212" tIns="43105" rIns="86212" bIns="43105" numCol="1" anchor="t" anchorCtr="0" compatLnSpc="1"/>
          <a:lstStyle/>
          <a:p>
            <a:pPr defTabSz="861695"/>
            <a:endParaRPr lang="en-US" sz="1765" dirty="0">
              <a:solidFill>
                <a:prstClr val="black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 hasCustomPrompt="1"/>
          </p:nvPr>
        </p:nvSpPr>
        <p:spPr>
          <a:xfrm>
            <a:off x="487983" y="1402197"/>
            <a:ext cx="10522965" cy="4081289"/>
          </a:xfrm>
          <a:noFill/>
        </p:spPr>
        <p:txBody>
          <a:bodyPr/>
          <a:lstStyle>
            <a:lvl1pPr>
              <a:defRPr sz="2140">
                <a:solidFill>
                  <a:srgbClr val="DDDDDD"/>
                </a:solidFill>
              </a:defRPr>
            </a:lvl1pPr>
            <a:lvl2pPr>
              <a:defRPr>
                <a:solidFill>
                  <a:srgbClr val="DDDDDD"/>
                </a:solidFill>
              </a:defRPr>
            </a:lvl2pPr>
            <a:lvl3pPr>
              <a:defRPr>
                <a:solidFill>
                  <a:srgbClr val="DDDDDD"/>
                </a:solidFill>
              </a:defRPr>
            </a:lvl3pPr>
            <a:lvl4pPr>
              <a:defRPr>
                <a:solidFill>
                  <a:srgbClr val="DDDDDD"/>
                </a:solidFill>
              </a:defRPr>
            </a:lvl4pPr>
            <a:lvl5pPr>
              <a:defRPr>
                <a:solidFill>
                  <a:srgbClr val="DDDDDD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6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87949" y="890554"/>
            <a:ext cx="10522764" cy="511643"/>
          </a:xfrm>
        </p:spPr>
        <p:txBody>
          <a:bodyPr lIns="8099" anchor="t" anchorCtr="0"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  <p:pic>
        <p:nvPicPr>
          <p:cNvPr id="2457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5601" y="5304143"/>
            <a:ext cx="4212759" cy="11760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87949" y="890554"/>
            <a:ext cx="10522764" cy="511643"/>
          </a:xfrm>
        </p:spPr>
        <p:txBody>
          <a:bodyPr lIns="8099" anchor="t" anchorCtr="0"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kicker page no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27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08074" y="1306084"/>
            <a:ext cx="10475030" cy="371905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4"/>
          </p:nvPr>
        </p:nvSpPr>
        <p:spPr>
          <a:xfrm>
            <a:off x="8833591" y="6343676"/>
            <a:ext cx="2688484" cy="14100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D1E3DD-2B4E-4B40-BAAE-44B7B98BF3EC}" type="slidenum">
              <a:rPr lang="en-GB"/>
              <a:t>‹#›</a:t>
            </a:fld>
            <a:endParaRPr lang="en-GB"/>
          </a:p>
        </p:txBody>
      </p:sp>
    </p:spTree>
  </p:cSld>
  <p:clrMapOvr>
    <a:masterClrMapping/>
  </p:clrMapOvr>
  <p:transition xmlns:p14="http://schemas.microsoft.com/office/powerpoint/2010/main"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algn="ctr" defTabSz="387350" fontAlgn="base" hangingPunct="0">
              <a:spcBef>
                <a:spcPct val="0"/>
              </a:spcBef>
              <a:spcAft>
                <a:spcPct val="0"/>
              </a:spcAft>
            </a:pPr>
            <a:fld id="{44901542-6CA5-4EA5-906F-5F2F2A313EE4}" type="slidenum">
              <a:rPr lang="zh-CN" altLang="zh-CN" smtClean="0">
                <a:solidFill>
                  <a:srgbClr val="000000"/>
                </a:solidFill>
              </a:rPr>
              <a:t>‹#›</a:t>
            </a:fld>
            <a:endParaRPr lang="zh-CN" altLang="zh-CN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resentation titl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ytuł 1"/>
          <p:cNvSpPr>
            <a:spLocks noGrp="1"/>
          </p:cNvSpPr>
          <p:nvPr>
            <p:ph type="title" hasCustomPrompt="1"/>
          </p:nvPr>
        </p:nvSpPr>
        <p:spPr>
          <a:xfrm>
            <a:off x="576106" y="1512041"/>
            <a:ext cx="4320779" cy="3456093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lnSpc>
                <a:spcPts val="5040"/>
              </a:lnSpc>
              <a:defRPr sz="4030" b="1">
                <a:solidFill>
                  <a:srgbClr val="FFFFFF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1pPr>
          </a:lstStyle>
          <a:p>
            <a:r>
              <a:rPr lang="pl-PL" dirty="0"/>
              <a:t>Kliknij, aby edytować styl</a:t>
            </a:r>
            <a:endParaRPr lang="en-US" dirty="0"/>
          </a:p>
        </p:txBody>
      </p:sp>
      <p:sp>
        <p:nvSpPr>
          <p:cNvPr id="13" name="Symbol zastępczy numeru slajdu 4"/>
          <p:cNvSpPr txBox="1"/>
          <p:nvPr userDrawn="1"/>
        </p:nvSpPr>
        <p:spPr>
          <a:xfrm>
            <a:off x="6536955" y="6021810"/>
            <a:ext cx="392071" cy="227777"/>
          </a:xfrm>
          <a:prstGeom prst="rect">
            <a:avLst/>
          </a:prstGeom>
        </p:spPr>
        <p:txBody>
          <a:bodyPr vert="horz" lIns="115203" tIns="57602" rIns="115203" bIns="57602" rtlCol="0" anchor="ctr"/>
          <a:lstStyle>
            <a:lvl1pPr algn="r">
              <a:defRPr sz="500">
                <a:solidFill>
                  <a:srgbClr val="FFFFFF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1pPr>
          </a:lstStyle>
          <a:p>
            <a:pPr defTabSz="452120">
              <a:defRPr/>
            </a:pPr>
            <a:fld id="{99807A26-6734-49DD-BA97-88685E1BEADA}" type="slidenum">
              <a:rPr lang="en-US" sz="630" kern="0" smtClean="0">
                <a:sym typeface="Avenir Roman"/>
              </a:rPr>
              <a:t>‹#›</a:t>
            </a:fld>
            <a:endParaRPr lang="en-US" sz="630" kern="0" dirty="0">
              <a:sym typeface="Avenir Roman"/>
            </a:endParaRPr>
          </a:p>
        </p:txBody>
      </p:sp>
    </p:spTree>
  </p:cSld>
  <p:clrMapOvr>
    <a:masterClrMapping/>
  </p:clrMapOvr>
  <p:transition xmlns:p14="http://schemas.microsoft.com/office/powerpoint/2010/main" spd="med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presentation titl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ytuł 1"/>
          <p:cNvSpPr>
            <a:spLocks noGrp="1"/>
          </p:cNvSpPr>
          <p:nvPr>
            <p:ph type="title" hasCustomPrompt="1"/>
          </p:nvPr>
        </p:nvSpPr>
        <p:spPr>
          <a:xfrm>
            <a:off x="576106" y="1512041"/>
            <a:ext cx="4320779" cy="3456093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lnSpc>
                <a:spcPts val="5040"/>
              </a:lnSpc>
              <a:defRPr sz="4030" b="1">
                <a:solidFill>
                  <a:srgbClr val="FFFFFF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1pPr>
          </a:lstStyle>
          <a:p>
            <a:r>
              <a:rPr lang="pl-PL" dirty="0"/>
              <a:t>Kliknij, aby edytować styl</a:t>
            </a:r>
            <a:endParaRPr lang="en-US" dirty="0"/>
          </a:p>
        </p:txBody>
      </p:sp>
      <p:sp>
        <p:nvSpPr>
          <p:cNvPr id="13" name="Symbol zastępczy numeru slajdu 4"/>
          <p:cNvSpPr txBox="1"/>
          <p:nvPr userDrawn="1"/>
        </p:nvSpPr>
        <p:spPr>
          <a:xfrm>
            <a:off x="6536955" y="6021810"/>
            <a:ext cx="392071" cy="227777"/>
          </a:xfrm>
          <a:prstGeom prst="rect">
            <a:avLst/>
          </a:prstGeom>
        </p:spPr>
        <p:txBody>
          <a:bodyPr vert="horz" lIns="115203" tIns="57602" rIns="115203" bIns="57602" rtlCol="0" anchor="ctr"/>
          <a:lstStyle>
            <a:lvl1pPr algn="r">
              <a:defRPr sz="500">
                <a:solidFill>
                  <a:srgbClr val="FFFFFF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1pPr>
          </a:lstStyle>
          <a:p>
            <a:pPr defTabSz="452120">
              <a:defRPr/>
            </a:pPr>
            <a:fld id="{99807A26-6734-49DD-BA97-88685E1BEADA}" type="slidenum">
              <a:rPr lang="en-US" sz="630" kern="0" smtClean="0">
                <a:sym typeface="Avenir Roman"/>
              </a:rPr>
              <a:t>‹#›</a:t>
            </a:fld>
            <a:endParaRPr lang="en-US" sz="630" kern="0" dirty="0">
              <a:sym typeface="Avenir Roman"/>
            </a:endParaRPr>
          </a:p>
        </p:txBody>
      </p:sp>
    </p:spTree>
  </p:cSld>
  <p:clrMapOvr>
    <a:masterClrMapping/>
  </p:clrMapOvr>
  <p:transition xmlns:p14="http://schemas.microsoft.com/office/powerpoint/2010/main" spd="med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presentation titl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ytuł 1"/>
          <p:cNvSpPr>
            <a:spLocks noGrp="1"/>
          </p:cNvSpPr>
          <p:nvPr>
            <p:ph type="title" hasCustomPrompt="1"/>
          </p:nvPr>
        </p:nvSpPr>
        <p:spPr>
          <a:xfrm>
            <a:off x="576106" y="1512041"/>
            <a:ext cx="4320779" cy="3456093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lnSpc>
                <a:spcPts val="5040"/>
              </a:lnSpc>
              <a:defRPr sz="4030" b="1">
                <a:solidFill>
                  <a:srgbClr val="FFFFFF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1pPr>
          </a:lstStyle>
          <a:p>
            <a:r>
              <a:rPr lang="pl-PL" dirty="0"/>
              <a:t>Kliknij, aby edytować styl</a:t>
            </a:r>
            <a:endParaRPr lang="en-US" dirty="0"/>
          </a:p>
        </p:txBody>
      </p:sp>
      <p:sp>
        <p:nvSpPr>
          <p:cNvPr id="9" name="Symbol zastępczy stopki 3"/>
          <p:cNvSpPr txBox="1"/>
          <p:nvPr userDrawn="1"/>
        </p:nvSpPr>
        <p:spPr>
          <a:xfrm>
            <a:off x="4572603" y="6021809"/>
            <a:ext cx="2048369" cy="227776"/>
          </a:xfrm>
          <a:prstGeom prst="rect">
            <a:avLst/>
          </a:prstGeom>
        </p:spPr>
        <p:txBody>
          <a:bodyPr vert="horz" lIns="115203" tIns="57602" rIns="115203" bIns="57602" rtlCol="0" anchor="ctr"/>
          <a:lstStyle>
            <a:lvl1pPr algn="l">
              <a:defRPr lang="en-US" sz="500" baseline="0" smtClean="0">
                <a:solidFill>
                  <a:srgbClr val="FFFFFF"/>
                </a:solidFill>
              </a:defRPr>
            </a:lvl1pPr>
          </a:lstStyle>
          <a:p>
            <a:pPr defTabSz="452120">
              <a:defRPr/>
            </a:pPr>
            <a:r>
              <a:rPr sz="630" dirty="0">
                <a:latin typeface="Arial" panose="020B0604020202090204" pitchFamily="34" charset="0"/>
                <a:cs typeface="Arial" panose="020B0604020202090204" pitchFamily="34" charset="0"/>
                <a:sym typeface="Avenir Roman"/>
              </a:rPr>
              <a:t>Copyright © Capgemini 2014. All Rights Reserved </a:t>
            </a:r>
          </a:p>
        </p:txBody>
      </p:sp>
      <p:sp>
        <p:nvSpPr>
          <p:cNvPr id="13" name="Symbol zastępczy numeru slajdu 4"/>
          <p:cNvSpPr txBox="1"/>
          <p:nvPr userDrawn="1"/>
        </p:nvSpPr>
        <p:spPr>
          <a:xfrm>
            <a:off x="6536955" y="6021810"/>
            <a:ext cx="392071" cy="227777"/>
          </a:xfrm>
          <a:prstGeom prst="rect">
            <a:avLst/>
          </a:prstGeom>
        </p:spPr>
        <p:txBody>
          <a:bodyPr vert="horz" lIns="115203" tIns="57602" rIns="115203" bIns="57602" rtlCol="0" anchor="ctr"/>
          <a:lstStyle>
            <a:lvl1pPr algn="r">
              <a:defRPr sz="500">
                <a:solidFill>
                  <a:srgbClr val="FFFFFF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1pPr>
          </a:lstStyle>
          <a:p>
            <a:pPr defTabSz="452120">
              <a:defRPr/>
            </a:pPr>
            <a:fld id="{99807A26-6734-49DD-BA97-88685E1BEADA}" type="slidenum">
              <a:rPr lang="en-US" sz="630" kern="0" smtClean="0">
                <a:sym typeface="Avenir Roman"/>
              </a:rPr>
              <a:t>‹#›</a:t>
            </a:fld>
            <a:endParaRPr lang="en-US" sz="630" kern="0" dirty="0">
              <a:sym typeface="Avenir Roman"/>
            </a:endParaRPr>
          </a:p>
        </p:txBody>
      </p:sp>
      <p:pic>
        <p:nvPicPr>
          <p:cNvPr id="14" name="Obraz 13" descr="CAF_logo_whit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274335" y="5928160"/>
            <a:ext cx="800632" cy="315670"/>
          </a:xfrm>
          <a:prstGeom prst="rect">
            <a:avLst/>
          </a:prstGeom>
        </p:spPr>
      </p:pic>
      <p:pic>
        <p:nvPicPr>
          <p:cNvPr id="15" name="Obraz 14" descr="Logo_Capgemini_white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10197491" y="5990523"/>
            <a:ext cx="1076778" cy="190946"/>
          </a:xfrm>
          <a:prstGeom prst="rect">
            <a:avLst/>
          </a:prstGeom>
        </p:spPr>
      </p:pic>
      <p:pic>
        <p:nvPicPr>
          <p:cNvPr id="10" name="Picture 9" descr="Tagline01b.pn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192035" y="6301829"/>
            <a:ext cx="960173" cy="178347"/>
          </a:xfrm>
          <a:prstGeom prst="rect">
            <a:avLst/>
          </a:prstGeom>
        </p:spPr>
      </p:pic>
    </p:spTree>
  </p:cSld>
  <p:clrMapOvr>
    <a:masterClrMapping/>
  </p:clrMapOvr>
  <p:transition xmlns:p14="http://schemas.microsoft.com/office/powerpoint/2010/main" spd="med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presentation titl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ytuł 1"/>
          <p:cNvSpPr>
            <a:spLocks noGrp="1"/>
          </p:cNvSpPr>
          <p:nvPr>
            <p:ph type="title" hasCustomPrompt="1"/>
          </p:nvPr>
        </p:nvSpPr>
        <p:spPr>
          <a:xfrm>
            <a:off x="576106" y="1512041"/>
            <a:ext cx="4320779" cy="3456093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lnSpc>
                <a:spcPts val="5040"/>
              </a:lnSpc>
              <a:defRPr sz="4030" b="1">
                <a:solidFill>
                  <a:srgbClr val="FFFFFF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1pPr>
          </a:lstStyle>
          <a:p>
            <a:r>
              <a:rPr lang="pl-PL" dirty="0"/>
              <a:t>Kliknij, aby edytować styl</a:t>
            </a:r>
            <a:endParaRPr lang="en-US" dirty="0"/>
          </a:p>
        </p:txBody>
      </p:sp>
    </p:spTree>
  </p:cSld>
  <p:clrMapOvr>
    <a:masterClrMapping/>
  </p:clrMapOvr>
  <p:transition xmlns:p14="http://schemas.microsoft.com/office/powerpoint/2010/main" spd="med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vities (prepare)">
    <p:bg>
      <p:bgPr>
        <a:blipFill dpi="0" rotWithShape="1">
          <a:blip r:embed="rId2" cstate="print">
            <a:lum/>
          </a:blip>
          <a:srcRect/>
          <a:stretch>
            <a:fillRect b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ytuł 13"/>
          <p:cNvSpPr>
            <a:spLocks noGrp="1"/>
          </p:cNvSpPr>
          <p:nvPr>
            <p:ph type="title" hasCustomPrompt="1"/>
          </p:nvPr>
        </p:nvSpPr>
        <p:spPr>
          <a:xfrm>
            <a:off x="576104" y="260007"/>
            <a:ext cx="10369868" cy="1080029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rgbClr val="B0BA25"/>
                </a:solidFill>
              </a:defRPr>
            </a:lvl1pPr>
          </a:lstStyle>
          <a:p>
            <a:r>
              <a:rPr lang="pl-PL" dirty="0"/>
              <a:t>Kliknij, aby edytować styl</a:t>
            </a:r>
            <a:endParaRPr lang="en-US" dirty="0"/>
          </a:p>
        </p:txBody>
      </p:sp>
      <p:pic>
        <p:nvPicPr>
          <p:cNvPr id="18" name="pasted-image.pdf"/>
          <p:cNvPicPr/>
          <p:nvPr userDrawn="1"/>
        </p:nvPicPr>
        <p:blipFill>
          <a:blip r:embed="rId3" cstate="print"/>
          <a:stretch>
            <a:fillRect/>
          </a:stretch>
        </p:blipFill>
        <p:spPr>
          <a:xfrm>
            <a:off x="576104" y="1366574"/>
            <a:ext cx="241985" cy="209376"/>
          </a:xfrm>
          <a:prstGeom prst="rect">
            <a:avLst/>
          </a:prstGeom>
          <a:ln w="12700">
            <a:miter lim="400000"/>
            <a:headEnd/>
            <a:tailEnd/>
          </a:ln>
        </p:spPr>
      </p:pic>
      <p:sp>
        <p:nvSpPr>
          <p:cNvPr id="24" name="pole tekstowe 23"/>
          <p:cNvSpPr txBox="1"/>
          <p:nvPr userDrawn="1"/>
        </p:nvSpPr>
        <p:spPr>
          <a:xfrm>
            <a:off x="865145" y="1320036"/>
            <a:ext cx="782396" cy="278474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160020" indent="-160020" defTabSz="431165">
              <a:lnSpc>
                <a:spcPct val="120000"/>
              </a:lnSpc>
              <a:spcBef>
                <a:spcPts val="285"/>
              </a:spcBef>
              <a:buClr>
                <a:srgbClr val="0098C7"/>
              </a:buClr>
              <a:buSzPct val="80000"/>
              <a:buFont typeface="Arial" panose="020B0604020202090204" pitchFamily="34" charset="0"/>
              <a:buNone/>
            </a:pPr>
            <a:r>
              <a:rPr lang="zh-CN" altLang="en-US" sz="1010" b="1" kern="0" dirty="0">
                <a:solidFill>
                  <a:srgbClr val="5E5E5E"/>
                </a:solidFill>
                <a:latin typeface="Arial" panose="020B0604020202090204"/>
                <a:ea typeface="Arial" panose="020B0604020202090204"/>
                <a:cs typeface="Arial" panose="020B0604020202090204"/>
                <a:sym typeface="Arial" panose="020B0604020202090204"/>
              </a:rPr>
              <a:t>活动描述</a:t>
            </a:r>
            <a:endParaRPr lang="en-US" sz="1010" b="1" kern="0" dirty="0">
              <a:solidFill>
                <a:srgbClr val="5E5E5E"/>
              </a:solidFill>
              <a:latin typeface="Arial" panose="020B0604020202090204"/>
              <a:ea typeface="Arial" panose="020B0604020202090204"/>
              <a:cs typeface="Arial" panose="020B0604020202090204"/>
              <a:sym typeface="Arial" panose="020B0604020202090204"/>
            </a:endParaRPr>
          </a:p>
        </p:txBody>
      </p:sp>
      <p:grpSp>
        <p:nvGrpSpPr>
          <p:cNvPr id="30" name="Grupa 29"/>
          <p:cNvGrpSpPr/>
          <p:nvPr userDrawn="1"/>
        </p:nvGrpSpPr>
        <p:grpSpPr>
          <a:xfrm>
            <a:off x="5761038" y="1320034"/>
            <a:ext cx="1344242" cy="278474"/>
            <a:chOff x="4572000" y="1188684"/>
            <a:chExt cx="1066800" cy="221033"/>
          </a:xfrm>
        </p:grpSpPr>
        <p:pic>
          <p:nvPicPr>
            <p:cNvPr id="21" name="pasted-image.pdf"/>
            <p:cNvPicPr/>
            <p:nvPr userDrawn="1"/>
          </p:nvPicPr>
          <p:blipFill>
            <a:blip r:embed="rId4" cstate="print"/>
            <a:stretch>
              <a:fillRect/>
            </a:stretch>
          </p:blipFill>
          <p:spPr>
            <a:xfrm>
              <a:off x="4572000" y="1216410"/>
              <a:ext cx="123077" cy="184614"/>
            </a:xfrm>
            <a:prstGeom prst="rect">
              <a:avLst/>
            </a:prstGeom>
            <a:ln w="12700">
              <a:miter lim="400000"/>
              <a:headEnd/>
              <a:tailEnd/>
            </a:ln>
          </p:spPr>
        </p:pic>
        <p:sp>
          <p:nvSpPr>
            <p:cNvPr id="27" name="pole tekstowe 26"/>
            <p:cNvSpPr txBox="1"/>
            <p:nvPr userDrawn="1"/>
          </p:nvSpPr>
          <p:spPr>
            <a:xfrm>
              <a:off x="4724400" y="1188684"/>
              <a:ext cx="914400" cy="221033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160020" indent="-160020" defTabSz="431165">
                <a:lnSpc>
                  <a:spcPct val="120000"/>
                </a:lnSpc>
                <a:spcBef>
                  <a:spcPts val="285"/>
                </a:spcBef>
                <a:buClr>
                  <a:srgbClr val="0098C7"/>
                </a:buClr>
                <a:buSzPct val="80000"/>
                <a:buFont typeface="Arial" panose="020B0604020202090204" pitchFamily="34" charset="0"/>
                <a:buNone/>
              </a:pPr>
              <a:r>
                <a:rPr lang="zh-CN" altLang="en-US" sz="1010" b="1" kern="0" dirty="0">
                  <a:solidFill>
                    <a:srgbClr val="5E5E5E"/>
                  </a:solidFill>
                  <a:latin typeface="Arial" panose="020B0604020202090204"/>
                  <a:ea typeface="Arial" panose="020B0604020202090204"/>
                  <a:cs typeface="Arial" panose="020B0604020202090204"/>
                  <a:sym typeface="Arial" panose="020B0604020202090204"/>
                </a:rPr>
                <a:t>挑战</a:t>
              </a:r>
              <a:endParaRPr lang="en-US" sz="1010" b="1" kern="0" dirty="0">
                <a:solidFill>
                  <a:srgbClr val="5E5E5E"/>
                </a:solidFill>
                <a:latin typeface="Arial" panose="020B0604020202090204"/>
                <a:ea typeface="Arial" panose="020B0604020202090204"/>
                <a:cs typeface="Arial" panose="020B0604020202090204"/>
                <a:sym typeface="Arial" panose="020B0604020202090204"/>
              </a:endParaRPr>
            </a:p>
          </p:txBody>
        </p:sp>
      </p:grpSp>
      <p:sp>
        <p:nvSpPr>
          <p:cNvPr id="39" name="Symbol zastępczy zawartości 2"/>
          <p:cNvSpPr>
            <a:spLocks noGrp="1"/>
          </p:cNvSpPr>
          <p:nvPr userDrawn="1">
            <p:ph idx="13" hasCustomPrompt="1"/>
          </p:nvPr>
        </p:nvSpPr>
        <p:spPr>
          <a:xfrm>
            <a:off x="7105279" y="1320036"/>
            <a:ext cx="3840692" cy="446862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buClr>
                <a:srgbClr val="B0BA25"/>
              </a:buClr>
              <a:buSzPct val="120000"/>
              <a:defRPr sz="1010">
                <a:solidFill>
                  <a:srgbClr val="5E5E5E"/>
                </a:solidFill>
              </a:defRPr>
            </a:lvl1pPr>
            <a:lvl2pPr>
              <a:lnSpc>
                <a:spcPct val="100000"/>
              </a:lnSpc>
              <a:buClr>
                <a:srgbClr val="B0BA25"/>
              </a:buClr>
              <a:buSzPct val="120000"/>
              <a:defRPr sz="1010">
                <a:solidFill>
                  <a:srgbClr val="5E5E5E"/>
                </a:solidFill>
              </a:defRPr>
            </a:lvl2pPr>
            <a:lvl3pPr>
              <a:lnSpc>
                <a:spcPct val="100000"/>
              </a:lnSpc>
              <a:buClr>
                <a:srgbClr val="B0BA25"/>
              </a:buClr>
              <a:buSzPct val="120000"/>
              <a:defRPr sz="1010">
                <a:solidFill>
                  <a:srgbClr val="5E5E5E"/>
                </a:solidFill>
              </a:defRPr>
            </a:lvl3pPr>
            <a:lvl4pPr>
              <a:lnSpc>
                <a:spcPct val="100000"/>
              </a:lnSpc>
              <a:buClr>
                <a:srgbClr val="B0BA25"/>
              </a:buClr>
              <a:buSzPct val="120000"/>
              <a:defRPr sz="1010">
                <a:solidFill>
                  <a:srgbClr val="5E5E5E"/>
                </a:solidFill>
              </a:defRPr>
            </a:lvl4pPr>
            <a:lvl5pPr>
              <a:lnSpc>
                <a:spcPct val="100000"/>
              </a:lnSpc>
              <a:buClr>
                <a:srgbClr val="B0BA25"/>
              </a:buClr>
              <a:buSzPct val="120000"/>
              <a:defRPr sz="1010">
                <a:solidFill>
                  <a:srgbClr val="5E5E5E"/>
                </a:solidFill>
              </a:defRPr>
            </a:lvl5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  <a:endParaRPr lang="en-US" dirty="0"/>
          </a:p>
        </p:txBody>
      </p:sp>
      <p:sp>
        <p:nvSpPr>
          <p:cNvPr id="40" name="Symbol zastępczy zawartości 2"/>
          <p:cNvSpPr>
            <a:spLocks noGrp="1"/>
          </p:cNvSpPr>
          <p:nvPr userDrawn="1">
            <p:ph idx="14" hasCustomPrompt="1"/>
          </p:nvPr>
        </p:nvSpPr>
        <p:spPr>
          <a:xfrm>
            <a:off x="1728311" y="1320036"/>
            <a:ext cx="3840692" cy="446862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buClr>
                <a:srgbClr val="B0BA25"/>
              </a:buClr>
              <a:buSzPct val="120000"/>
              <a:defRPr sz="1010">
                <a:solidFill>
                  <a:srgbClr val="5E5E5E"/>
                </a:solidFill>
              </a:defRPr>
            </a:lvl1pPr>
            <a:lvl2pPr>
              <a:lnSpc>
                <a:spcPct val="100000"/>
              </a:lnSpc>
              <a:buClr>
                <a:srgbClr val="B0BA25"/>
              </a:buClr>
              <a:buSzPct val="120000"/>
              <a:defRPr sz="1010">
                <a:solidFill>
                  <a:srgbClr val="5E5E5E"/>
                </a:solidFill>
              </a:defRPr>
            </a:lvl2pPr>
            <a:lvl3pPr>
              <a:lnSpc>
                <a:spcPct val="100000"/>
              </a:lnSpc>
              <a:buClr>
                <a:srgbClr val="B0BA25"/>
              </a:buClr>
              <a:buSzPct val="120000"/>
              <a:defRPr sz="1010">
                <a:solidFill>
                  <a:srgbClr val="5E5E5E"/>
                </a:solidFill>
              </a:defRPr>
            </a:lvl3pPr>
            <a:lvl4pPr>
              <a:lnSpc>
                <a:spcPct val="100000"/>
              </a:lnSpc>
              <a:buClr>
                <a:srgbClr val="B0BA25"/>
              </a:buClr>
              <a:buSzPct val="120000"/>
              <a:defRPr sz="1010">
                <a:solidFill>
                  <a:srgbClr val="5E5E5E"/>
                </a:solidFill>
              </a:defRPr>
            </a:lvl4pPr>
            <a:lvl5pPr>
              <a:lnSpc>
                <a:spcPct val="100000"/>
              </a:lnSpc>
              <a:buClr>
                <a:srgbClr val="B0BA25"/>
              </a:buClr>
              <a:buSzPct val="120000"/>
              <a:defRPr sz="1010">
                <a:solidFill>
                  <a:srgbClr val="5E5E5E"/>
                </a:solidFill>
              </a:defRPr>
            </a:lvl5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  <a:endParaRPr lang="en-US" dirty="0"/>
          </a:p>
        </p:txBody>
      </p:sp>
      <p:sp>
        <p:nvSpPr>
          <p:cNvPr id="19" name="Symbol zastępczy numeru slajdu 4"/>
          <p:cNvSpPr txBox="1"/>
          <p:nvPr userDrawn="1"/>
        </p:nvSpPr>
        <p:spPr>
          <a:xfrm>
            <a:off x="6536955" y="6021810"/>
            <a:ext cx="392071" cy="227777"/>
          </a:xfrm>
          <a:prstGeom prst="rect">
            <a:avLst/>
          </a:prstGeom>
        </p:spPr>
        <p:txBody>
          <a:bodyPr vert="horz" lIns="115203" tIns="57602" rIns="115203" bIns="57602" rtlCol="0" anchor="ctr"/>
          <a:lstStyle>
            <a:lvl1pPr algn="r">
              <a:defRPr sz="500">
                <a:solidFill>
                  <a:srgbClr val="FFFFFF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1pPr>
          </a:lstStyle>
          <a:p>
            <a:pPr defTabSz="452120">
              <a:defRPr/>
            </a:pPr>
            <a:fld id="{99807A26-6734-49DD-BA97-88685E1BEADA}" type="slidenum">
              <a:rPr lang="en-US" sz="630" kern="0" smtClean="0">
                <a:solidFill>
                  <a:srgbClr val="5E5E5E"/>
                </a:solidFill>
                <a:sym typeface="Avenir Roman"/>
              </a:rPr>
              <a:t>‹#›</a:t>
            </a:fld>
            <a:endParaRPr lang="en-US" sz="630" kern="0" dirty="0">
              <a:solidFill>
                <a:srgbClr val="5E5E5E"/>
              </a:solidFill>
              <a:sym typeface="Avenir Roman"/>
            </a:endParaRPr>
          </a:p>
        </p:txBody>
      </p:sp>
    </p:spTree>
  </p:cSld>
  <p:clrMapOvr>
    <a:masterClrMapping/>
  </p:clrMapOvr>
  <p:transition xmlns:p14="http://schemas.microsoft.com/office/powerpoint/2010/main" spd="med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vities (build)">
    <p:bg>
      <p:bgPr>
        <a:blipFill dpi="0" rotWithShape="1">
          <a:blip r:embed="rId2" cstate="print">
            <a:lum/>
          </a:blip>
          <a:srcRect/>
          <a:stretch>
            <a:fillRect b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image20.png"/>
          <p:cNvPicPr/>
          <p:nvPr userDrawn="1"/>
        </p:nvPicPr>
        <p:blipFill>
          <a:blip r:embed="rId3" cstate="print"/>
          <a:stretch>
            <a:fillRect/>
          </a:stretch>
        </p:blipFill>
        <p:spPr>
          <a:xfrm>
            <a:off x="5761038" y="1362446"/>
            <a:ext cx="155084" cy="232591"/>
          </a:xfrm>
          <a:prstGeom prst="rect">
            <a:avLst/>
          </a:prstGeom>
          <a:ln w="12700">
            <a:miter lim="400000"/>
            <a:headEnd/>
            <a:tailEnd/>
          </a:ln>
        </p:spPr>
      </p:pic>
      <p:pic>
        <p:nvPicPr>
          <p:cNvPr id="16" name="image17.png"/>
          <p:cNvPicPr/>
          <p:nvPr userDrawn="1"/>
        </p:nvPicPr>
        <p:blipFill>
          <a:blip r:embed="rId4" cstate="print"/>
          <a:stretch>
            <a:fillRect/>
          </a:stretch>
        </p:blipFill>
        <p:spPr>
          <a:xfrm>
            <a:off x="581627" y="1357832"/>
            <a:ext cx="209408" cy="209376"/>
          </a:xfrm>
          <a:prstGeom prst="rect">
            <a:avLst/>
          </a:prstGeom>
          <a:ln w="12700">
            <a:miter lim="400000"/>
            <a:headEnd/>
            <a:tailEnd/>
          </a:ln>
        </p:spPr>
      </p:pic>
      <p:sp>
        <p:nvSpPr>
          <p:cNvPr id="14" name="Tytuł 13"/>
          <p:cNvSpPr>
            <a:spLocks noGrp="1"/>
          </p:cNvSpPr>
          <p:nvPr>
            <p:ph type="title" hasCustomPrompt="1"/>
          </p:nvPr>
        </p:nvSpPr>
        <p:spPr>
          <a:xfrm>
            <a:off x="576104" y="260007"/>
            <a:ext cx="10369868" cy="1080029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rgbClr val="009AC7"/>
                </a:solidFill>
              </a:defRPr>
            </a:lvl1pPr>
          </a:lstStyle>
          <a:p>
            <a:r>
              <a:rPr lang="pl-PL" dirty="0"/>
              <a:t>Kliknij, aby edytować styl</a:t>
            </a:r>
            <a:endParaRPr lang="en-US" dirty="0"/>
          </a:p>
        </p:txBody>
      </p:sp>
      <p:sp>
        <p:nvSpPr>
          <p:cNvPr id="24" name="pole tekstowe 23"/>
          <p:cNvSpPr txBox="1"/>
          <p:nvPr userDrawn="1"/>
        </p:nvSpPr>
        <p:spPr>
          <a:xfrm>
            <a:off x="864156" y="1328599"/>
            <a:ext cx="768138" cy="278474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160020" indent="-160020" defTabSz="431165">
              <a:lnSpc>
                <a:spcPct val="120000"/>
              </a:lnSpc>
              <a:spcBef>
                <a:spcPts val="285"/>
              </a:spcBef>
              <a:buClr>
                <a:srgbClr val="0098C7"/>
              </a:buClr>
              <a:buSzPct val="80000"/>
              <a:buFont typeface="Arial" panose="020B0604020202090204" pitchFamily="34" charset="0"/>
              <a:buNone/>
            </a:pPr>
            <a:r>
              <a:rPr lang="zh-CN" altLang="en-US" sz="1010" b="1" kern="0" dirty="0">
                <a:solidFill>
                  <a:srgbClr val="5E5E5E"/>
                </a:solidFill>
                <a:latin typeface="Arial" panose="020B0604020202090204"/>
                <a:ea typeface="Arial" panose="020B0604020202090204"/>
                <a:cs typeface="Arial" panose="020B0604020202090204"/>
                <a:sym typeface="Arial" panose="020B0604020202090204"/>
              </a:rPr>
              <a:t>活动描述</a:t>
            </a:r>
            <a:endParaRPr lang="en-US" sz="1010" b="1" kern="0" dirty="0">
              <a:solidFill>
                <a:srgbClr val="5E5E5E"/>
              </a:solidFill>
              <a:latin typeface="Arial" panose="020B0604020202090204"/>
              <a:ea typeface="Arial" panose="020B0604020202090204"/>
              <a:cs typeface="Arial" panose="020B0604020202090204"/>
              <a:sym typeface="Arial" panose="020B0604020202090204"/>
            </a:endParaRPr>
          </a:p>
        </p:txBody>
      </p:sp>
      <p:sp>
        <p:nvSpPr>
          <p:cNvPr id="27" name="pole tekstowe 26"/>
          <p:cNvSpPr txBox="1"/>
          <p:nvPr userDrawn="1"/>
        </p:nvSpPr>
        <p:spPr>
          <a:xfrm>
            <a:off x="5953072" y="1320036"/>
            <a:ext cx="1152208" cy="278474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160020" indent="-160020" defTabSz="431165">
              <a:lnSpc>
                <a:spcPct val="120000"/>
              </a:lnSpc>
              <a:spcBef>
                <a:spcPts val="285"/>
              </a:spcBef>
              <a:buClr>
                <a:srgbClr val="0098C7"/>
              </a:buClr>
              <a:buSzPct val="80000"/>
              <a:buFont typeface="Arial" panose="020B0604020202090204" pitchFamily="34" charset="0"/>
              <a:buNone/>
            </a:pPr>
            <a:r>
              <a:rPr lang="zh-CN" altLang="en-US" sz="1010" b="1" kern="0" dirty="0">
                <a:solidFill>
                  <a:srgbClr val="5E5E5E"/>
                </a:solidFill>
                <a:latin typeface="Arial" panose="020B0604020202090204"/>
                <a:ea typeface="Arial" panose="020B0604020202090204"/>
                <a:cs typeface="Arial" panose="020B0604020202090204"/>
                <a:sym typeface="Arial" panose="020B0604020202090204"/>
              </a:rPr>
              <a:t>挑战</a:t>
            </a:r>
            <a:endParaRPr lang="en-US" sz="1010" b="1" kern="0" dirty="0">
              <a:solidFill>
                <a:srgbClr val="5E5E5E"/>
              </a:solidFill>
              <a:latin typeface="Arial" panose="020B0604020202090204"/>
              <a:ea typeface="Arial" panose="020B0604020202090204"/>
              <a:cs typeface="Arial" panose="020B0604020202090204"/>
              <a:sym typeface="Arial" panose="020B0604020202090204"/>
            </a:endParaRPr>
          </a:p>
        </p:txBody>
      </p:sp>
      <p:sp>
        <p:nvSpPr>
          <p:cNvPr id="39" name="Symbol zastępczy zawartości 2"/>
          <p:cNvSpPr>
            <a:spLocks noGrp="1"/>
          </p:cNvSpPr>
          <p:nvPr userDrawn="1">
            <p:ph idx="13" hasCustomPrompt="1"/>
          </p:nvPr>
        </p:nvSpPr>
        <p:spPr>
          <a:xfrm>
            <a:off x="7105279" y="1320036"/>
            <a:ext cx="3840692" cy="446862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buClr>
                <a:srgbClr val="009AC7"/>
              </a:buClr>
              <a:buSzPct val="120000"/>
              <a:defRPr sz="1010">
                <a:solidFill>
                  <a:srgbClr val="5E5E5E"/>
                </a:solidFill>
              </a:defRPr>
            </a:lvl1pPr>
            <a:lvl2pPr>
              <a:lnSpc>
                <a:spcPct val="100000"/>
              </a:lnSpc>
              <a:buClr>
                <a:srgbClr val="009AC7"/>
              </a:buClr>
              <a:buSzPct val="120000"/>
              <a:defRPr sz="1010">
                <a:solidFill>
                  <a:srgbClr val="5E5E5E"/>
                </a:solidFill>
              </a:defRPr>
            </a:lvl2pPr>
            <a:lvl3pPr>
              <a:lnSpc>
                <a:spcPct val="100000"/>
              </a:lnSpc>
              <a:buClr>
                <a:srgbClr val="009AC7"/>
              </a:buClr>
              <a:buSzPct val="120000"/>
              <a:defRPr sz="1010">
                <a:solidFill>
                  <a:srgbClr val="5E5E5E"/>
                </a:solidFill>
              </a:defRPr>
            </a:lvl3pPr>
            <a:lvl4pPr>
              <a:lnSpc>
                <a:spcPct val="100000"/>
              </a:lnSpc>
              <a:buClr>
                <a:srgbClr val="009AC7"/>
              </a:buClr>
              <a:buSzPct val="120000"/>
              <a:defRPr sz="1010">
                <a:solidFill>
                  <a:srgbClr val="5E5E5E"/>
                </a:solidFill>
              </a:defRPr>
            </a:lvl4pPr>
            <a:lvl5pPr>
              <a:lnSpc>
                <a:spcPct val="100000"/>
              </a:lnSpc>
              <a:buClr>
                <a:srgbClr val="009AC7"/>
              </a:buClr>
              <a:buSzPct val="120000"/>
              <a:defRPr sz="1010">
                <a:solidFill>
                  <a:srgbClr val="5E5E5E"/>
                </a:solidFill>
              </a:defRPr>
            </a:lvl5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  <a:endParaRPr lang="en-US" dirty="0"/>
          </a:p>
        </p:txBody>
      </p:sp>
      <p:sp>
        <p:nvSpPr>
          <p:cNvPr id="40" name="Symbol zastępczy zawartości 2"/>
          <p:cNvSpPr>
            <a:spLocks noGrp="1"/>
          </p:cNvSpPr>
          <p:nvPr userDrawn="1">
            <p:ph idx="14" hasCustomPrompt="1"/>
          </p:nvPr>
        </p:nvSpPr>
        <p:spPr>
          <a:xfrm>
            <a:off x="1728311" y="1320036"/>
            <a:ext cx="3840692" cy="446862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buClr>
                <a:srgbClr val="009AC7"/>
              </a:buClr>
              <a:buSzPct val="120000"/>
              <a:defRPr sz="1010">
                <a:solidFill>
                  <a:srgbClr val="5E5E5E"/>
                </a:solidFill>
              </a:defRPr>
            </a:lvl1pPr>
            <a:lvl2pPr>
              <a:lnSpc>
                <a:spcPct val="100000"/>
              </a:lnSpc>
              <a:buClr>
                <a:srgbClr val="009AC7"/>
              </a:buClr>
              <a:buSzPct val="120000"/>
              <a:defRPr sz="1010">
                <a:solidFill>
                  <a:srgbClr val="5E5E5E"/>
                </a:solidFill>
              </a:defRPr>
            </a:lvl2pPr>
            <a:lvl3pPr>
              <a:lnSpc>
                <a:spcPct val="100000"/>
              </a:lnSpc>
              <a:buClr>
                <a:srgbClr val="009AC7"/>
              </a:buClr>
              <a:buSzPct val="120000"/>
              <a:defRPr sz="1010">
                <a:solidFill>
                  <a:srgbClr val="5E5E5E"/>
                </a:solidFill>
              </a:defRPr>
            </a:lvl3pPr>
            <a:lvl4pPr>
              <a:lnSpc>
                <a:spcPct val="100000"/>
              </a:lnSpc>
              <a:buClr>
                <a:srgbClr val="009AC7"/>
              </a:buClr>
              <a:buSzPct val="120000"/>
              <a:defRPr sz="1010">
                <a:solidFill>
                  <a:srgbClr val="5E5E5E"/>
                </a:solidFill>
              </a:defRPr>
            </a:lvl4pPr>
            <a:lvl5pPr>
              <a:lnSpc>
                <a:spcPct val="100000"/>
              </a:lnSpc>
              <a:buClr>
                <a:srgbClr val="009AC7"/>
              </a:buClr>
              <a:buSzPct val="120000"/>
              <a:defRPr sz="1010">
                <a:solidFill>
                  <a:srgbClr val="5E5E5E"/>
                </a:solidFill>
              </a:defRPr>
            </a:lvl5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  <a:endParaRPr lang="en-US" dirty="0"/>
          </a:p>
        </p:txBody>
      </p:sp>
      <p:sp>
        <p:nvSpPr>
          <p:cNvPr id="19" name="Symbol zastępczy numeru slajdu 4"/>
          <p:cNvSpPr txBox="1"/>
          <p:nvPr userDrawn="1"/>
        </p:nvSpPr>
        <p:spPr>
          <a:xfrm>
            <a:off x="6536955" y="6021810"/>
            <a:ext cx="392071" cy="227777"/>
          </a:xfrm>
          <a:prstGeom prst="rect">
            <a:avLst/>
          </a:prstGeom>
        </p:spPr>
        <p:txBody>
          <a:bodyPr vert="horz" lIns="115203" tIns="57602" rIns="115203" bIns="57602" rtlCol="0" anchor="ctr"/>
          <a:lstStyle>
            <a:lvl1pPr algn="r">
              <a:defRPr sz="500">
                <a:solidFill>
                  <a:srgbClr val="FFFFFF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1pPr>
          </a:lstStyle>
          <a:p>
            <a:pPr defTabSz="452120">
              <a:defRPr/>
            </a:pPr>
            <a:fld id="{99807A26-6734-49DD-BA97-88685E1BEADA}" type="slidenum">
              <a:rPr lang="en-US" sz="630" kern="0" smtClean="0">
                <a:solidFill>
                  <a:srgbClr val="5E5E5E"/>
                </a:solidFill>
                <a:sym typeface="Avenir Roman"/>
              </a:rPr>
              <a:t>‹#›</a:t>
            </a:fld>
            <a:endParaRPr lang="en-US" sz="630" kern="0" dirty="0">
              <a:solidFill>
                <a:srgbClr val="5E5E5E"/>
              </a:solidFill>
              <a:sym typeface="Avenir Roman"/>
            </a:endParaRPr>
          </a:p>
        </p:txBody>
      </p:sp>
    </p:spTree>
  </p:cSld>
  <p:clrMapOvr>
    <a:masterClrMapping/>
  </p:clrMapOvr>
  <p:transition xmlns:p14="http://schemas.microsoft.com/office/powerpoint/2010/main" spd="med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vities (release)">
    <p:bg>
      <p:bgPr>
        <a:blipFill dpi="0" rotWithShape="1">
          <a:blip r:embed="rId2" cstate="print">
            <a:lum/>
          </a:blip>
          <a:srcRect/>
          <a:stretch>
            <a:fillRect b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ytuł 13"/>
          <p:cNvSpPr>
            <a:spLocks noGrp="1"/>
          </p:cNvSpPr>
          <p:nvPr>
            <p:ph type="title" hasCustomPrompt="1"/>
          </p:nvPr>
        </p:nvSpPr>
        <p:spPr>
          <a:xfrm>
            <a:off x="576104" y="260007"/>
            <a:ext cx="10369868" cy="1080029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rgbClr val="F47B29"/>
                </a:solidFill>
              </a:defRPr>
            </a:lvl1pPr>
          </a:lstStyle>
          <a:p>
            <a:r>
              <a:rPr lang="pl-PL" dirty="0"/>
              <a:t>Kliknij, aby edytować styl</a:t>
            </a:r>
            <a:endParaRPr lang="en-US" dirty="0"/>
          </a:p>
        </p:txBody>
      </p:sp>
      <p:grpSp>
        <p:nvGrpSpPr>
          <p:cNvPr id="21" name="Grupa 20"/>
          <p:cNvGrpSpPr/>
          <p:nvPr userDrawn="1"/>
        </p:nvGrpSpPr>
        <p:grpSpPr>
          <a:xfrm>
            <a:off x="580802" y="1328598"/>
            <a:ext cx="960424" cy="278474"/>
            <a:chOff x="460928" y="1054547"/>
            <a:chExt cx="762199" cy="221033"/>
          </a:xfrm>
        </p:grpSpPr>
        <p:pic>
          <p:nvPicPr>
            <p:cNvPr id="18" name="pasted-image.pdf"/>
            <p:cNvPicPr/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460928" y="1084690"/>
              <a:ext cx="166187" cy="166187"/>
            </a:xfrm>
            <a:prstGeom prst="rect">
              <a:avLst/>
            </a:prstGeom>
            <a:ln w="12700">
              <a:miter lim="400000"/>
              <a:headEnd/>
              <a:tailEnd/>
            </a:ln>
          </p:spPr>
        </p:pic>
        <p:sp>
          <p:nvSpPr>
            <p:cNvPr id="24" name="pole tekstowe 23"/>
            <p:cNvSpPr txBox="1"/>
            <p:nvPr userDrawn="1"/>
          </p:nvSpPr>
          <p:spPr>
            <a:xfrm>
              <a:off x="685800" y="1054547"/>
              <a:ext cx="537327" cy="221033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160020" indent="-160020" defTabSz="431165">
                <a:lnSpc>
                  <a:spcPct val="120000"/>
                </a:lnSpc>
                <a:spcBef>
                  <a:spcPts val="285"/>
                </a:spcBef>
                <a:buClr>
                  <a:srgbClr val="0098C7"/>
                </a:buClr>
                <a:buSzPct val="80000"/>
                <a:buFont typeface="Arial" panose="020B0604020202090204" pitchFamily="34" charset="0"/>
                <a:buNone/>
              </a:pPr>
              <a:r>
                <a:rPr lang="en-US" sz="1010" b="1" kern="0" dirty="0">
                  <a:solidFill>
                    <a:srgbClr val="5E5E5E"/>
                  </a:solidFill>
                  <a:latin typeface="Arial" panose="020B0604020202090204"/>
                  <a:ea typeface="Arial" panose="020B0604020202090204"/>
                  <a:cs typeface="Arial" panose="020B0604020202090204"/>
                  <a:sym typeface="Arial" panose="020B0604020202090204"/>
                </a:rPr>
                <a:t>What?</a:t>
              </a:r>
            </a:p>
          </p:txBody>
        </p:sp>
      </p:grpSp>
      <p:grpSp>
        <p:nvGrpSpPr>
          <p:cNvPr id="22" name="Grupa 21"/>
          <p:cNvGrpSpPr/>
          <p:nvPr userDrawn="1"/>
        </p:nvGrpSpPr>
        <p:grpSpPr>
          <a:xfrm>
            <a:off x="5759038" y="1320034"/>
            <a:ext cx="1346242" cy="278474"/>
            <a:chOff x="4570413" y="1047750"/>
            <a:chExt cx="1068387" cy="221033"/>
          </a:xfrm>
        </p:grpSpPr>
        <p:pic>
          <p:nvPicPr>
            <p:cNvPr id="13" name="pasted-image.pdf"/>
            <p:cNvPicPr/>
            <p:nvPr userDrawn="1"/>
          </p:nvPicPr>
          <p:blipFill>
            <a:blip r:embed="rId4" cstate="print"/>
            <a:stretch>
              <a:fillRect/>
            </a:stretch>
          </p:blipFill>
          <p:spPr>
            <a:xfrm>
              <a:off x="4570413" y="1068679"/>
              <a:ext cx="123077" cy="184614"/>
            </a:xfrm>
            <a:prstGeom prst="rect">
              <a:avLst/>
            </a:prstGeom>
            <a:ln w="12700">
              <a:miter lim="400000"/>
              <a:headEnd/>
              <a:tailEnd/>
            </a:ln>
          </p:spPr>
        </p:pic>
        <p:sp>
          <p:nvSpPr>
            <p:cNvPr id="27" name="pole tekstowe 26"/>
            <p:cNvSpPr txBox="1"/>
            <p:nvPr userDrawn="1"/>
          </p:nvSpPr>
          <p:spPr>
            <a:xfrm>
              <a:off x="4724400" y="1047750"/>
              <a:ext cx="914400" cy="221033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160020" indent="-160020" defTabSz="431165">
                <a:lnSpc>
                  <a:spcPct val="120000"/>
                </a:lnSpc>
                <a:spcBef>
                  <a:spcPts val="285"/>
                </a:spcBef>
                <a:buClr>
                  <a:srgbClr val="0098C7"/>
                </a:buClr>
                <a:buSzPct val="80000"/>
                <a:buFont typeface="Arial" panose="020B0604020202090204" pitchFamily="34" charset="0"/>
                <a:buNone/>
              </a:pPr>
              <a:r>
                <a:rPr lang="en-US" sz="1010" b="1" kern="0" dirty="0">
                  <a:solidFill>
                    <a:srgbClr val="5E5E5E"/>
                  </a:solidFill>
                  <a:latin typeface="Arial" panose="020B0604020202090204"/>
                  <a:ea typeface="Arial" panose="020B0604020202090204"/>
                  <a:cs typeface="Arial" panose="020B0604020202090204"/>
                  <a:sym typeface="Arial" panose="020B0604020202090204"/>
                </a:rPr>
                <a:t>Challenges</a:t>
              </a:r>
            </a:p>
          </p:txBody>
        </p:sp>
      </p:grpSp>
      <p:sp>
        <p:nvSpPr>
          <p:cNvPr id="39" name="Symbol zastępczy zawartości 2"/>
          <p:cNvSpPr>
            <a:spLocks noGrp="1"/>
          </p:cNvSpPr>
          <p:nvPr userDrawn="1">
            <p:ph idx="13" hasCustomPrompt="1"/>
          </p:nvPr>
        </p:nvSpPr>
        <p:spPr>
          <a:xfrm>
            <a:off x="7105279" y="1320036"/>
            <a:ext cx="3840692" cy="446862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buClr>
                <a:srgbClr val="F47B29"/>
              </a:buClr>
              <a:buSzPct val="120000"/>
              <a:defRPr sz="1010">
                <a:solidFill>
                  <a:srgbClr val="5E5E5E"/>
                </a:solidFill>
              </a:defRPr>
            </a:lvl1pPr>
            <a:lvl2pPr>
              <a:lnSpc>
                <a:spcPct val="100000"/>
              </a:lnSpc>
              <a:buClr>
                <a:srgbClr val="F47B29"/>
              </a:buClr>
              <a:buSzPct val="120000"/>
              <a:defRPr sz="1010">
                <a:solidFill>
                  <a:srgbClr val="5E5E5E"/>
                </a:solidFill>
              </a:defRPr>
            </a:lvl2pPr>
            <a:lvl3pPr>
              <a:lnSpc>
                <a:spcPct val="100000"/>
              </a:lnSpc>
              <a:buClr>
                <a:srgbClr val="F47B29"/>
              </a:buClr>
              <a:buSzPct val="120000"/>
              <a:defRPr sz="1010">
                <a:solidFill>
                  <a:srgbClr val="5E5E5E"/>
                </a:solidFill>
              </a:defRPr>
            </a:lvl3pPr>
            <a:lvl4pPr>
              <a:lnSpc>
                <a:spcPct val="100000"/>
              </a:lnSpc>
              <a:buClr>
                <a:srgbClr val="F47B29"/>
              </a:buClr>
              <a:buSzPct val="120000"/>
              <a:defRPr sz="1010">
                <a:solidFill>
                  <a:srgbClr val="5E5E5E"/>
                </a:solidFill>
              </a:defRPr>
            </a:lvl4pPr>
            <a:lvl5pPr>
              <a:lnSpc>
                <a:spcPct val="100000"/>
              </a:lnSpc>
              <a:buClr>
                <a:srgbClr val="F47B29"/>
              </a:buClr>
              <a:buSzPct val="120000"/>
              <a:defRPr sz="1010">
                <a:solidFill>
                  <a:srgbClr val="5E5E5E"/>
                </a:solidFill>
              </a:defRPr>
            </a:lvl5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  <a:endParaRPr lang="en-US" dirty="0"/>
          </a:p>
        </p:txBody>
      </p:sp>
      <p:sp>
        <p:nvSpPr>
          <p:cNvPr id="40" name="Symbol zastępczy zawartości 2"/>
          <p:cNvSpPr>
            <a:spLocks noGrp="1"/>
          </p:cNvSpPr>
          <p:nvPr userDrawn="1">
            <p:ph idx="14" hasCustomPrompt="1"/>
          </p:nvPr>
        </p:nvSpPr>
        <p:spPr>
          <a:xfrm>
            <a:off x="1728311" y="1320036"/>
            <a:ext cx="3840692" cy="446862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buClr>
                <a:srgbClr val="F47B29"/>
              </a:buClr>
              <a:buSzPct val="120000"/>
              <a:defRPr sz="1010">
                <a:solidFill>
                  <a:srgbClr val="5E5E5E"/>
                </a:solidFill>
              </a:defRPr>
            </a:lvl1pPr>
            <a:lvl2pPr>
              <a:lnSpc>
                <a:spcPct val="100000"/>
              </a:lnSpc>
              <a:buClr>
                <a:srgbClr val="F47B29"/>
              </a:buClr>
              <a:buSzPct val="120000"/>
              <a:defRPr sz="1010">
                <a:solidFill>
                  <a:srgbClr val="5E5E5E"/>
                </a:solidFill>
              </a:defRPr>
            </a:lvl2pPr>
            <a:lvl3pPr>
              <a:lnSpc>
                <a:spcPct val="100000"/>
              </a:lnSpc>
              <a:buClr>
                <a:srgbClr val="F47B29"/>
              </a:buClr>
              <a:buSzPct val="120000"/>
              <a:defRPr sz="1010">
                <a:solidFill>
                  <a:srgbClr val="5E5E5E"/>
                </a:solidFill>
              </a:defRPr>
            </a:lvl3pPr>
            <a:lvl4pPr>
              <a:lnSpc>
                <a:spcPct val="100000"/>
              </a:lnSpc>
              <a:buClr>
                <a:srgbClr val="F47B29"/>
              </a:buClr>
              <a:buSzPct val="120000"/>
              <a:defRPr sz="1010">
                <a:solidFill>
                  <a:srgbClr val="5E5E5E"/>
                </a:solidFill>
              </a:defRPr>
            </a:lvl4pPr>
            <a:lvl5pPr>
              <a:lnSpc>
                <a:spcPct val="100000"/>
              </a:lnSpc>
              <a:buClr>
                <a:srgbClr val="F47B29"/>
              </a:buClr>
              <a:buSzPct val="120000"/>
              <a:defRPr sz="1010">
                <a:solidFill>
                  <a:srgbClr val="5E5E5E"/>
                </a:solidFill>
              </a:defRPr>
            </a:lvl5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  <a:endParaRPr lang="en-US" dirty="0"/>
          </a:p>
        </p:txBody>
      </p:sp>
      <p:sp>
        <p:nvSpPr>
          <p:cNvPr id="19" name="Symbol zastępczy numeru slajdu 4"/>
          <p:cNvSpPr txBox="1"/>
          <p:nvPr userDrawn="1"/>
        </p:nvSpPr>
        <p:spPr>
          <a:xfrm>
            <a:off x="6536955" y="6021810"/>
            <a:ext cx="392071" cy="227777"/>
          </a:xfrm>
          <a:prstGeom prst="rect">
            <a:avLst/>
          </a:prstGeom>
        </p:spPr>
        <p:txBody>
          <a:bodyPr vert="horz" lIns="115203" tIns="57602" rIns="115203" bIns="57602" rtlCol="0" anchor="ctr"/>
          <a:lstStyle>
            <a:lvl1pPr algn="r">
              <a:defRPr sz="500">
                <a:solidFill>
                  <a:srgbClr val="FFFFFF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1pPr>
          </a:lstStyle>
          <a:p>
            <a:pPr defTabSz="452120">
              <a:defRPr/>
            </a:pPr>
            <a:fld id="{99807A26-6734-49DD-BA97-88685E1BEADA}" type="slidenum">
              <a:rPr lang="en-US" sz="630" kern="0" smtClean="0">
                <a:solidFill>
                  <a:srgbClr val="5E5E5E"/>
                </a:solidFill>
                <a:sym typeface="Avenir Roman"/>
              </a:rPr>
              <a:t>‹#›</a:t>
            </a:fld>
            <a:endParaRPr lang="en-US" sz="630" kern="0" dirty="0">
              <a:solidFill>
                <a:srgbClr val="5E5E5E"/>
              </a:solidFill>
              <a:sym typeface="Avenir Roman"/>
            </a:endParaRPr>
          </a:p>
        </p:txBody>
      </p:sp>
    </p:spTree>
  </p:cSld>
  <p:clrMapOvr>
    <a:masterClrMapping/>
  </p:clrMapOvr>
  <p:transition xmlns:p14="http://schemas.microsoft.com/office/powerpoint/2010/main" spd="med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 (no background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ymbol zastępczy numeru slajdu 4"/>
          <p:cNvSpPr txBox="1"/>
          <p:nvPr userDrawn="1"/>
        </p:nvSpPr>
        <p:spPr>
          <a:xfrm>
            <a:off x="6536955" y="6021810"/>
            <a:ext cx="392071" cy="227777"/>
          </a:xfrm>
          <a:prstGeom prst="rect">
            <a:avLst/>
          </a:prstGeom>
        </p:spPr>
        <p:txBody>
          <a:bodyPr vert="horz" lIns="115203" tIns="57602" rIns="115203" bIns="57602" rtlCol="0" anchor="ctr"/>
          <a:lstStyle>
            <a:lvl1pPr algn="r">
              <a:defRPr sz="500">
                <a:solidFill>
                  <a:srgbClr val="FFFFFF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1pPr>
          </a:lstStyle>
          <a:p>
            <a:pPr defTabSz="452120">
              <a:defRPr/>
            </a:pPr>
            <a:fld id="{99807A26-6734-49DD-BA97-88685E1BEADA}" type="slidenum">
              <a:rPr lang="en-US" sz="630" kern="0" smtClean="0">
                <a:solidFill>
                  <a:srgbClr val="5E5E5E"/>
                </a:solidFill>
                <a:sym typeface="Avenir Roman"/>
              </a:rPr>
              <a:t>‹#›</a:t>
            </a:fld>
            <a:endParaRPr lang="en-US" sz="630" kern="0" dirty="0">
              <a:solidFill>
                <a:srgbClr val="5E5E5E"/>
              </a:solidFill>
              <a:sym typeface="Avenir Roman"/>
            </a:endParaRPr>
          </a:p>
        </p:txBody>
      </p:sp>
    </p:spTree>
  </p:cSld>
  <p:clrMapOvr>
    <a:masterClrMapping/>
  </p:clrMapOvr>
  <p:transition xmlns:p14="http://schemas.microsoft.com/office/powerpoint/2010/main" spd="med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2" y="0"/>
            <a:ext cx="11522072" cy="5483487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5875" cap="flat">
            <a:noFill/>
            <a:prstDash val="solid"/>
            <a:miter lim="800000"/>
          </a:ln>
        </p:spPr>
        <p:txBody>
          <a:bodyPr vert="horz" wrap="square" lIns="86288" tIns="43143" rIns="86288" bIns="43143" numCol="1" anchor="t" anchorCtr="0" compatLnSpc="1"/>
          <a:lstStyle/>
          <a:p>
            <a:pPr defTabSz="862330"/>
            <a:endParaRPr lang="de-DE" sz="1765" dirty="0">
              <a:solidFill>
                <a:prstClr val="black"/>
              </a:solidFill>
            </a:endParaRPr>
          </a:p>
        </p:txBody>
      </p:sp>
      <p:sp>
        <p:nvSpPr>
          <p:cNvPr id="9" name="Rechteck 8"/>
          <p:cNvSpPr/>
          <p:nvPr userDrawn="1"/>
        </p:nvSpPr>
        <p:spPr bwMode="auto">
          <a:xfrm flipV="1">
            <a:off x="2" y="5483487"/>
            <a:ext cx="11522072" cy="996688"/>
          </a:xfrm>
          <a:prstGeom prst="rect">
            <a:avLst/>
          </a:prstGeom>
          <a:solidFill>
            <a:srgbClr val="EAEAEA"/>
          </a:solidFill>
          <a:ln w="15875" cap="flat">
            <a:noFill/>
            <a:prstDash val="solid"/>
            <a:miter lim="800000"/>
          </a:ln>
        </p:spPr>
        <p:txBody>
          <a:bodyPr vert="horz" wrap="square" lIns="86288" tIns="43143" rIns="86288" bIns="43143" numCol="1" anchor="t" anchorCtr="0" compatLnSpc="1"/>
          <a:lstStyle/>
          <a:p>
            <a:pPr defTabSz="862330"/>
            <a:endParaRPr lang="de-DE" sz="1765" dirty="0">
              <a:solidFill>
                <a:prstClr val="black"/>
              </a:solidFill>
            </a:endParaRPr>
          </a:p>
        </p:txBody>
      </p:sp>
      <p:sp>
        <p:nvSpPr>
          <p:cNvPr id="6" name="Textfeld 5"/>
          <p:cNvSpPr txBox="1"/>
          <p:nvPr userDrawn="1"/>
        </p:nvSpPr>
        <p:spPr>
          <a:xfrm>
            <a:off x="-98759" y="-2011936"/>
            <a:ext cx="174340" cy="358621"/>
          </a:xfrm>
          <a:prstGeom prst="rect">
            <a:avLst/>
          </a:prstGeom>
          <a:noFill/>
        </p:spPr>
        <p:txBody>
          <a:bodyPr wrap="none" lIns="86295" tIns="43147" rIns="86295" bIns="43147" rtlCol="0">
            <a:spAutoFit/>
          </a:bodyPr>
          <a:lstStyle/>
          <a:p>
            <a:pPr defTabSz="862330"/>
            <a:endParaRPr lang="en-US" sz="1765" dirty="0">
              <a:solidFill>
                <a:prstClr val="black"/>
              </a:solidFill>
            </a:endParaRP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987118" y="19"/>
            <a:ext cx="9547841" cy="3535316"/>
          </a:xfrm>
        </p:spPr>
        <p:txBody>
          <a:bodyPr anchor="b" anchorCtr="0">
            <a:noAutofit/>
          </a:bodyPr>
          <a:lstStyle>
            <a:lvl1pPr algn="l">
              <a:lnSpc>
                <a:spcPct val="80000"/>
              </a:lnSpc>
              <a:defRPr sz="8315" b="0" cap="all">
                <a:solidFill>
                  <a:schemeClr val="bg1"/>
                </a:solidFill>
                <a:latin typeface="Bebas Neue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987118" y="3535335"/>
            <a:ext cx="9547841" cy="1948171"/>
          </a:xfrm>
        </p:spPr>
        <p:txBody>
          <a:bodyPr anchor="t" anchorCtr="0"/>
          <a:lstStyle>
            <a:lvl1pPr marL="0" indent="0">
              <a:lnSpc>
                <a:spcPct val="80000"/>
              </a:lnSpc>
              <a:buNone/>
              <a:defRPr sz="4160">
                <a:solidFill>
                  <a:srgbClr val="B2B2B2"/>
                </a:solidFill>
              </a:defRPr>
            </a:lvl1pPr>
            <a:lvl2pPr marL="431165" indent="0">
              <a:buNone/>
              <a:defRPr sz="1765">
                <a:solidFill>
                  <a:schemeClr val="tx1">
                    <a:tint val="75000"/>
                  </a:schemeClr>
                </a:solidFill>
              </a:defRPr>
            </a:lvl2pPr>
            <a:lvl3pPr marL="862965" indent="0">
              <a:buNone/>
              <a:defRPr sz="1510">
                <a:solidFill>
                  <a:schemeClr val="tx1">
                    <a:tint val="75000"/>
                  </a:schemeClr>
                </a:solidFill>
              </a:defRPr>
            </a:lvl3pPr>
            <a:lvl4pPr marL="129413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4pPr>
            <a:lvl5pPr marL="172593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5pPr>
            <a:lvl6pPr marL="2157095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6pPr>
            <a:lvl7pPr marL="258826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7pPr>
            <a:lvl8pPr marL="302006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8pPr>
            <a:lvl9pPr marL="3451225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682564" y="5813601"/>
            <a:ext cx="6454429" cy="34016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487949" y="5813601"/>
            <a:ext cx="864181" cy="340167"/>
          </a:xfrm>
        </p:spPr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 flipV="1">
            <a:off x="2" y="5483487"/>
            <a:ext cx="11522072" cy="996688"/>
          </a:xfrm>
          <a:prstGeom prst="rect">
            <a:avLst/>
          </a:prstGeom>
          <a:solidFill>
            <a:srgbClr val="EAEAEA"/>
          </a:solidFill>
          <a:ln w="15875" cap="flat">
            <a:noFill/>
            <a:prstDash val="solid"/>
            <a:miter lim="800000"/>
          </a:ln>
        </p:spPr>
        <p:txBody>
          <a:bodyPr vert="horz" wrap="square" lIns="86288" tIns="43143" rIns="86288" bIns="43143" numCol="1" anchor="t" anchorCtr="0" compatLnSpc="1"/>
          <a:lstStyle/>
          <a:p>
            <a:pPr defTabSz="862330"/>
            <a:endParaRPr lang="de-DE" sz="1765" dirty="0">
              <a:solidFill>
                <a:prstClr val="black"/>
              </a:solidFill>
            </a:endParaRPr>
          </a:p>
        </p:txBody>
      </p:sp>
      <p:sp>
        <p:nvSpPr>
          <p:cNvPr id="9" name="Rechteck 8"/>
          <p:cNvSpPr/>
          <p:nvPr userDrawn="1"/>
        </p:nvSpPr>
        <p:spPr bwMode="auto">
          <a:xfrm>
            <a:off x="2" y="0"/>
            <a:ext cx="11522072" cy="5483487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5875" cap="flat">
            <a:noFill/>
            <a:prstDash val="solid"/>
            <a:miter lim="800000"/>
          </a:ln>
        </p:spPr>
        <p:txBody>
          <a:bodyPr vert="horz" wrap="square" lIns="86288" tIns="43143" rIns="86288" bIns="43143" numCol="1" anchor="t" anchorCtr="0" compatLnSpc="1"/>
          <a:lstStyle/>
          <a:p>
            <a:pPr defTabSz="862330"/>
            <a:endParaRPr lang="de-DE" sz="1765" dirty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>
          <a:xfrm>
            <a:off x="987118" y="19"/>
            <a:ext cx="9547841" cy="3535316"/>
          </a:xfrm>
        </p:spPr>
        <p:txBody>
          <a:bodyPr anchor="b" anchorCtr="0">
            <a:noAutofit/>
          </a:bodyPr>
          <a:lstStyle>
            <a:lvl1pPr algn="ctr">
              <a:lnSpc>
                <a:spcPct val="80000"/>
              </a:lnSpc>
              <a:defRPr sz="8315" b="0" cap="all">
                <a:solidFill>
                  <a:schemeClr val="bg1"/>
                </a:solidFill>
                <a:latin typeface="Bebas Neue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987118" y="3535335"/>
            <a:ext cx="9547841" cy="1948171"/>
          </a:xfrm>
        </p:spPr>
        <p:txBody>
          <a:bodyPr anchor="t" anchorCtr="0"/>
          <a:lstStyle>
            <a:lvl1pPr marL="0" indent="0" algn="ctr">
              <a:lnSpc>
                <a:spcPct val="80000"/>
              </a:lnSpc>
              <a:buNone/>
              <a:defRPr sz="4160">
                <a:solidFill>
                  <a:srgbClr val="B2B2B2"/>
                </a:solidFill>
              </a:defRPr>
            </a:lvl1pPr>
            <a:lvl2pPr marL="431165" indent="0">
              <a:buNone/>
              <a:defRPr sz="1765">
                <a:solidFill>
                  <a:schemeClr val="tx1">
                    <a:tint val="75000"/>
                  </a:schemeClr>
                </a:solidFill>
              </a:defRPr>
            </a:lvl2pPr>
            <a:lvl3pPr marL="862965" indent="0">
              <a:buNone/>
              <a:defRPr sz="1510">
                <a:solidFill>
                  <a:schemeClr val="tx1">
                    <a:tint val="75000"/>
                  </a:schemeClr>
                </a:solidFill>
              </a:defRPr>
            </a:lvl3pPr>
            <a:lvl4pPr marL="129413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4pPr>
            <a:lvl5pPr marL="172593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5pPr>
            <a:lvl6pPr marL="2157095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6pPr>
            <a:lvl7pPr marL="258826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7pPr>
            <a:lvl8pPr marL="302006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8pPr>
            <a:lvl9pPr marL="3451225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86141" y="1615544"/>
            <a:ext cx="9937790" cy="2695573"/>
          </a:xfrm>
        </p:spPr>
        <p:txBody>
          <a:bodyPr anchor="b"/>
          <a:lstStyle>
            <a:lvl1pPr>
              <a:defRPr sz="2835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86141" y="4336617"/>
            <a:ext cx="9937790" cy="1417538"/>
          </a:xfrm>
        </p:spPr>
        <p:txBody>
          <a:bodyPr/>
          <a:lstStyle>
            <a:lvl1pPr marL="0" indent="0">
              <a:buNone/>
              <a:defRPr sz="1135"/>
            </a:lvl1pPr>
            <a:lvl2pPr marL="215900" indent="0">
              <a:buNone/>
              <a:defRPr sz="945"/>
            </a:lvl2pPr>
            <a:lvl3pPr marL="431800" indent="0">
              <a:buNone/>
              <a:defRPr sz="850"/>
            </a:lvl3pPr>
            <a:lvl4pPr marL="648335" indent="0">
              <a:buNone/>
              <a:defRPr sz="755"/>
            </a:lvl4pPr>
            <a:lvl5pPr marL="864235" indent="0">
              <a:buNone/>
              <a:defRPr sz="755"/>
            </a:lvl5pPr>
            <a:lvl6pPr marL="1080135" indent="0">
              <a:buNone/>
              <a:defRPr sz="755"/>
            </a:lvl6pPr>
            <a:lvl7pPr marL="1296035" indent="0">
              <a:buNone/>
              <a:defRPr sz="755"/>
            </a:lvl7pPr>
            <a:lvl8pPr marL="1511935" indent="0">
              <a:buNone/>
              <a:defRPr sz="755"/>
            </a:lvl8pPr>
            <a:lvl9pPr marL="1728470" indent="0">
              <a:buNone/>
              <a:defRPr sz="755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algn="ctr" defTabSz="387350" fontAlgn="base" hangingPunct="0">
              <a:spcBef>
                <a:spcPct val="0"/>
              </a:spcBef>
              <a:spcAft>
                <a:spcPct val="0"/>
              </a:spcAft>
            </a:pPr>
            <a:fld id="{3E510559-E33B-417F-990B-F920324A6052}" type="slidenum">
              <a:rPr lang="zh-CN" altLang="zh-CN" smtClean="0">
                <a:solidFill>
                  <a:srgbClr val="000000"/>
                </a:solidFill>
              </a:rPr>
              <a:t>‹#›</a:t>
            </a:fld>
            <a:endParaRPr lang="zh-CN" altLang="zh-CN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 flipV="1">
            <a:off x="2" y="5483487"/>
            <a:ext cx="11522072" cy="996688"/>
          </a:xfrm>
          <a:prstGeom prst="rect">
            <a:avLst/>
          </a:prstGeom>
          <a:solidFill>
            <a:srgbClr val="EAEAEA"/>
          </a:solidFill>
          <a:ln w="15875" cap="flat">
            <a:noFill/>
            <a:prstDash val="solid"/>
            <a:miter lim="800000"/>
          </a:ln>
        </p:spPr>
        <p:txBody>
          <a:bodyPr vert="horz" wrap="square" lIns="86288" tIns="43143" rIns="86288" bIns="43143" numCol="1" anchor="t" anchorCtr="0" compatLnSpc="1"/>
          <a:lstStyle/>
          <a:p>
            <a:pPr defTabSz="862330"/>
            <a:endParaRPr lang="de-DE" sz="1765" dirty="0">
              <a:solidFill>
                <a:prstClr val="black"/>
              </a:solidFill>
            </a:endParaRPr>
          </a:p>
        </p:txBody>
      </p:sp>
      <p:sp>
        <p:nvSpPr>
          <p:cNvPr id="9" name="Rechteck 8"/>
          <p:cNvSpPr/>
          <p:nvPr userDrawn="1"/>
        </p:nvSpPr>
        <p:spPr bwMode="auto">
          <a:xfrm>
            <a:off x="2" y="0"/>
            <a:ext cx="11522072" cy="5483487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5875" cap="flat">
            <a:noFill/>
            <a:prstDash val="solid"/>
            <a:miter lim="800000"/>
          </a:ln>
        </p:spPr>
        <p:txBody>
          <a:bodyPr vert="horz" wrap="square" lIns="86288" tIns="43143" rIns="86288" bIns="43143" numCol="1" anchor="t" anchorCtr="0" compatLnSpc="1"/>
          <a:lstStyle/>
          <a:p>
            <a:pPr defTabSz="862330"/>
            <a:endParaRPr lang="de-DE" sz="1765" dirty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>
          <a:xfrm>
            <a:off x="987118" y="18"/>
            <a:ext cx="9547841" cy="3069406"/>
          </a:xfrm>
        </p:spPr>
        <p:txBody>
          <a:bodyPr anchor="b" anchorCtr="0">
            <a:noAutofit/>
          </a:bodyPr>
          <a:lstStyle>
            <a:lvl1pPr algn="ctr">
              <a:lnSpc>
                <a:spcPct val="80000"/>
              </a:lnSpc>
              <a:defRPr sz="8315" b="0" cap="all">
                <a:solidFill>
                  <a:schemeClr val="bg1"/>
                </a:solidFill>
                <a:latin typeface="Bebas Neue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987118" y="3069405"/>
            <a:ext cx="9547841" cy="2414082"/>
          </a:xfrm>
        </p:spPr>
        <p:txBody>
          <a:bodyPr anchor="t" anchorCtr="0"/>
          <a:lstStyle>
            <a:lvl1pPr marL="0" indent="0" algn="ctr">
              <a:lnSpc>
                <a:spcPct val="80000"/>
              </a:lnSpc>
              <a:buNone/>
              <a:defRPr sz="4160">
                <a:solidFill>
                  <a:srgbClr val="B2B2B2"/>
                </a:solidFill>
              </a:defRPr>
            </a:lvl1pPr>
            <a:lvl2pPr marL="431165" indent="0">
              <a:buNone/>
              <a:defRPr sz="1765">
                <a:solidFill>
                  <a:schemeClr val="tx1">
                    <a:tint val="75000"/>
                  </a:schemeClr>
                </a:solidFill>
              </a:defRPr>
            </a:lvl2pPr>
            <a:lvl3pPr marL="862965" indent="0">
              <a:buNone/>
              <a:defRPr sz="1510">
                <a:solidFill>
                  <a:schemeClr val="tx1">
                    <a:tint val="75000"/>
                  </a:schemeClr>
                </a:solidFill>
              </a:defRPr>
            </a:lvl3pPr>
            <a:lvl4pPr marL="129413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4pPr>
            <a:lvl5pPr marL="172593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5pPr>
            <a:lvl6pPr marL="2157095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6pPr>
            <a:lvl7pPr marL="258826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7pPr>
            <a:lvl8pPr marL="302006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8pPr>
            <a:lvl9pPr marL="3451225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87970" y="1402197"/>
            <a:ext cx="10522965" cy="4081289"/>
          </a:xfrm>
          <a:noFill/>
        </p:spPr>
        <p:txBody>
          <a:bodyPr/>
          <a:lstStyle>
            <a:lvl1pPr>
              <a:defRPr sz="2140"/>
            </a:lvl1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38" name="Titel 1"/>
          <p:cNvSpPr>
            <a:spLocks noGrp="1"/>
          </p:cNvSpPr>
          <p:nvPr>
            <p:ph type="title"/>
          </p:nvPr>
        </p:nvSpPr>
        <p:spPr>
          <a:xfrm>
            <a:off x="487970" y="388195"/>
            <a:ext cx="10522965" cy="1014002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487970" y="388195"/>
            <a:ext cx="10522965" cy="1014002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87949" y="1402197"/>
            <a:ext cx="6886685" cy="4081289"/>
          </a:xfrm>
          <a:noFill/>
        </p:spPr>
        <p:txBody>
          <a:bodyPr/>
          <a:lstStyle>
            <a:lvl1pPr>
              <a:defRPr sz="2140"/>
            </a:lvl1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487970" y="388195"/>
            <a:ext cx="10522965" cy="1014002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87970" y="1402197"/>
            <a:ext cx="5068547" cy="4081289"/>
          </a:xfrm>
          <a:noFill/>
        </p:spPr>
        <p:txBody>
          <a:bodyPr/>
          <a:lstStyle>
            <a:lvl1pPr>
              <a:defRPr sz="2140"/>
            </a:lvl1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5941561" y="388195"/>
            <a:ext cx="5069356" cy="1014002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941474" y="1402197"/>
            <a:ext cx="5068547" cy="4081289"/>
          </a:xfrm>
          <a:noFill/>
        </p:spPr>
        <p:txBody>
          <a:bodyPr/>
          <a:lstStyle>
            <a:lvl1pPr>
              <a:defRPr sz="2140"/>
            </a:lvl1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487970" y="388195"/>
            <a:ext cx="10522965" cy="1014002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87951" y="1402197"/>
            <a:ext cx="2882696" cy="4081289"/>
          </a:xfrm>
          <a:noFill/>
        </p:spPr>
        <p:txBody>
          <a:bodyPr/>
          <a:lstStyle>
            <a:lvl1pPr>
              <a:defRPr sz="1890"/>
            </a:lvl1pPr>
            <a:lvl2pPr>
              <a:defRPr sz="1765"/>
            </a:lvl2pPr>
            <a:lvl3pPr>
              <a:defRPr sz="1510"/>
            </a:lvl3pPr>
            <a:lvl4pPr>
              <a:defRPr sz="1385"/>
            </a:lvl4pPr>
            <a:lvl5pPr>
              <a:defRPr sz="1385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487970" y="388195"/>
            <a:ext cx="10522965" cy="1014002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8293347" y="1402197"/>
            <a:ext cx="2706629" cy="4081289"/>
          </a:xfrm>
          <a:noFill/>
        </p:spPr>
        <p:txBody>
          <a:bodyPr/>
          <a:lstStyle>
            <a:lvl1pPr>
              <a:defRPr sz="1890"/>
            </a:lvl1pPr>
            <a:lvl2pPr>
              <a:defRPr sz="1765"/>
            </a:lvl2pPr>
            <a:lvl3pPr>
              <a:defRPr sz="1510"/>
            </a:lvl3pPr>
            <a:lvl4pPr>
              <a:defRPr sz="1385"/>
            </a:lvl4pPr>
            <a:lvl5pPr>
              <a:defRPr sz="1385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ellenplatzhalter 3"/>
          <p:cNvSpPr>
            <a:spLocks noGrp="1"/>
          </p:cNvSpPr>
          <p:nvPr>
            <p:ph type="tbl" sz="quarter" idx="14"/>
          </p:nvPr>
        </p:nvSpPr>
        <p:spPr>
          <a:xfrm>
            <a:off x="510159" y="1470059"/>
            <a:ext cx="10500257" cy="4014109"/>
          </a:xfrm>
          <a:noFill/>
        </p:spPr>
        <p:txBody>
          <a:bodyPr/>
          <a:lstStyle/>
          <a:p>
            <a:endParaRPr lang="de-DE" dirty="0"/>
          </a:p>
        </p:txBody>
      </p:sp>
      <p:sp>
        <p:nvSpPr>
          <p:cNvPr id="38" name="Titel 1"/>
          <p:cNvSpPr>
            <a:spLocks noGrp="1"/>
          </p:cNvSpPr>
          <p:nvPr>
            <p:ph type="title"/>
          </p:nvPr>
        </p:nvSpPr>
        <p:spPr>
          <a:xfrm>
            <a:off x="487970" y="388195"/>
            <a:ext cx="10522965" cy="1014002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072623" y="1721297"/>
            <a:ext cx="3651658" cy="4176113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5796294" y="1721297"/>
            <a:ext cx="3652408" cy="4176113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algn="ctr" defTabSz="387350" fontAlgn="base" hangingPunct="0">
              <a:spcBef>
                <a:spcPct val="0"/>
              </a:spcBef>
              <a:spcAft>
                <a:spcPct val="0"/>
              </a:spcAft>
            </a:pPr>
            <a:fld id="{2E49A676-99AE-48F2-BD3F-47F5C43BBE33}" type="slidenum">
              <a:rPr lang="zh-CN" altLang="zh-CN" smtClean="0">
                <a:solidFill>
                  <a:srgbClr val="000000"/>
                </a:solidFill>
              </a:rPr>
              <a:t>‹#›</a:t>
            </a:fld>
            <a:endParaRPr lang="zh-CN" altLang="zh-CN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11522075" cy="6480175"/>
          </a:xfrm>
          <a:prstGeom prst="rect">
            <a:avLst/>
          </a:prstGeom>
          <a:solidFill>
            <a:srgbClr val="D9D9D9"/>
          </a:solidFill>
          <a:ln w="12700">
            <a:noFill/>
            <a:round/>
          </a:ln>
        </p:spPr>
        <p:txBody>
          <a:bodyPr rot="0" spcFirstLastPara="0" vert="horz" wrap="square" lIns="86288" tIns="43143" rIns="86288" bIns="43143" numCol="1" spcCol="0" rtlCol="0" fromWordArt="0" anchor="ctr" anchorCtr="0" forceAA="0" compatLnSpc="1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270" dirty="0">
              <a:solidFill>
                <a:prstClr val="black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5" name="Inhaltsplatzhalter 2"/>
          <p:cNvSpPr>
            <a:spLocks noGrp="1"/>
          </p:cNvSpPr>
          <p:nvPr>
            <p:ph idx="1" hasCustomPrompt="1"/>
          </p:nvPr>
        </p:nvSpPr>
        <p:spPr>
          <a:xfrm>
            <a:off x="487970" y="1402197"/>
            <a:ext cx="10522965" cy="4081289"/>
          </a:xfrm>
          <a:noFill/>
        </p:spPr>
        <p:txBody>
          <a:bodyPr/>
          <a:lstStyle>
            <a:lvl1pPr>
              <a:defRPr sz="2140"/>
            </a:lvl1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11522075" cy="6480175"/>
          </a:xfrm>
          <a:prstGeom prst="rect">
            <a:avLst/>
          </a:prstGeom>
          <a:solidFill>
            <a:srgbClr val="262626"/>
          </a:solidFill>
          <a:ln w="12700">
            <a:noFill/>
            <a:round/>
          </a:ln>
        </p:spPr>
        <p:txBody>
          <a:bodyPr rot="0" spcFirstLastPara="0" vert="horz" wrap="square" lIns="86288" tIns="43143" rIns="86288" bIns="43143" numCol="1" spcCol="0" rtlCol="0" fromWordArt="0" anchor="ctr" anchorCtr="0" forceAA="0" compatLnSpc="1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270" dirty="0">
              <a:solidFill>
                <a:prstClr val="black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 hasCustomPrompt="1"/>
          </p:nvPr>
        </p:nvSpPr>
        <p:spPr>
          <a:xfrm>
            <a:off x="487970" y="1402197"/>
            <a:ext cx="10522965" cy="4081289"/>
          </a:xfrm>
          <a:noFill/>
        </p:spPr>
        <p:txBody>
          <a:bodyPr/>
          <a:lstStyle>
            <a:lvl1pPr>
              <a:defRPr sz="2140">
                <a:solidFill>
                  <a:srgbClr val="D9D9D9"/>
                </a:solidFill>
              </a:defRPr>
            </a:lvl1pPr>
            <a:lvl2pPr>
              <a:defRPr>
                <a:solidFill>
                  <a:srgbClr val="D9D9D9"/>
                </a:solidFill>
              </a:defRPr>
            </a:lvl2pPr>
            <a:lvl3pPr>
              <a:defRPr>
                <a:solidFill>
                  <a:srgbClr val="D9D9D9"/>
                </a:solidFill>
              </a:defRPr>
            </a:lvl3pPr>
            <a:lvl4pPr>
              <a:defRPr>
                <a:solidFill>
                  <a:srgbClr val="D9D9D9"/>
                </a:solidFill>
              </a:defRPr>
            </a:lvl4pPr>
            <a:lvl5pPr>
              <a:defRPr>
                <a:solidFill>
                  <a:srgbClr val="D9D9D9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0" y="0"/>
            <a:ext cx="11522075" cy="6480175"/>
          </a:xfrm>
          <a:prstGeom prst="rect">
            <a:avLst/>
          </a:prstGeom>
          <a:solidFill>
            <a:srgbClr val="C8303F"/>
          </a:solidFill>
          <a:ln w="15875" cap="flat">
            <a:noFill/>
            <a:prstDash val="solid"/>
            <a:miter lim="800000"/>
          </a:ln>
        </p:spPr>
        <p:txBody>
          <a:bodyPr vert="horz" wrap="square" lIns="86288" tIns="43143" rIns="86288" bIns="43143" numCol="1" anchor="t" anchorCtr="0" compatLnSpc="1"/>
          <a:lstStyle/>
          <a:p>
            <a:pPr defTabSz="862330"/>
            <a:endParaRPr lang="en-US" sz="1765" dirty="0">
              <a:solidFill>
                <a:prstClr val="black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 hasCustomPrompt="1"/>
          </p:nvPr>
        </p:nvSpPr>
        <p:spPr>
          <a:xfrm>
            <a:off x="487970" y="1402197"/>
            <a:ext cx="10522965" cy="4081289"/>
          </a:xfrm>
          <a:noFill/>
        </p:spPr>
        <p:txBody>
          <a:bodyPr/>
          <a:lstStyle>
            <a:lvl1pPr>
              <a:defRPr sz="2140">
                <a:solidFill>
                  <a:srgbClr val="DDDDDD"/>
                </a:solidFill>
              </a:defRPr>
            </a:lvl1pPr>
            <a:lvl2pPr>
              <a:defRPr>
                <a:solidFill>
                  <a:srgbClr val="DDDDDD"/>
                </a:solidFill>
              </a:defRPr>
            </a:lvl2pPr>
            <a:lvl3pPr>
              <a:defRPr>
                <a:solidFill>
                  <a:srgbClr val="DDDDDD"/>
                </a:solidFill>
              </a:defRPr>
            </a:lvl3pPr>
            <a:lvl4pPr>
              <a:defRPr>
                <a:solidFill>
                  <a:srgbClr val="DDDDDD"/>
                </a:solidFill>
              </a:defRPr>
            </a:lvl4pPr>
            <a:lvl5pPr>
              <a:defRPr>
                <a:solidFill>
                  <a:srgbClr val="DDDDDD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87949" y="890554"/>
            <a:ext cx="10522764" cy="511643"/>
          </a:xfrm>
        </p:spPr>
        <p:txBody>
          <a:bodyPr lIns="8099" anchor="t" anchorCtr="0"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87949" y="890554"/>
            <a:ext cx="10522764" cy="511643"/>
          </a:xfrm>
        </p:spPr>
        <p:txBody>
          <a:bodyPr lIns="10790" anchor="t" anchorCtr="0"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  <p:pic>
        <p:nvPicPr>
          <p:cNvPr id="25602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1132" y="5304143"/>
            <a:ext cx="4212759" cy="11760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2" y="0"/>
            <a:ext cx="11522072" cy="5483487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5875" cap="flat">
            <a:noFill/>
            <a:prstDash val="solid"/>
            <a:miter lim="800000"/>
          </a:ln>
        </p:spPr>
        <p:txBody>
          <a:bodyPr vert="horz" wrap="square" lIns="85948" tIns="42973" rIns="85948" bIns="42973" numCol="1" anchor="t" anchorCtr="0" compatLnSpc="1"/>
          <a:lstStyle/>
          <a:p>
            <a:pPr defTabSz="858520"/>
            <a:endParaRPr lang="de-DE" sz="1765" dirty="0">
              <a:solidFill>
                <a:prstClr val="black"/>
              </a:solidFill>
            </a:endParaRPr>
          </a:p>
        </p:txBody>
      </p:sp>
      <p:sp>
        <p:nvSpPr>
          <p:cNvPr id="9" name="Rechteck 8"/>
          <p:cNvSpPr/>
          <p:nvPr userDrawn="1"/>
        </p:nvSpPr>
        <p:spPr bwMode="auto">
          <a:xfrm flipV="1">
            <a:off x="2" y="5483487"/>
            <a:ext cx="11522072" cy="996688"/>
          </a:xfrm>
          <a:prstGeom prst="rect">
            <a:avLst/>
          </a:prstGeom>
          <a:solidFill>
            <a:srgbClr val="EAEAEA"/>
          </a:solidFill>
          <a:ln w="15875" cap="flat">
            <a:noFill/>
            <a:prstDash val="solid"/>
            <a:miter lim="800000"/>
          </a:ln>
        </p:spPr>
        <p:txBody>
          <a:bodyPr vert="horz" wrap="square" lIns="85948" tIns="42973" rIns="85948" bIns="42973" numCol="1" anchor="t" anchorCtr="0" compatLnSpc="1"/>
          <a:lstStyle/>
          <a:p>
            <a:pPr defTabSz="858520"/>
            <a:endParaRPr lang="de-DE" sz="1765" dirty="0">
              <a:solidFill>
                <a:prstClr val="black"/>
              </a:solidFill>
            </a:endParaRPr>
          </a:p>
        </p:txBody>
      </p:sp>
      <p:sp>
        <p:nvSpPr>
          <p:cNvPr id="6" name="Textfeld 5"/>
          <p:cNvSpPr txBox="1"/>
          <p:nvPr userDrawn="1"/>
        </p:nvSpPr>
        <p:spPr>
          <a:xfrm>
            <a:off x="-98702" y="-2011936"/>
            <a:ext cx="173653" cy="358278"/>
          </a:xfrm>
          <a:prstGeom prst="rect">
            <a:avLst/>
          </a:prstGeom>
          <a:noFill/>
        </p:spPr>
        <p:txBody>
          <a:bodyPr wrap="none" lIns="85955" tIns="42977" rIns="85955" bIns="42977" rtlCol="0">
            <a:spAutoFit/>
          </a:bodyPr>
          <a:lstStyle/>
          <a:p>
            <a:pPr defTabSz="858520"/>
            <a:endParaRPr lang="en-US" sz="1765" dirty="0">
              <a:solidFill>
                <a:prstClr val="black"/>
              </a:solidFill>
            </a:endParaRP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987118" y="48"/>
            <a:ext cx="9547841" cy="3535316"/>
          </a:xfrm>
        </p:spPr>
        <p:txBody>
          <a:bodyPr anchor="b" anchorCtr="0">
            <a:noAutofit/>
          </a:bodyPr>
          <a:lstStyle>
            <a:lvl1pPr algn="l">
              <a:lnSpc>
                <a:spcPct val="80000"/>
              </a:lnSpc>
              <a:defRPr sz="8315" b="0" cap="all">
                <a:solidFill>
                  <a:schemeClr val="bg1"/>
                </a:solidFill>
                <a:latin typeface="Bebas Neue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987118" y="3535392"/>
            <a:ext cx="9547841" cy="1948171"/>
          </a:xfrm>
        </p:spPr>
        <p:txBody>
          <a:bodyPr anchor="t" anchorCtr="0"/>
          <a:lstStyle>
            <a:lvl1pPr marL="0" indent="0">
              <a:lnSpc>
                <a:spcPct val="80000"/>
              </a:lnSpc>
              <a:buNone/>
              <a:defRPr sz="4160">
                <a:solidFill>
                  <a:srgbClr val="B2B2B2"/>
                </a:solidFill>
              </a:defRPr>
            </a:lvl1pPr>
            <a:lvl2pPr marL="429260" indent="0">
              <a:buNone/>
              <a:defRPr sz="1765">
                <a:solidFill>
                  <a:schemeClr val="tx1">
                    <a:tint val="75000"/>
                  </a:schemeClr>
                </a:solidFill>
              </a:defRPr>
            </a:lvl2pPr>
            <a:lvl3pPr marL="859155" indent="0">
              <a:buNone/>
              <a:defRPr sz="1510">
                <a:solidFill>
                  <a:schemeClr val="tx1">
                    <a:tint val="75000"/>
                  </a:schemeClr>
                </a:solidFill>
              </a:defRPr>
            </a:lvl3pPr>
            <a:lvl4pPr marL="1288415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4pPr>
            <a:lvl5pPr marL="1717675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5pPr>
            <a:lvl6pPr marL="214757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6pPr>
            <a:lvl7pPr marL="257683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7pPr>
            <a:lvl8pPr marL="300609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8pPr>
            <a:lvl9pPr marL="3435985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682564" y="5813601"/>
            <a:ext cx="6454429" cy="34016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487949" y="5813601"/>
            <a:ext cx="864181" cy="340167"/>
          </a:xfrm>
        </p:spPr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 flipV="1">
            <a:off x="2" y="5483487"/>
            <a:ext cx="11522072" cy="996688"/>
          </a:xfrm>
          <a:prstGeom prst="rect">
            <a:avLst/>
          </a:prstGeom>
          <a:solidFill>
            <a:srgbClr val="EAEAEA"/>
          </a:solidFill>
          <a:ln w="15875" cap="flat">
            <a:noFill/>
            <a:prstDash val="solid"/>
            <a:miter lim="800000"/>
          </a:ln>
        </p:spPr>
        <p:txBody>
          <a:bodyPr vert="horz" wrap="square" lIns="85948" tIns="42973" rIns="85948" bIns="42973" numCol="1" anchor="t" anchorCtr="0" compatLnSpc="1"/>
          <a:lstStyle/>
          <a:p>
            <a:pPr defTabSz="858520"/>
            <a:endParaRPr lang="de-DE" sz="1765" dirty="0">
              <a:solidFill>
                <a:prstClr val="black"/>
              </a:solidFill>
            </a:endParaRPr>
          </a:p>
        </p:txBody>
      </p:sp>
      <p:sp>
        <p:nvSpPr>
          <p:cNvPr id="9" name="Rechteck 8"/>
          <p:cNvSpPr/>
          <p:nvPr userDrawn="1"/>
        </p:nvSpPr>
        <p:spPr bwMode="auto">
          <a:xfrm>
            <a:off x="2" y="0"/>
            <a:ext cx="11522072" cy="5483487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5875" cap="flat">
            <a:noFill/>
            <a:prstDash val="solid"/>
            <a:miter lim="800000"/>
          </a:ln>
        </p:spPr>
        <p:txBody>
          <a:bodyPr vert="horz" wrap="square" lIns="85948" tIns="42973" rIns="85948" bIns="42973" numCol="1" anchor="t" anchorCtr="0" compatLnSpc="1"/>
          <a:lstStyle/>
          <a:p>
            <a:pPr defTabSz="858520"/>
            <a:endParaRPr lang="de-DE" sz="1765" dirty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>
          <a:xfrm>
            <a:off x="987118" y="48"/>
            <a:ext cx="9547841" cy="3535316"/>
          </a:xfrm>
        </p:spPr>
        <p:txBody>
          <a:bodyPr anchor="b" anchorCtr="0">
            <a:noAutofit/>
          </a:bodyPr>
          <a:lstStyle>
            <a:lvl1pPr algn="ctr">
              <a:lnSpc>
                <a:spcPct val="80000"/>
              </a:lnSpc>
              <a:defRPr sz="8315" b="0" cap="all">
                <a:solidFill>
                  <a:schemeClr val="bg1"/>
                </a:solidFill>
                <a:latin typeface="Bebas Neue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987118" y="3535392"/>
            <a:ext cx="9547841" cy="1948171"/>
          </a:xfrm>
        </p:spPr>
        <p:txBody>
          <a:bodyPr anchor="t" anchorCtr="0"/>
          <a:lstStyle>
            <a:lvl1pPr marL="0" indent="0" algn="ctr">
              <a:lnSpc>
                <a:spcPct val="80000"/>
              </a:lnSpc>
              <a:buNone/>
              <a:defRPr sz="4160">
                <a:solidFill>
                  <a:srgbClr val="B2B2B2"/>
                </a:solidFill>
              </a:defRPr>
            </a:lvl1pPr>
            <a:lvl2pPr marL="429260" indent="0">
              <a:buNone/>
              <a:defRPr sz="1765">
                <a:solidFill>
                  <a:schemeClr val="tx1">
                    <a:tint val="75000"/>
                  </a:schemeClr>
                </a:solidFill>
              </a:defRPr>
            </a:lvl2pPr>
            <a:lvl3pPr marL="859155" indent="0">
              <a:buNone/>
              <a:defRPr sz="1510">
                <a:solidFill>
                  <a:schemeClr val="tx1">
                    <a:tint val="75000"/>
                  </a:schemeClr>
                </a:solidFill>
              </a:defRPr>
            </a:lvl3pPr>
            <a:lvl4pPr marL="1288415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4pPr>
            <a:lvl5pPr marL="1717675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5pPr>
            <a:lvl6pPr marL="214757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6pPr>
            <a:lvl7pPr marL="257683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7pPr>
            <a:lvl8pPr marL="300609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8pPr>
            <a:lvl9pPr marL="3435985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 flipV="1">
            <a:off x="2" y="5483487"/>
            <a:ext cx="11522072" cy="996688"/>
          </a:xfrm>
          <a:prstGeom prst="rect">
            <a:avLst/>
          </a:prstGeom>
          <a:solidFill>
            <a:srgbClr val="EAEAEA"/>
          </a:solidFill>
          <a:ln w="15875" cap="flat">
            <a:noFill/>
            <a:prstDash val="solid"/>
            <a:miter lim="800000"/>
          </a:ln>
        </p:spPr>
        <p:txBody>
          <a:bodyPr vert="horz" wrap="square" lIns="85948" tIns="42973" rIns="85948" bIns="42973" numCol="1" anchor="t" anchorCtr="0" compatLnSpc="1"/>
          <a:lstStyle/>
          <a:p>
            <a:pPr defTabSz="858520"/>
            <a:endParaRPr lang="de-DE" sz="1765" dirty="0">
              <a:solidFill>
                <a:prstClr val="black"/>
              </a:solidFill>
            </a:endParaRPr>
          </a:p>
        </p:txBody>
      </p:sp>
      <p:sp>
        <p:nvSpPr>
          <p:cNvPr id="9" name="Rechteck 8"/>
          <p:cNvSpPr/>
          <p:nvPr userDrawn="1"/>
        </p:nvSpPr>
        <p:spPr bwMode="auto">
          <a:xfrm>
            <a:off x="2" y="0"/>
            <a:ext cx="11522072" cy="5483487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5875" cap="flat">
            <a:noFill/>
            <a:prstDash val="solid"/>
            <a:miter lim="800000"/>
          </a:ln>
        </p:spPr>
        <p:txBody>
          <a:bodyPr vert="horz" wrap="square" lIns="85948" tIns="42973" rIns="85948" bIns="42973" numCol="1" anchor="t" anchorCtr="0" compatLnSpc="1"/>
          <a:lstStyle/>
          <a:p>
            <a:pPr defTabSz="858520"/>
            <a:endParaRPr lang="de-DE" sz="1765" dirty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>
          <a:xfrm>
            <a:off x="987118" y="63"/>
            <a:ext cx="9547841" cy="3069406"/>
          </a:xfrm>
        </p:spPr>
        <p:txBody>
          <a:bodyPr anchor="b" anchorCtr="0">
            <a:noAutofit/>
          </a:bodyPr>
          <a:lstStyle>
            <a:lvl1pPr algn="ctr">
              <a:lnSpc>
                <a:spcPct val="80000"/>
              </a:lnSpc>
              <a:defRPr sz="8315" b="0" cap="all">
                <a:solidFill>
                  <a:schemeClr val="bg1"/>
                </a:solidFill>
                <a:latin typeface="Bebas Neue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987118" y="3069405"/>
            <a:ext cx="9547841" cy="2414082"/>
          </a:xfrm>
        </p:spPr>
        <p:txBody>
          <a:bodyPr anchor="t" anchorCtr="0"/>
          <a:lstStyle>
            <a:lvl1pPr marL="0" indent="0" algn="ctr">
              <a:lnSpc>
                <a:spcPct val="80000"/>
              </a:lnSpc>
              <a:buNone/>
              <a:defRPr sz="4160">
                <a:solidFill>
                  <a:srgbClr val="B2B2B2"/>
                </a:solidFill>
              </a:defRPr>
            </a:lvl1pPr>
            <a:lvl2pPr marL="429260" indent="0">
              <a:buNone/>
              <a:defRPr sz="1765">
                <a:solidFill>
                  <a:schemeClr val="tx1">
                    <a:tint val="75000"/>
                  </a:schemeClr>
                </a:solidFill>
              </a:defRPr>
            </a:lvl2pPr>
            <a:lvl3pPr marL="859155" indent="0">
              <a:buNone/>
              <a:defRPr sz="1510">
                <a:solidFill>
                  <a:schemeClr val="tx1">
                    <a:tint val="75000"/>
                  </a:schemeClr>
                </a:solidFill>
              </a:defRPr>
            </a:lvl3pPr>
            <a:lvl4pPr marL="1288415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4pPr>
            <a:lvl5pPr marL="1717675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5pPr>
            <a:lvl6pPr marL="214757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6pPr>
            <a:lvl7pPr marL="257683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7pPr>
            <a:lvl8pPr marL="3006090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8pPr>
            <a:lvl9pPr marL="3435985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88027" y="1402197"/>
            <a:ext cx="10522965" cy="4081289"/>
          </a:xfrm>
          <a:noFill/>
        </p:spPr>
        <p:txBody>
          <a:bodyPr/>
          <a:lstStyle>
            <a:lvl1pPr>
              <a:defRPr sz="2140"/>
            </a:lvl1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38" name="Titel 1"/>
          <p:cNvSpPr>
            <a:spLocks noGrp="1"/>
          </p:cNvSpPr>
          <p:nvPr>
            <p:ph type="title"/>
          </p:nvPr>
        </p:nvSpPr>
        <p:spPr>
          <a:xfrm>
            <a:off x="488027" y="388195"/>
            <a:ext cx="10522965" cy="1014002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488027" y="388195"/>
            <a:ext cx="10522965" cy="1014002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87949" y="1402197"/>
            <a:ext cx="6886685" cy="4081289"/>
          </a:xfrm>
          <a:noFill/>
        </p:spPr>
        <p:txBody>
          <a:bodyPr/>
          <a:lstStyle>
            <a:lvl1pPr>
              <a:defRPr sz="2140"/>
            </a:lvl1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_rels/slideMaster10.xml.rels><?xml version="1.0" encoding="UTF-8" standalone="yes"?>
<Relationships xmlns="http://schemas.openxmlformats.org/package/2006/relationships"><Relationship Id="rId46" Type="http://schemas.openxmlformats.org/officeDocument/2006/relationships/image" Target="../media/image22.jpeg"/><Relationship Id="rId20" Type="http://schemas.openxmlformats.org/officeDocument/2006/relationships/slideLayout" Target="../slideLayouts/slideLayout147.xml"/><Relationship Id="rId21" Type="http://schemas.openxmlformats.org/officeDocument/2006/relationships/slideLayout" Target="../slideLayouts/slideLayout148.xml"/><Relationship Id="rId22" Type="http://schemas.openxmlformats.org/officeDocument/2006/relationships/slideLayout" Target="../slideLayouts/slideLayout149.xml"/><Relationship Id="rId23" Type="http://schemas.openxmlformats.org/officeDocument/2006/relationships/slideLayout" Target="../slideLayouts/slideLayout150.xml"/><Relationship Id="rId24" Type="http://schemas.openxmlformats.org/officeDocument/2006/relationships/slideLayout" Target="../slideLayouts/slideLayout151.xml"/><Relationship Id="rId25" Type="http://schemas.openxmlformats.org/officeDocument/2006/relationships/slideLayout" Target="../slideLayouts/slideLayout152.xml"/><Relationship Id="rId26" Type="http://schemas.openxmlformats.org/officeDocument/2006/relationships/slideLayout" Target="../slideLayouts/slideLayout153.xml"/><Relationship Id="rId27" Type="http://schemas.openxmlformats.org/officeDocument/2006/relationships/slideLayout" Target="../slideLayouts/slideLayout154.xml"/><Relationship Id="rId28" Type="http://schemas.openxmlformats.org/officeDocument/2006/relationships/slideLayout" Target="../slideLayouts/slideLayout155.xml"/><Relationship Id="rId29" Type="http://schemas.openxmlformats.org/officeDocument/2006/relationships/slideLayout" Target="../slideLayouts/slideLayout156.xml"/><Relationship Id="rId1" Type="http://schemas.openxmlformats.org/officeDocument/2006/relationships/slideLayout" Target="../slideLayouts/slideLayout128.xml"/><Relationship Id="rId2" Type="http://schemas.openxmlformats.org/officeDocument/2006/relationships/slideLayout" Target="../slideLayouts/slideLayout129.xml"/><Relationship Id="rId3" Type="http://schemas.openxmlformats.org/officeDocument/2006/relationships/slideLayout" Target="../slideLayouts/slideLayout130.xml"/><Relationship Id="rId4" Type="http://schemas.openxmlformats.org/officeDocument/2006/relationships/slideLayout" Target="../slideLayouts/slideLayout131.xml"/><Relationship Id="rId5" Type="http://schemas.openxmlformats.org/officeDocument/2006/relationships/slideLayout" Target="../slideLayouts/slideLayout132.xml"/><Relationship Id="rId30" Type="http://schemas.openxmlformats.org/officeDocument/2006/relationships/slideLayout" Target="../slideLayouts/slideLayout157.xml"/><Relationship Id="rId31" Type="http://schemas.openxmlformats.org/officeDocument/2006/relationships/slideLayout" Target="../slideLayouts/slideLayout158.xml"/><Relationship Id="rId32" Type="http://schemas.openxmlformats.org/officeDocument/2006/relationships/slideLayout" Target="../slideLayouts/slideLayout159.xml"/><Relationship Id="rId9" Type="http://schemas.openxmlformats.org/officeDocument/2006/relationships/slideLayout" Target="../slideLayouts/slideLayout136.xml"/><Relationship Id="rId6" Type="http://schemas.openxmlformats.org/officeDocument/2006/relationships/slideLayout" Target="../slideLayouts/slideLayout133.xml"/><Relationship Id="rId7" Type="http://schemas.openxmlformats.org/officeDocument/2006/relationships/slideLayout" Target="../slideLayouts/slideLayout134.xml"/><Relationship Id="rId8" Type="http://schemas.openxmlformats.org/officeDocument/2006/relationships/slideLayout" Target="../slideLayouts/slideLayout135.xml"/><Relationship Id="rId33" Type="http://schemas.openxmlformats.org/officeDocument/2006/relationships/slideLayout" Target="../slideLayouts/slideLayout160.xml"/><Relationship Id="rId34" Type="http://schemas.openxmlformats.org/officeDocument/2006/relationships/slideLayout" Target="../slideLayouts/slideLayout161.xml"/><Relationship Id="rId35" Type="http://schemas.openxmlformats.org/officeDocument/2006/relationships/slideLayout" Target="../slideLayouts/slideLayout162.xml"/><Relationship Id="rId36" Type="http://schemas.openxmlformats.org/officeDocument/2006/relationships/slideLayout" Target="../slideLayouts/slideLayout163.xml"/><Relationship Id="rId10" Type="http://schemas.openxmlformats.org/officeDocument/2006/relationships/slideLayout" Target="../slideLayouts/slideLayout137.xml"/><Relationship Id="rId11" Type="http://schemas.openxmlformats.org/officeDocument/2006/relationships/slideLayout" Target="../slideLayouts/slideLayout138.xml"/><Relationship Id="rId12" Type="http://schemas.openxmlformats.org/officeDocument/2006/relationships/slideLayout" Target="../slideLayouts/slideLayout139.xml"/><Relationship Id="rId13" Type="http://schemas.openxmlformats.org/officeDocument/2006/relationships/slideLayout" Target="../slideLayouts/slideLayout140.xml"/><Relationship Id="rId14" Type="http://schemas.openxmlformats.org/officeDocument/2006/relationships/slideLayout" Target="../slideLayouts/slideLayout141.xml"/><Relationship Id="rId15" Type="http://schemas.openxmlformats.org/officeDocument/2006/relationships/slideLayout" Target="../slideLayouts/slideLayout142.xml"/><Relationship Id="rId16" Type="http://schemas.openxmlformats.org/officeDocument/2006/relationships/slideLayout" Target="../slideLayouts/slideLayout143.xml"/><Relationship Id="rId17" Type="http://schemas.openxmlformats.org/officeDocument/2006/relationships/slideLayout" Target="../slideLayouts/slideLayout144.xml"/><Relationship Id="rId18" Type="http://schemas.openxmlformats.org/officeDocument/2006/relationships/slideLayout" Target="../slideLayouts/slideLayout145.xml"/><Relationship Id="rId19" Type="http://schemas.openxmlformats.org/officeDocument/2006/relationships/slideLayout" Target="../slideLayouts/slideLayout146.xml"/><Relationship Id="rId37" Type="http://schemas.openxmlformats.org/officeDocument/2006/relationships/slideLayout" Target="../slideLayouts/slideLayout164.xml"/><Relationship Id="rId38" Type="http://schemas.openxmlformats.org/officeDocument/2006/relationships/slideLayout" Target="../slideLayouts/slideLayout165.xml"/><Relationship Id="rId39" Type="http://schemas.openxmlformats.org/officeDocument/2006/relationships/slideLayout" Target="../slideLayouts/slideLayout166.xml"/><Relationship Id="rId40" Type="http://schemas.openxmlformats.org/officeDocument/2006/relationships/slideLayout" Target="../slideLayouts/slideLayout167.xml"/><Relationship Id="rId41" Type="http://schemas.openxmlformats.org/officeDocument/2006/relationships/slideLayout" Target="../slideLayouts/slideLayout168.xml"/><Relationship Id="rId42" Type="http://schemas.openxmlformats.org/officeDocument/2006/relationships/slideLayout" Target="../slideLayouts/slideLayout169.xml"/><Relationship Id="rId43" Type="http://schemas.openxmlformats.org/officeDocument/2006/relationships/theme" Target="../theme/theme10.xml"/><Relationship Id="rId44" Type="http://schemas.openxmlformats.org/officeDocument/2006/relationships/tags" Target="../tags/tag1.xml"/><Relationship Id="rId45" Type="http://schemas.openxmlformats.org/officeDocument/2006/relationships/image" Target="../media/image21.jpeg"/></Relationships>
</file>

<file path=ppt/slideMasters/_rels/slideMaster11.xml.rels><?xml version="1.0" encoding="UTF-8" standalone="yes"?>
<Relationships xmlns="http://schemas.openxmlformats.org/package/2006/relationships"><Relationship Id="rId11" Type="http://schemas.openxmlformats.org/officeDocument/2006/relationships/theme" Target="../theme/theme11.xml"/><Relationship Id="rId12" Type="http://schemas.openxmlformats.org/officeDocument/2006/relationships/tags" Target="../tags/tag21.xml"/><Relationship Id="rId13" Type="http://schemas.openxmlformats.org/officeDocument/2006/relationships/image" Target="../media/image46.jpeg"/><Relationship Id="rId14" Type="http://schemas.openxmlformats.org/officeDocument/2006/relationships/image" Target="../media/image47.jpeg"/><Relationship Id="rId15" Type="http://schemas.openxmlformats.org/officeDocument/2006/relationships/image" Target="../media/image48.png"/><Relationship Id="rId1" Type="http://schemas.openxmlformats.org/officeDocument/2006/relationships/slideLayout" Target="../slideLayouts/slideLayout170.xml"/><Relationship Id="rId2" Type="http://schemas.openxmlformats.org/officeDocument/2006/relationships/slideLayout" Target="../slideLayouts/slideLayout171.xml"/><Relationship Id="rId3" Type="http://schemas.openxmlformats.org/officeDocument/2006/relationships/slideLayout" Target="../slideLayouts/slideLayout172.xml"/><Relationship Id="rId4" Type="http://schemas.openxmlformats.org/officeDocument/2006/relationships/slideLayout" Target="../slideLayouts/slideLayout173.xml"/><Relationship Id="rId5" Type="http://schemas.openxmlformats.org/officeDocument/2006/relationships/slideLayout" Target="../slideLayouts/slideLayout174.xml"/><Relationship Id="rId6" Type="http://schemas.openxmlformats.org/officeDocument/2006/relationships/slideLayout" Target="../slideLayouts/slideLayout175.xml"/><Relationship Id="rId7" Type="http://schemas.openxmlformats.org/officeDocument/2006/relationships/slideLayout" Target="../slideLayouts/slideLayout176.xml"/><Relationship Id="rId8" Type="http://schemas.openxmlformats.org/officeDocument/2006/relationships/slideLayout" Target="../slideLayouts/slideLayout177.xml"/><Relationship Id="rId9" Type="http://schemas.openxmlformats.org/officeDocument/2006/relationships/slideLayout" Target="../slideLayouts/slideLayout178.xml"/><Relationship Id="rId10" Type="http://schemas.openxmlformats.org/officeDocument/2006/relationships/slideLayout" Target="../slideLayouts/slideLayout179.xml"/></Relationships>
</file>

<file path=ppt/slideMasters/_rels/slideMaster12.xml.rels><?xml version="1.0" encoding="UTF-8" standalone="yes"?>
<Relationships xmlns="http://schemas.openxmlformats.org/package/2006/relationships"><Relationship Id="rId11" Type="http://schemas.openxmlformats.org/officeDocument/2006/relationships/theme" Target="../theme/theme12.xml"/><Relationship Id="rId12" Type="http://schemas.openxmlformats.org/officeDocument/2006/relationships/tags" Target="../tags/tag41.xml"/><Relationship Id="rId13" Type="http://schemas.openxmlformats.org/officeDocument/2006/relationships/image" Target="../media/image46.jpeg"/><Relationship Id="rId14" Type="http://schemas.openxmlformats.org/officeDocument/2006/relationships/image" Target="../media/image47.jpeg"/><Relationship Id="rId15" Type="http://schemas.openxmlformats.org/officeDocument/2006/relationships/image" Target="../media/image48.png"/><Relationship Id="rId1" Type="http://schemas.openxmlformats.org/officeDocument/2006/relationships/slideLayout" Target="../slideLayouts/slideLayout180.xml"/><Relationship Id="rId2" Type="http://schemas.openxmlformats.org/officeDocument/2006/relationships/slideLayout" Target="../slideLayouts/slideLayout181.xml"/><Relationship Id="rId3" Type="http://schemas.openxmlformats.org/officeDocument/2006/relationships/slideLayout" Target="../slideLayouts/slideLayout182.xml"/><Relationship Id="rId4" Type="http://schemas.openxmlformats.org/officeDocument/2006/relationships/slideLayout" Target="../slideLayouts/slideLayout183.xml"/><Relationship Id="rId5" Type="http://schemas.openxmlformats.org/officeDocument/2006/relationships/slideLayout" Target="../slideLayouts/slideLayout184.xml"/><Relationship Id="rId6" Type="http://schemas.openxmlformats.org/officeDocument/2006/relationships/slideLayout" Target="../slideLayouts/slideLayout185.xml"/><Relationship Id="rId7" Type="http://schemas.openxmlformats.org/officeDocument/2006/relationships/slideLayout" Target="../slideLayouts/slideLayout186.xml"/><Relationship Id="rId8" Type="http://schemas.openxmlformats.org/officeDocument/2006/relationships/slideLayout" Target="../slideLayouts/slideLayout187.xml"/><Relationship Id="rId9" Type="http://schemas.openxmlformats.org/officeDocument/2006/relationships/slideLayout" Target="../slideLayouts/slideLayout188.xml"/><Relationship Id="rId10" Type="http://schemas.openxmlformats.org/officeDocument/2006/relationships/slideLayout" Target="../slideLayouts/slideLayout189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6.xml"/><Relationship Id="rId12" Type="http://schemas.openxmlformats.org/officeDocument/2006/relationships/theme" Target="../theme/theme2.xml"/><Relationship Id="rId1" Type="http://schemas.openxmlformats.org/officeDocument/2006/relationships/slideLayout" Target="../slideLayouts/slideLayout6.xml"/><Relationship Id="rId2" Type="http://schemas.openxmlformats.org/officeDocument/2006/relationships/slideLayout" Target="../slideLayouts/slideLayout7.xml"/><Relationship Id="rId3" Type="http://schemas.openxmlformats.org/officeDocument/2006/relationships/slideLayout" Target="../slideLayouts/slideLayout8.xml"/><Relationship Id="rId4" Type="http://schemas.openxmlformats.org/officeDocument/2006/relationships/slideLayout" Target="../slideLayouts/slideLayout9.xml"/><Relationship Id="rId5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2.xml"/><Relationship Id="rId8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4.xml"/><Relationship Id="rId10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3.xml"/><Relationship Id="rId18" Type="http://schemas.openxmlformats.org/officeDocument/2006/relationships/theme" Target="../theme/theme3.xml"/><Relationship Id="rId1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9.xml"/><Relationship Id="rId4" Type="http://schemas.openxmlformats.org/officeDocument/2006/relationships/slideLayout" Target="../slideLayouts/slideLayout20.xml"/><Relationship Id="rId5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3.xml"/><Relationship Id="rId8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26.xml"/></Relationships>
</file>

<file path=ppt/slideMasters/_rels/slideMaster4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48.xml"/><Relationship Id="rId16" Type="http://schemas.openxmlformats.org/officeDocument/2006/relationships/slideLayout" Target="../slideLayouts/slideLayout49.xml"/><Relationship Id="rId17" Type="http://schemas.openxmlformats.org/officeDocument/2006/relationships/slideLayout" Target="../slideLayouts/slideLayout50.xml"/><Relationship Id="rId18" Type="http://schemas.openxmlformats.org/officeDocument/2006/relationships/slideLayout" Target="../slideLayouts/slideLayout51.xml"/><Relationship Id="rId19" Type="http://schemas.openxmlformats.org/officeDocument/2006/relationships/theme" Target="../theme/theme4.xml"/><Relationship Id="rId1" Type="http://schemas.openxmlformats.org/officeDocument/2006/relationships/slideLayout" Target="../slideLayouts/slideLayout34.xml"/><Relationship Id="rId2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8.xml"/><Relationship Id="rId6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0.xml"/><Relationship Id="rId8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43.xml"/></Relationships>
</file>

<file path=ppt/slideMasters/_rels/slideMaster5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3.xml"/><Relationship Id="rId13" Type="http://schemas.openxmlformats.org/officeDocument/2006/relationships/slideLayout" Target="../slideLayouts/slideLayout64.xml"/><Relationship Id="rId14" Type="http://schemas.openxmlformats.org/officeDocument/2006/relationships/slideLayout" Target="../slideLayouts/slideLayout65.xml"/><Relationship Id="rId15" Type="http://schemas.openxmlformats.org/officeDocument/2006/relationships/slideLayout" Target="../slideLayouts/slideLayout66.xml"/><Relationship Id="rId16" Type="http://schemas.openxmlformats.org/officeDocument/2006/relationships/slideLayout" Target="../slideLayouts/slideLayout67.xml"/><Relationship Id="rId17" Type="http://schemas.openxmlformats.org/officeDocument/2006/relationships/slideLayout" Target="../slideLayouts/slideLayout68.xml"/><Relationship Id="rId18" Type="http://schemas.openxmlformats.org/officeDocument/2006/relationships/slideLayout" Target="../slideLayouts/slideLayout69.xml"/><Relationship Id="rId19" Type="http://schemas.openxmlformats.org/officeDocument/2006/relationships/theme" Target="../theme/theme5.xml"/><Relationship Id="rId1" Type="http://schemas.openxmlformats.org/officeDocument/2006/relationships/slideLayout" Target="../slideLayouts/slideLayout52.xml"/><Relationship Id="rId2" Type="http://schemas.openxmlformats.org/officeDocument/2006/relationships/slideLayout" Target="../slideLayouts/slideLayout53.xml"/><Relationship Id="rId3" Type="http://schemas.openxmlformats.org/officeDocument/2006/relationships/slideLayout" Target="../slideLayouts/slideLayout54.xml"/><Relationship Id="rId4" Type="http://schemas.openxmlformats.org/officeDocument/2006/relationships/slideLayout" Target="../slideLayouts/slideLayout55.xml"/><Relationship Id="rId5" Type="http://schemas.openxmlformats.org/officeDocument/2006/relationships/slideLayout" Target="../slideLayouts/slideLayout56.xml"/><Relationship Id="rId6" Type="http://schemas.openxmlformats.org/officeDocument/2006/relationships/slideLayout" Target="../slideLayouts/slideLayout57.xml"/><Relationship Id="rId7" Type="http://schemas.openxmlformats.org/officeDocument/2006/relationships/slideLayout" Target="../slideLayouts/slideLayout58.xml"/><Relationship Id="rId8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61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2.xml"/><Relationship Id="rId4" Type="http://schemas.openxmlformats.org/officeDocument/2006/relationships/slideLayout" Target="../slideLayouts/slideLayout73.xml"/><Relationship Id="rId5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6.xml"/><Relationship Id="rId8" Type="http://schemas.openxmlformats.org/officeDocument/2006/relationships/slideLayout" Target="../slideLayouts/slideLayout77.xml"/><Relationship Id="rId9" Type="http://schemas.openxmlformats.org/officeDocument/2006/relationships/theme" Target="../theme/theme6.xml"/><Relationship Id="rId10" Type="http://schemas.openxmlformats.org/officeDocument/2006/relationships/image" Target="../media/image7.jpeg"/><Relationship Id="rId1" Type="http://schemas.openxmlformats.org/officeDocument/2006/relationships/slideLayout" Target="../slideLayouts/slideLayout70.xml"/><Relationship Id="rId2" Type="http://schemas.openxmlformats.org/officeDocument/2006/relationships/slideLayout" Target="../slideLayouts/slideLayout71.xml"/></Relationships>
</file>

<file path=ppt/slideMasters/_rels/slideMaster7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88.xml"/><Relationship Id="rId12" Type="http://schemas.openxmlformats.org/officeDocument/2006/relationships/slideLayout" Target="../slideLayouts/slideLayout89.xml"/><Relationship Id="rId13" Type="http://schemas.openxmlformats.org/officeDocument/2006/relationships/slideLayout" Target="../slideLayouts/slideLayout90.xml"/><Relationship Id="rId14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92.xml"/><Relationship Id="rId16" Type="http://schemas.openxmlformats.org/officeDocument/2006/relationships/slideLayout" Target="../slideLayouts/slideLayout93.xml"/><Relationship Id="rId17" Type="http://schemas.openxmlformats.org/officeDocument/2006/relationships/slideLayout" Target="../slideLayouts/slideLayout94.xml"/><Relationship Id="rId18" Type="http://schemas.openxmlformats.org/officeDocument/2006/relationships/theme" Target="../theme/theme7.xml"/><Relationship Id="rId1" Type="http://schemas.openxmlformats.org/officeDocument/2006/relationships/slideLayout" Target="../slideLayouts/slideLayout78.xml"/><Relationship Id="rId2" Type="http://schemas.openxmlformats.org/officeDocument/2006/relationships/slideLayout" Target="../slideLayouts/slideLayout79.xml"/><Relationship Id="rId3" Type="http://schemas.openxmlformats.org/officeDocument/2006/relationships/slideLayout" Target="../slideLayouts/slideLayout80.xml"/><Relationship Id="rId4" Type="http://schemas.openxmlformats.org/officeDocument/2006/relationships/slideLayout" Target="../slideLayouts/slideLayout81.xml"/><Relationship Id="rId5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4.xml"/><Relationship Id="rId8" Type="http://schemas.openxmlformats.org/officeDocument/2006/relationships/slideLayout" Target="../slideLayouts/slideLayout85.xml"/><Relationship Id="rId9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87.xml"/></Relationships>
</file>

<file path=ppt/slideMasters/_rels/slideMaster8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05.xml"/><Relationship Id="rId12" Type="http://schemas.openxmlformats.org/officeDocument/2006/relationships/slideLayout" Target="../slideLayouts/slideLayout106.xml"/><Relationship Id="rId13" Type="http://schemas.openxmlformats.org/officeDocument/2006/relationships/slideLayout" Target="../slideLayouts/slideLayout107.xml"/><Relationship Id="rId14" Type="http://schemas.openxmlformats.org/officeDocument/2006/relationships/slideLayout" Target="../slideLayouts/slideLayout108.xml"/><Relationship Id="rId15" Type="http://schemas.openxmlformats.org/officeDocument/2006/relationships/slideLayout" Target="../slideLayouts/slideLayout109.xml"/><Relationship Id="rId16" Type="http://schemas.openxmlformats.org/officeDocument/2006/relationships/slideLayout" Target="../slideLayouts/slideLayout110.xml"/><Relationship Id="rId17" Type="http://schemas.openxmlformats.org/officeDocument/2006/relationships/theme" Target="../theme/theme8.xml"/><Relationship Id="rId1" Type="http://schemas.openxmlformats.org/officeDocument/2006/relationships/slideLayout" Target="../slideLayouts/slideLayout95.xml"/><Relationship Id="rId2" Type="http://schemas.openxmlformats.org/officeDocument/2006/relationships/slideLayout" Target="../slideLayouts/slideLayout96.xml"/><Relationship Id="rId3" Type="http://schemas.openxmlformats.org/officeDocument/2006/relationships/slideLayout" Target="../slideLayouts/slideLayout97.xml"/><Relationship Id="rId4" Type="http://schemas.openxmlformats.org/officeDocument/2006/relationships/slideLayout" Target="../slideLayouts/slideLayout98.xml"/><Relationship Id="rId5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0.xml"/><Relationship Id="rId7" Type="http://schemas.openxmlformats.org/officeDocument/2006/relationships/slideLayout" Target="../slideLayouts/slideLayout101.xml"/><Relationship Id="rId8" Type="http://schemas.openxmlformats.org/officeDocument/2006/relationships/slideLayout" Target="../slideLayouts/slideLayout102.xml"/><Relationship Id="rId9" Type="http://schemas.openxmlformats.org/officeDocument/2006/relationships/slideLayout" Target="../slideLayouts/slideLayout103.xml"/><Relationship Id="rId10" Type="http://schemas.openxmlformats.org/officeDocument/2006/relationships/slideLayout" Target="../slideLayouts/slideLayout104.xml"/></Relationships>
</file>

<file path=ppt/slideMasters/_rels/slideMaster9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21.xml"/><Relationship Id="rId12" Type="http://schemas.openxmlformats.org/officeDocument/2006/relationships/slideLayout" Target="../slideLayouts/slideLayout122.xml"/><Relationship Id="rId13" Type="http://schemas.openxmlformats.org/officeDocument/2006/relationships/slideLayout" Target="../slideLayouts/slideLayout123.xml"/><Relationship Id="rId14" Type="http://schemas.openxmlformats.org/officeDocument/2006/relationships/slideLayout" Target="../slideLayouts/slideLayout124.xml"/><Relationship Id="rId15" Type="http://schemas.openxmlformats.org/officeDocument/2006/relationships/slideLayout" Target="../slideLayouts/slideLayout125.xml"/><Relationship Id="rId16" Type="http://schemas.openxmlformats.org/officeDocument/2006/relationships/slideLayout" Target="../slideLayouts/slideLayout126.xml"/><Relationship Id="rId17" Type="http://schemas.openxmlformats.org/officeDocument/2006/relationships/slideLayout" Target="../slideLayouts/slideLayout127.xml"/><Relationship Id="rId18" Type="http://schemas.openxmlformats.org/officeDocument/2006/relationships/theme" Target="../theme/theme9.xml"/><Relationship Id="rId1" Type="http://schemas.openxmlformats.org/officeDocument/2006/relationships/slideLayout" Target="../slideLayouts/slideLayout111.xml"/><Relationship Id="rId2" Type="http://schemas.openxmlformats.org/officeDocument/2006/relationships/slideLayout" Target="../slideLayouts/slideLayout112.xml"/><Relationship Id="rId3" Type="http://schemas.openxmlformats.org/officeDocument/2006/relationships/slideLayout" Target="../slideLayouts/slideLayout113.xml"/><Relationship Id="rId4" Type="http://schemas.openxmlformats.org/officeDocument/2006/relationships/slideLayout" Target="../slideLayouts/slideLayout114.xml"/><Relationship Id="rId5" Type="http://schemas.openxmlformats.org/officeDocument/2006/relationships/slideLayout" Target="../slideLayouts/slideLayout115.xml"/><Relationship Id="rId6" Type="http://schemas.openxmlformats.org/officeDocument/2006/relationships/slideLayout" Target="../slideLayouts/slideLayout116.xml"/><Relationship Id="rId7" Type="http://schemas.openxmlformats.org/officeDocument/2006/relationships/slideLayout" Target="../slideLayouts/slideLayout117.xml"/><Relationship Id="rId8" Type="http://schemas.openxmlformats.org/officeDocument/2006/relationships/slideLayout" Target="../slideLayouts/slideLayout118.xml"/><Relationship Id="rId9" Type="http://schemas.openxmlformats.org/officeDocument/2006/relationships/slideLayout" Target="../slideLayouts/slideLayout119.xml"/><Relationship Id="rId10" Type="http://schemas.openxmlformats.org/officeDocument/2006/relationships/slideLayout" Target="../slideLayouts/slideLayout1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</p:sldLayoutIdLst>
  <p:hf hdr="0" ftr="0" dt="0"/>
  <p:txStyles>
    <p:titleStyle>
      <a:lvl1pPr algn="ctr" defTabSz="1028065" rtl="0" eaLnBrk="1" latinLnBrk="0" hangingPunct="1">
        <a:spcBef>
          <a:spcPct val="0"/>
        </a:spcBef>
        <a:buNone/>
        <a:defRPr sz="49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85445" indent="-385445" algn="l" defTabSz="1028065" rtl="0" eaLnBrk="1" latinLnBrk="0" hangingPunct="1">
        <a:spcBef>
          <a:spcPct val="20000"/>
        </a:spcBef>
        <a:buFont typeface="Arial" panose="020B060402020209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835660" indent="-321310" algn="l" defTabSz="1028065" rtl="0" eaLnBrk="1" latinLnBrk="0" hangingPunct="1">
        <a:spcBef>
          <a:spcPct val="20000"/>
        </a:spcBef>
        <a:buFont typeface="Arial" panose="020B0604020202090204" pitchFamily="34" charset="0"/>
        <a:buChar char="–"/>
        <a:defRPr sz="3100" kern="1200">
          <a:solidFill>
            <a:schemeClr val="tx1"/>
          </a:solidFill>
          <a:latin typeface="+mn-lt"/>
          <a:ea typeface="+mn-ea"/>
          <a:cs typeface="+mn-cs"/>
        </a:defRPr>
      </a:lvl2pPr>
      <a:lvl3pPr marL="1285875" indent="-257175" algn="l" defTabSz="1028065" rtl="0" eaLnBrk="1" latinLnBrk="0" hangingPunct="1">
        <a:spcBef>
          <a:spcPct val="20000"/>
        </a:spcBef>
        <a:buFont typeface="Arial" panose="020B060402020209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1800225" indent="-257175" algn="l" defTabSz="1028065" rtl="0" eaLnBrk="1" latinLnBrk="0" hangingPunct="1">
        <a:spcBef>
          <a:spcPct val="20000"/>
        </a:spcBef>
        <a:buFont typeface="Arial" panose="020B0604020202090204" pitchFamily="34" charset="0"/>
        <a:buChar char="–"/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314575" indent="-257175" algn="l" defTabSz="1028065" rtl="0" eaLnBrk="1" latinLnBrk="0" hangingPunct="1">
        <a:spcBef>
          <a:spcPct val="20000"/>
        </a:spcBef>
        <a:buFont typeface="Arial" panose="020B0604020202090204" pitchFamily="34" charset="0"/>
        <a:buChar char="»"/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828925" indent="-257175" algn="l" defTabSz="1028065" rtl="0" eaLnBrk="1" latinLnBrk="0" hangingPunct="1">
        <a:spcBef>
          <a:spcPct val="20000"/>
        </a:spcBef>
        <a:buFont typeface="Arial" panose="020B060402020209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343275" indent="-257175" algn="l" defTabSz="1028065" rtl="0" eaLnBrk="1" latinLnBrk="0" hangingPunct="1">
        <a:spcBef>
          <a:spcPct val="20000"/>
        </a:spcBef>
        <a:buFont typeface="Arial" panose="020B060402020209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56990" indent="-257175" algn="l" defTabSz="1028065" rtl="0" eaLnBrk="1" latinLnBrk="0" hangingPunct="1">
        <a:spcBef>
          <a:spcPct val="20000"/>
        </a:spcBef>
        <a:buFont typeface="Arial" panose="020B060402020209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71340" indent="-257175" algn="l" defTabSz="1028065" rtl="0" eaLnBrk="1" latinLnBrk="0" hangingPunct="1">
        <a:spcBef>
          <a:spcPct val="20000"/>
        </a:spcBef>
        <a:buFont typeface="Arial" panose="020B060402020209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0280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algn="l" defTabSz="10280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8700" algn="l" defTabSz="10280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43050" algn="l" defTabSz="10280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algn="l" defTabSz="10280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71750" algn="l" defTabSz="10280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86100" algn="l" defTabSz="10280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00450" algn="l" defTabSz="10280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14165" algn="l" defTabSz="10280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08073" y="3"/>
            <a:ext cx="11114002" cy="723019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77925" tIns="38963" rIns="77925" bIns="38963" numCol="1" anchor="ctr" anchorCtr="0" compatLnSpc="1"/>
          <a:lstStyle/>
          <a:p>
            <a:pPr lvl="0"/>
            <a:r>
              <a:rPr lang="en-GB"/>
              <a:t>Click to enter text – Header should be Calibri 20, no more than 2 lines </a:t>
            </a:r>
          </a:p>
        </p:txBody>
      </p:sp>
      <p:sp>
        <p:nvSpPr>
          <p:cNvPr id="409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08073" y="1360538"/>
            <a:ext cx="10753937" cy="4276616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77925" tIns="38963" rIns="77925" bIns="38963" numCol="1" anchor="t" anchorCtr="0" compatLnSpc="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extBox 11"/>
          <p:cNvSpPr txBox="1"/>
          <p:nvPr/>
        </p:nvSpPr>
        <p:spPr>
          <a:xfrm>
            <a:off x="7352395" y="6291172"/>
            <a:ext cx="3364606" cy="215451"/>
          </a:xfrm>
          <a:prstGeom prst="rect">
            <a:avLst/>
          </a:prstGeom>
          <a:noFill/>
        </p:spPr>
        <p:txBody>
          <a:bodyPr lIns="98176" tIns="49089" rIns="98176" bIns="49089">
            <a:spAutoFit/>
          </a:bodyPr>
          <a:lstStyle/>
          <a:p>
            <a:pPr algn="r" defTabSz="1151890">
              <a:defRPr/>
            </a:pPr>
            <a:r>
              <a:rPr lang="en-GB" sz="755" dirty="0">
                <a:solidFill>
                  <a:srgbClr val="FFFFFF">
                    <a:lumMod val="50000"/>
                  </a:srgbClr>
                </a:solidFill>
              </a:rPr>
              <a:t>Copyright © 2015 Capgemini. All rights reserved.</a:t>
            </a:r>
          </a:p>
        </p:txBody>
      </p:sp>
      <p:pic>
        <p:nvPicPr>
          <p:cNvPr id="1029" name="Picture 8" descr="Grey_Shadow_Bar.jpg"/>
          <p:cNvPicPr>
            <a:picLocks noChangeAspect="1"/>
          </p:cNvPicPr>
          <p:nvPr/>
        </p:nvPicPr>
        <p:blipFill>
          <a:blip r:embed="rId45" cstate="print"/>
          <a:srcRect/>
          <a:stretch>
            <a:fillRect/>
          </a:stretch>
        </p:blipFill>
        <p:spPr bwMode="auto">
          <a:xfrm>
            <a:off x="0" y="883529"/>
            <a:ext cx="11522075" cy="1950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833591" y="6369176"/>
            <a:ext cx="2688484" cy="111003"/>
          </a:xfrm>
          <a:prstGeom prst="rect">
            <a:avLst/>
          </a:prstGeom>
        </p:spPr>
        <p:txBody>
          <a:bodyPr vert="horz" lIns="77925" tIns="38963" rIns="77925" bIns="38963" rtlCol="0" anchor="ctr"/>
          <a:lstStyle>
            <a:lvl1pPr algn="r">
              <a:defRPr sz="880" smtClean="0">
                <a:solidFill>
                  <a:schemeClr val="tx1">
                    <a:tint val="75000"/>
                  </a:schemeClr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defTabSz="1151890">
              <a:defRPr/>
            </a:pPr>
            <a:fld id="{6A9CE626-3159-4274-8158-4292551456C4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t>‹#›</a:t>
            </a:fld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1031" name="Picture 4" descr="capgemini_rgb-[Converted]"/>
          <p:cNvPicPr>
            <a:picLocks noChangeAspect="1" noChangeArrowheads="1"/>
          </p:cNvPicPr>
          <p:nvPr/>
        </p:nvPicPr>
        <p:blipFill>
          <a:blip r:embed="rId46" cstate="print"/>
          <a:srcRect/>
          <a:stretch>
            <a:fillRect/>
          </a:stretch>
        </p:blipFill>
        <p:spPr bwMode="gray">
          <a:xfrm>
            <a:off x="408076" y="6085671"/>
            <a:ext cx="1722311" cy="3015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8"/>
          <p:cNvSpPr txBox="1"/>
          <p:nvPr>
            <p:custDataLst>
              <p:tags r:id="rId44"/>
            </p:custDataLst>
          </p:nvPr>
        </p:nvSpPr>
        <p:spPr>
          <a:xfrm>
            <a:off x="11031306" y="6277705"/>
            <a:ext cx="136255" cy="13574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1151890"/>
            <a:fld id="{6A895693-0027-4F28-9367-92E39A51F51C}" type="slidenum">
              <a:rPr lang="en-US" sz="880" smtClean="0">
                <a:solidFill>
                  <a:srgbClr val="000000"/>
                </a:solidFill>
              </a:rPr>
              <a:t>‹#›</a:t>
            </a:fld>
            <a:endParaRPr lang="en-US" sz="880" dirty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786" r:id="rId2"/>
    <p:sldLayoutId id="2147483787" r:id="rId3"/>
    <p:sldLayoutId id="2147483788" r:id="rId4"/>
    <p:sldLayoutId id="2147483789" r:id="rId5"/>
    <p:sldLayoutId id="2147483790" r:id="rId6"/>
    <p:sldLayoutId id="2147483791" r:id="rId7"/>
    <p:sldLayoutId id="2147483792" r:id="rId8"/>
    <p:sldLayoutId id="2147483793" r:id="rId9"/>
    <p:sldLayoutId id="2147483794" r:id="rId10"/>
    <p:sldLayoutId id="2147483795" r:id="rId11"/>
    <p:sldLayoutId id="2147483796" r:id="rId12"/>
    <p:sldLayoutId id="2147483797" r:id="rId13"/>
    <p:sldLayoutId id="2147483798" r:id="rId14"/>
    <p:sldLayoutId id="2147483799" r:id="rId15"/>
    <p:sldLayoutId id="2147483800" r:id="rId16"/>
    <p:sldLayoutId id="2147483801" r:id="rId17"/>
    <p:sldLayoutId id="2147483802" r:id="rId18"/>
    <p:sldLayoutId id="2147483803" r:id="rId19"/>
    <p:sldLayoutId id="2147483804" r:id="rId20"/>
    <p:sldLayoutId id="2147483805" r:id="rId21"/>
    <p:sldLayoutId id="2147483806" r:id="rId22"/>
    <p:sldLayoutId id="2147483807" r:id="rId23"/>
    <p:sldLayoutId id="2147483808" r:id="rId24"/>
    <p:sldLayoutId id="2147483809" r:id="rId25"/>
    <p:sldLayoutId id="2147483810" r:id="rId26"/>
    <p:sldLayoutId id="2147483811" r:id="rId27"/>
    <p:sldLayoutId id="2147483812" r:id="rId28"/>
    <p:sldLayoutId id="2147483813" r:id="rId29"/>
    <p:sldLayoutId id="2147483814" r:id="rId30"/>
    <p:sldLayoutId id="2147483815" r:id="rId31"/>
    <p:sldLayoutId id="2147483816" r:id="rId32"/>
    <p:sldLayoutId id="2147483817" r:id="rId33"/>
    <p:sldLayoutId id="2147483818" r:id="rId34"/>
    <p:sldLayoutId id="2147483819" r:id="rId35"/>
    <p:sldLayoutId id="2147483820" r:id="rId36"/>
    <p:sldLayoutId id="2147483821" r:id="rId37"/>
    <p:sldLayoutId id="2147483822" r:id="rId38"/>
    <p:sldLayoutId id="2147483823" r:id="rId39"/>
    <p:sldLayoutId id="2147483824" r:id="rId40"/>
    <p:sldLayoutId id="2147483825" r:id="rId41"/>
    <p:sldLayoutId id="2147483826" r:id="rId42"/>
  </p:sldLayoutIdLst>
  <p:transition xmlns:p14="http://schemas.microsoft.com/office/powerpoint/2010/main" spd="med">
    <p:fade/>
  </p:transition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140" kern="1200">
          <a:solidFill>
            <a:schemeClr val="accent6">
              <a:lumMod val="50000"/>
            </a:schemeClr>
          </a:solidFill>
          <a:latin typeface="Calibri" pitchFamily="34" charset="0"/>
          <a:ea typeface="+mj-ea"/>
          <a:cs typeface="Calibri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140">
          <a:solidFill>
            <a:schemeClr val="tx2"/>
          </a:solidFill>
          <a:latin typeface="Calibri" pitchFamily="34" charset="0"/>
          <a:cs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140">
          <a:solidFill>
            <a:schemeClr val="tx2"/>
          </a:solidFill>
          <a:latin typeface="Calibri" pitchFamily="34" charset="0"/>
          <a:cs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140">
          <a:solidFill>
            <a:schemeClr val="tx2"/>
          </a:solidFill>
          <a:latin typeface="Calibri" pitchFamily="34" charset="0"/>
          <a:cs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140">
          <a:solidFill>
            <a:schemeClr val="tx2"/>
          </a:solidFill>
          <a:latin typeface="Calibri" pitchFamily="34" charset="0"/>
          <a:cs typeface="Calibri" pitchFamily="34" charset="0"/>
        </a:defRPr>
      </a:lvl5pPr>
      <a:lvl6pPr marL="490855" algn="l" rtl="0" eaLnBrk="1" fontAlgn="base" hangingPunct="1">
        <a:spcBef>
          <a:spcPct val="0"/>
        </a:spcBef>
        <a:spcAft>
          <a:spcPct val="0"/>
        </a:spcAft>
        <a:defRPr sz="2140">
          <a:solidFill>
            <a:schemeClr val="tx2"/>
          </a:solidFill>
          <a:latin typeface="Calibri" pitchFamily="34" charset="0"/>
          <a:cs typeface="Calibri" pitchFamily="34" charset="0"/>
        </a:defRPr>
      </a:lvl6pPr>
      <a:lvl7pPr marL="981710" algn="l" rtl="0" eaLnBrk="1" fontAlgn="base" hangingPunct="1">
        <a:spcBef>
          <a:spcPct val="0"/>
        </a:spcBef>
        <a:spcAft>
          <a:spcPct val="0"/>
        </a:spcAft>
        <a:defRPr sz="2140">
          <a:solidFill>
            <a:schemeClr val="tx2"/>
          </a:solidFill>
          <a:latin typeface="Calibri" pitchFamily="34" charset="0"/>
          <a:cs typeface="Calibri" pitchFamily="34" charset="0"/>
        </a:defRPr>
      </a:lvl7pPr>
      <a:lvl8pPr marL="1472565" algn="l" rtl="0" eaLnBrk="1" fontAlgn="base" hangingPunct="1">
        <a:spcBef>
          <a:spcPct val="0"/>
        </a:spcBef>
        <a:spcAft>
          <a:spcPct val="0"/>
        </a:spcAft>
        <a:defRPr sz="2140">
          <a:solidFill>
            <a:schemeClr val="tx2"/>
          </a:solidFill>
          <a:latin typeface="Calibri" pitchFamily="34" charset="0"/>
          <a:cs typeface="Calibri" pitchFamily="34" charset="0"/>
        </a:defRPr>
      </a:lvl8pPr>
      <a:lvl9pPr marL="1963420" algn="l" rtl="0" eaLnBrk="1" fontAlgn="base" hangingPunct="1">
        <a:spcBef>
          <a:spcPct val="0"/>
        </a:spcBef>
        <a:spcAft>
          <a:spcPct val="0"/>
        </a:spcAft>
        <a:defRPr sz="2140">
          <a:solidFill>
            <a:schemeClr val="tx2"/>
          </a:solidFill>
          <a:latin typeface="Calibri" pitchFamily="34" charset="0"/>
          <a:cs typeface="Calibri" pitchFamily="34" charset="0"/>
        </a:defRPr>
      </a:lvl9pPr>
    </p:titleStyle>
    <p:bodyStyle>
      <a:lvl1pPr marL="283210" indent="-283210" algn="l" rtl="0" eaLnBrk="1" fontAlgn="base" hangingPunct="1">
        <a:spcBef>
          <a:spcPts val="325"/>
        </a:spcBef>
        <a:spcAft>
          <a:spcPts val="325"/>
        </a:spcAft>
        <a:buClr>
          <a:schemeClr val="accent2"/>
        </a:buClr>
        <a:buSzPct val="120000"/>
        <a:buFont typeface="Wingdings" panose="05000000000000000000" pitchFamily="2" charset="2"/>
        <a:buChar char="§"/>
        <a:defRPr sz="151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1pPr>
      <a:lvl2pPr marL="577850" indent="-187325" algn="l" rtl="0" eaLnBrk="1" fontAlgn="base" hangingPunct="1">
        <a:spcBef>
          <a:spcPts val="325"/>
        </a:spcBef>
        <a:spcAft>
          <a:spcPts val="325"/>
        </a:spcAft>
        <a:buFont typeface="Arial" panose="020B0604020202090204" pitchFamily="34" charset="0"/>
        <a:buChar char="–"/>
        <a:defRPr sz="126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2pPr>
      <a:lvl3pPr marL="1227455" indent="-245745" algn="l" rtl="0" eaLnBrk="1" fontAlgn="base" hangingPunct="1">
        <a:spcBef>
          <a:spcPts val="325"/>
        </a:spcBef>
        <a:spcAft>
          <a:spcPts val="325"/>
        </a:spcAft>
        <a:buFont typeface="Arial" panose="020B0604020202090204" pitchFamily="34" charset="0"/>
        <a:buChar char="•"/>
        <a:defRPr sz="1135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3pPr>
      <a:lvl4pPr marL="1718310" indent="-245745" algn="l" rtl="0" eaLnBrk="1" fontAlgn="base" hangingPunct="1">
        <a:spcBef>
          <a:spcPts val="325"/>
        </a:spcBef>
        <a:spcAft>
          <a:spcPts val="325"/>
        </a:spcAft>
        <a:buFont typeface="Arial" panose="020B0604020202090204" pitchFamily="34" charset="0"/>
        <a:buChar char="–"/>
        <a:defRPr sz="1135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4pPr>
      <a:lvl5pPr marL="2209165" indent="-245745" algn="l" rtl="0" eaLnBrk="1" fontAlgn="base" hangingPunct="1">
        <a:spcBef>
          <a:spcPts val="325"/>
        </a:spcBef>
        <a:spcAft>
          <a:spcPts val="325"/>
        </a:spcAft>
        <a:buFont typeface="Arial" panose="020B0604020202090204" pitchFamily="34" charset="0"/>
        <a:buChar char="»"/>
        <a:defRPr sz="1135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5pPr>
      <a:lvl6pPr marL="2700020" indent="-245745" algn="l" defTabSz="981710" rtl="0" eaLnBrk="1" latinLnBrk="0" hangingPunct="1">
        <a:spcBef>
          <a:spcPct val="20000"/>
        </a:spcBef>
        <a:buFont typeface="Arial" panose="020B0604020202090204" pitchFamily="34" charset="0"/>
        <a:buChar char="•"/>
        <a:defRPr sz="2140" kern="1200">
          <a:solidFill>
            <a:schemeClr val="tx1"/>
          </a:solidFill>
          <a:latin typeface="+mn-lt"/>
          <a:ea typeface="+mn-ea"/>
          <a:cs typeface="+mn-cs"/>
        </a:defRPr>
      </a:lvl6pPr>
      <a:lvl7pPr marL="3190875" indent="-245745" algn="l" defTabSz="981710" rtl="0" eaLnBrk="1" latinLnBrk="0" hangingPunct="1">
        <a:spcBef>
          <a:spcPct val="20000"/>
        </a:spcBef>
        <a:buFont typeface="Arial" panose="020B0604020202090204" pitchFamily="34" charset="0"/>
        <a:buChar char="•"/>
        <a:defRPr sz="2140" kern="1200">
          <a:solidFill>
            <a:schemeClr val="tx1"/>
          </a:solidFill>
          <a:latin typeface="+mn-lt"/>
          <a:ea typeface="+mn-ea"/>
          <a:cs typeface="+mn-cs"/>
        </a:defRPr>
      </a:lvl7pPr>
      <a:lvl8pPr marL="3681730" indent="-245745" algn="l" defTabSz="981710" rtl="0" eaLnBrk="1" latinLnBrk="0" hangingPunct="1">
        <a:spcBef>
          <a:spcPct val="20000"/>
        </a:spcBef>
        <a:buFont typeface="Arial" panose="020B0604020202090204" pitchFamily="34" charset="0"/>
        <a:buChar char="•"/>
        <a:defRPr sz="2140" kern="1200">
          <a:solidFill>
            <a:schemeClr val="tx1"/>
          </a:solidFill>
          <a:latin typeface="+mn-lt"/>
          <a:ea typeface="+mn-ea"/>
          <a:cs typeface="+mn-cs"/>
        </a:defRPr>
      </a:lvl8pPr>
      <a:lvl9pPr marL="4172585" indent="-245745" algn="l" defTabSz="981710" rtl="0" eaLnBrk="1" latinLnBrk="0" hangingPunct="1">
        <a:spcBef>
          <a:spcPct val="20000"/>
        </a:spcBef>
        <a:buFont typeface="Arial" panose="020B0604020202090204" pitchFamily="34" charset="0"/>
        <a:buChar char="•"/>
        <a:defRPr sz="214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8171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1pPr>
      <a:lvl2pPr marL="490855" algn="l" defTabSz="98171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2pPr>
      <a:lvl3pPr marL="981710" algn="l" defTabSz="98171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3pPr>
      <a:lvl4pPr marL="1472565" algn="l" defTabSz="98171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4pPr>
      <a:lvl5pPr marL="1963420" algn="l" defTabSz="98171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5pPr>
      <a:lvl6pPr marL="2454275" algn="l" defTabSz="98171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6pPr>
      <a:lvl7pPr marL="2945130" algn="l" defTabSz="98171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7pPr>
      <a:lvl8pPr marL="3435985" algn="l" defTabSz="98171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8pPr>
      <a:lvl9pPr marL="3926840" algn="l" defTabSz="98171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le Placeholder 1"/>
          <p:cNvSpPr>
            <a:spLocks noGrp="1"/>
          </p:cNvSpPr>
          <p:nvPr>
            <p:ph type="title"/>
          </p:nvPr>
        </p:nvSpPr>
        <p:spPr bwMode="auto">
          <a:xfrm>
            <a:off x="242045" y="127504"/>
            <a:ext cx="9505166" cy="67651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0" name="Freeform 4"/>
          <p:cNvSpPr/>
          <p:nvPr userDrawn="1">
            <p:custDataLst>
              <p:tags r:id="rId12"/>
            </p:custDataLst>
          </p:nvPr>
        </p:nvSpPr>
        <p:spPr bwMode="auto">
          <a:xfrm>
            <a:off x="0" y="544516"/>
            <a:ext cx="11532077" cy="711019"/>
          </a:xfrm>
          <a:custGeom>
            <a:avLst/>
            <a:gdLst>
              <a:gd name="connsiteX0" fmla="*/ 9509 w 10000"/>
              <a:gd name="connsiteY0" fmla="*/ 4537 h 10000"/>
              <a:gd name="connsiteX1" fmla="*/ 972 w 10000"/>
              <a:gd name="connsiteY1" fmla="*/ 4537 h 10000"/>
              <a:gd name="connsiteX2" fmla="*/ 484 w 10000"/>
              <a:gd name="connsiteY2" fmla="*/ 9122 h 10000"/>
              <a:gd name="connsiteX3" fmla="*/ 0 w 10000"/>
              <a:gd name="connsiteY3" fmla="*/ 4537 h 10000"/>
              <a:gd name="connsiteX4" fmla="*/ 0 w 10000"/>
              <a:gd name="connsiteY4" fmla="*/ 5463 h 10000"/>
              <a:gd name="connsiteX5" fmla="*/ 484 w 10000"/>
              <a:gd name="connsiteY5" fmla="*/ 10000 h 10000"/>
              <a:gd name="connsiteX6" fmla="*/ 972 w 10000"/>
              <a:gd name="connsiteY6" fmla="*/ 5463 h 10000"/>
              <a:gd name="connsiteX7" fmla="*/ 8912 w 10000"/>
              <a:gd name="connsiteY7" fmla="*/ 5514 h 10000"/>
              <a:gd name="connsiteX8" fmla="*/ 10000 w 10000"/>
              <a:gd name="connsiteY8" fmla="*/ 927 h 10000"/>
              <a:gd name="connsiteX9" fmla="*/ 10000 w 10000"/>
              <a:gd name="connsiteY9" fmla="*/ 0 h 10000"/>
              <a:gd name="connsiteX10" fmla="*/ 9509 w 10000"/>
              <a:gd name="connsiteY10" fmla="*/ 4537 h 10000"/>
              <a:gd name="connsiteX0-1" fmla="*/ 8912 w 10000"/>
              <a:gd name="connsiteY0-2" fmla="*/ 4577 h 10000"/>
              <a:gd name="connsiteX1-3" fmla="*/ 972 w 10000"/>
              <a:gd name="connsiteY1-4" fmla="*/ 4537 h 10000"/>
              <a:gd name="connsiteX2-5" fmla="*/ 484 w 10000"/>
              <a:gd name="connsiteY2-6" fmla="*/ 9122 h 10000"/>
              <a:gd name="connsiteX3-7" fmla="*/ 0 w 10000"/>
              <a:gd name="connsiteY3-8" fmla="*/ 4537 h 10000"/>
              <a:gd name="connsiteX4-9" fmla="*/ 0 w 10000"/>
              <a:gd name="connsiteY4-10" fmla="*/ 5463 h 10000"/>
              <a:gd name="connsiteX5-11" fmla="*/ 484 w 10000"/>
              <a:gd name="connsiteY5-12" fmla="*/ 10000 h 10000"/>
              <a:gd name="connsiteX6-13" fmla="*/ 972 w 10000"/>
              <a:gd name="connsiteY6-14" fmla="*/ 5463 h 10000"/>
              <a:gd name="connsiteX7-15" fmla="*/ 8912 w 10000"/>
              <a:gd name="connsiteY7-16" fmla="*/ 5514 h 10000"/>
              <a:gd name="connsiteX8-17" fmla="*/ 10000 w 10000"/>
              <a:gd name="connsiteY8-18" fmla="*/ 927 h 10000"/>
              <a:gd name="connsiteX9-19" fmla="*/ 10000 w 10000"/>
              <a:gd name="connsiteY9-20" fmla="*/ 0 h 10000"/>
              <a:gd name="connsiteX10-21" fmla="*/ 8912 w 10000"/>
              <a:gd name="connsiteY10-22" fmla="*/ 4577 h 10000"/>
              <a:gd name="connsiteX0-23" fmla="*/ 8912 w 10000"/>
              <a:gd name="connsiteY0-24" fmla="*/ 4383 h 9806"/>
              <a:gd name="connsiteX1-25" fmla="*/ 972 w 10000"/>
              <a:gd name="connsiteY1-26" fmla="*/ 4343 h 9806"/>
              <a:gd name="connsiteX2-27" fmla="*/ 484 w 10000"/>
              <a:gd name="connsiteY2-28" fmla="*/ 8928 h 9806"/>
              <a:gd name="connsiteX3-29" fmla="*/ 0 w 10000"/>
              <a:gd name="connsiteY3-30" fmla="*/ 4343 h 9806"/>
              <a:gd name="connsiteX4-31" fmla="*/ 0 w 10000"/>
              <a:gd name="connsiteY4-32" fmla="*/ 5269 h 9806"/>
              <a:gd name="connsiteX5-33" fmla="*/ 484 w 10000"/>
              <a:gd name="connsiteY5-34" fmla="*/ 9806 h 9806"/>
              <a:gd name="connsiteX6-35" fmla="*/ 972 w 10000"/>
              <a:gd name="connsiteY6-36" fmla="*/ 5269 h 9806"/>
              <a:gd name="connsiteX7-37" fmla="*/ 8912 w 10000"/>
              <a:gd name="connsiteY7-38" fmla="*/ 5320 h 9806"/>
              <a:gd name="connsiteX8-39" fmla="*/ 10000 w 10000"/>
              <a:gd name="connsiteY8-40" fmla="*/ 733 h 9806"/>
              <a:gd name="connsiteX9-41" fmla="*/ 9231 w 10000"/>
              <a:gd name="connsiteY9-42" fmla="*/ 0 h 9806"/>
              <a:gd name="connsiteX10-43" fmla="*/ 8912 w 10000"/>
              <a:gd name="connsiteY10-44" fmla="*/ 4383 h 9806"/>
              <a:gd name="connsiteX0-45" fmla="*/ 8912 w 9297"/>
              <a:gd name="connsiteY0-46" fmla="*/ 4470 h 10000"/>
              <a:gd name="connsiteX1-47" fmla="*/ 972 w 9297"/>
              <a:gd name="connsiteY1-48" fmla="*/ 4429 h 10000"/>
              <a:gd name="connsiteX2-49" fmla="*/ 484 w 9297"/>
              <a:gd name="connsiteY2-50" fmla="*/ 9105 h 10000"/>
              <a:gd name="connsiteX3-51" fmla="*/ 0 w 9297"/>
              <a:gd name="connsiteY3-52" fmla="*/ 4429 h 10000"/>
              <a:gd name="connsiteX4-53" fmla="*/ 0 w 9297"/>
              <a:gd name="connsiteY4-54" fmla="*/ 5373 h 10000"/>
              <a:gd name="connsiteX5-55" fmla="*/ 484 w 9297"/>
              <a:gd name="connsiteY5-56" fmla="*/ 10000 h 10000"/>
              <a:gd name="connsiteX6-57" fmla="*/ 972 w 9297"/>
              <a:gd name="connsiteY6-58" fmla="*/ 5373 h 10000"/>
              <a:gd name="connsiteX7-59" fmla="*/ 8912 w 9297"/>
              <a:gd name="connsiteY7-60" fmla="*/ 5425 h 10000"/>
              <a:gd name="connsiteX8-61" fmla="*/ 9231 w 9297"/>
              <a:gd name="connsiteY8-62" fmla="*/ 1642 h 10000"/>
              <a:gd name="connsiteX9-63" fmla="*/ 9231 w 9297"/>
              <a:gd name="connsiteY9-64" fmla="*/ 0 h 10000"/>
              <a:gd name="connsiteX10-65" fmla="*/ 8912 w 9297"/>
              <a:gd name="connsiteY10-66" fmla="*/ 4470 h 10000"/>
              <a:gd name="connsiteX0-67" fmla="*/ 9586 w 10000"/>
              <a:gd name="connsiteY0-68" fmla="*/ 4470 h 10000"/>
              <a:gd name="connsiteX1-69" fmla="*/ 1045 w 10000"/>
              <a:gd name="connsiteY1-70" fmla="*/ 4429 h 10000"/>
              <a:gd name="connsiteX2-71" fmla="*/ 521 w 10000"/>
              <a:gd name="connsiteY2-72" fmla="*/ 9105 h 10000"/>
              <a:gd name="connsiteX3-73" fmla="*/ 0 w 10000"/>
              <a:gd name="connsiteY3-74" fmla="*/ 4429 h 10000"/>
              <a:gd name="connsiteX4-75" fmla="*/ 0 w 10000"/>
              <a:gd name="connsiteY4-76" fmla="*/ 5373 h 10000"/>
              <a:gd name="connsiteX5-77" fmla="*/ 521 w 10000"/>
              <a:gd name="connsiteY5-78" fmla="*/ 10000 h 10000"/>
              <a:gd name="connsiteX6-79" fmla="*/ 1045 w 10000"/>
              <a:gd name="connsiteY6-80" fmla="*/ 5373 h 10000"/>
              <a:gd name="connsiteX7-81" fmla="*/ 9281 w 10000"/>
              <a:gd name="connsiteY7-82" fmla="*/ 5426 h 10000"/>
              <a:gd name="connsiteX8-83" fmla="*/ 9929 w 10000"/>
              <a:gd name="connsiteY8-84" fmla="*/ 1642 h 10000"/>
              <a:gd name="connsiteX9-85" fmla="*/ 9929 w 10000"/>
              <a:gd name="connsiteY9-86" fmla="*/ 0 h 10000"/>
              <a:gd name="connsiteX10-87" fmla="*/ 9586 w 10000"/>
              <a:gd name="connsiteY10-88" fmla="*/ 4470 h 10000"/>
              <a:gd name="connsiteX0-89" fmla="*/ 9586 w 10000"/>
              <a:gd name="connsiteY0-90" fmla="*/ 4470 h 10000"/>
              <a:gd name="connsiteX1-91" fmla="*/ 1045 w 10000"/>
              <a:gd name="connsiteY1-92" fmla="*/ 4429 h 10000"/>
              <a:gd name="connsiteX2-93" fmla="*/ 521 w 10000"/>
              <a:gd name="connsiteY2-94" fmla="*/ 9105 h 10000"/>
              <a:gd name="connsiteX3-95" fmla="*/ 0 w 10000"/>
              <a:gd name="connsiteY3-96" fmla="*/ 4429 h 10000"/>
              <a:gd name="connsiteX4-97" fmla="*/ 0 w 10000"/>
              <a:gd name="connsiteY4-98" fmla="*/ 5373 h 10000"/>
              <a:gd name="connsiteX5-99" fmla="*/ 521 w 10000"/>
              <a:gd name="connsiteY5-100" fmla="*/ 10000 h 10000"/>
              <a:gd name="connsiteX6-101" fmla="*/ 1045 w 10000"/>
              <a:gd name="connsiteY6-102" fmla="*/ 5373 h 10000"/>
              <a:gd name="connsiteX7-103" fmla="*/ 9281 w 10000"/>
              <a:gd name="connsiteY7-104" fmla="*/ 5426 h 10000"/>
              <a:gd name="connsiteX8-105" fmla="*/ 9929 w 10000"/>
              <a:gd name="connsiteY8-106" fmla="*/ 1642 h 10000"/>
              <a:gd name="connsiteX9-107" fmla="*/ 9929 w 10000"/>
              <a:gd name="connsiteY9-108" fmla="*/ 0 h 10000"/>
              <a:gd name="connsiteX10-109" fmla="*/ 9586 w 10000"/>
              <a:gd name="connsiteY10-110" fmla="*/ 4470 h 10000"/>
              <a:gd name="connsiteX0-111" fmla="*/ 9586 w 10000"/>
              <a:gd name="connsiteY0-112" fmla="*/ 4470 h 10000"/>
              <a:gd name="connsiteX1-113" fmla="*/ 1045 w 10000"/>
              <a:gd name="connsiteY1-114" fmla="*/ 4429 h 10000"/>
              <a:gd name="connsiteX2-115" fmla="*/ 521 w 10000"/>
              <a:gd name="connsiteY2-116" fmla="*/ 9105 h 10000"/>
              <a:gd name="connsiteX3-117" fmla="*/ 0 w 10000"/>
              <a:gd name="connsiteY3-118" fmla="*/ 4429 h 10000"/>
              <a:gd name="connsiteX4-119" fmla="*/ 0 w 10000"/>
              <a:gd name="connsiteY4-120" fmla="*/ 5373 h 10000"/>
              <a:gd name="connsiteX5-121" fmla="*/ 521 w 10000"/>
              <a:gd name="connsiteY5-122" fmla="*/ 10000 h 10000"/>
              <a:gd name="connsiteX6-123" fmla="*/ 1045 w 10000"/>
              <a:gd name="connsiteY6-124" fmla="*/ 5373 h 10000"/>
              <a:gd name="connsiteX7-125" fmla="*/ 9281 w 10000"/>
              <a:gd name="connsiteY7-126" fmla="*/ 5426 h 10000"/>
              <a:gd name="connsiteX8-127" fmla="*/ 9929 w 10000"/>
              <a:gd name="connsiteY8-128" fmla="*/ 1642 h 10000"/>
              <a:gd name="connsiteX9-129" fmla="*/ 9929 w 10000"/>
              <a:gd name="connsiteY9-130" fmla="*/ 0 h 10000"/>
              <a:gd name="connsiteX10-131" fmla="*/ 9586 w 10000"/>
              <a:gd name="connsiteY10-132" fmla="*/ 4470 h 10000"/>
              <a:gd name="connsiteX0-133" fmla="*/ 9281 w 9929"/>
              <a:gd name="connsiteY0-134" fmla="*/ 4558 h 10000"/>
              <a:gd name="connsiteX1-135" fmla="*/ 1045 w 9929"/>
              <a:gd name="connsiteY1-136" fmla="*/ 4429 h 10000"/>
              <a:gd name="connsiteX2-137" fmla="*/ 521 w 9929"/>
              <a:gd name="connsiteY2-138" fmla="*/ 9105 h 10000"/>
              <a:gd name="connsiteX3-139" fmla="*/ 0 w 9929"/>
              <a:gd name="connsiteY3-140" fmla="*/ 4429 h 10000"/>
              <a:gd name="connsiteX4-141" fmla="*/ 0 w 9929"/>
              <a:gd name="connsiteY4-142" fmla="*/ 5373 h 10000"/>
              <a:gd name="connsiteX5-143" fmla="*/ 521 w 9929"/>
              <a:gd name="connsiteY5-144" fmla="*/ 10000 h 10000"/>
              <a:gd name="connsiteX6-145" fmla="*/ 1045 w 9929"/>
              <a:gd name="connsiteY6-146" fmla="*/ 5373 h 10000"/>
              <a:gd name="connsiteX7-147" fmla="*/ 9281 w 9929"/>
              <a:gd name="connsiteY7-148" fmla="*/ 5426 h 10000"/>
              <a:gd name="connsiteX8-149" fmla="*/ 9929 w 9929"/>
              <a:gd name="connsiteY8-150" fmla="*/ 1642 h 10000"/>
              <a:gd name="connsiteX9-151" fmla="*/ 9929 w 9929"/>
              <a:gd name="connsiteY9-152" fmla="*/ 0 h 10000"/>
              <a:gd name="connsiteX10-153" fmla="*/ 9281 w 9929"/>
              <a:gd name="connsiteY10-154" fmla="*/ 4558 h 10000"/>
              <a:gd name="connsiteX0-155" fmla="*/ 9347 w 10000"/>
              <a:gd name="connsiteY0-156" fmla="*/ 4558 h 10000"/>
              <a:gd name="connsiteX1-157" fmla="*/ 1052 w 10000"/>
              <a:gd name="connsiteY1-158" fmla="*/ 4429 h 10000"/>
              <a:gd name="connsiteX2-159" fmla="*/ 525 w 10000"/>
              <a:gd name="connsiteY2-160" fmla="*/ 9105 h 10000"/>
              <a:gd name="connsiteX3-161" fmla="*/ 0 w 10000"/>
              <a:gd name="connsiteY3-162" fmla="*/ 4429 h 10000"/>
              <a:gd name="connsiteX4-163" fmla="*/ 0 w 10000"/>
              <a:gd name="connsiteY4-164" fmla="*/ 5373 h 10000"/>
              <a:gd name="connsiteX5-165" fmla="*/ 525 w 10000"/>
              <a:gd name="connsiteY5-166" fmla="*/ 10000 h 10000"/>
              <a:gd name="connsiteX6-167" fmla="*/ 1052 w 10000"/>
              <a:gd name="connsiteY6-168" fmla="*/ 5373 h 10000"/>
              <a:gd name="connsiteX7-169" fmla="*/ 9347 w 10000"/>
              <a:gd name="connsiteY7-170" fmla="*/ 5426 h 10000"/>
              <a:gd name="connsiteX8-171" fmla="*/ 10000 w 10000"/>
              <a:gd name="connsiteY8-172" fmla="*/ 0 h 10000"/>
              <a:gd name="connsiteX9-173" fmla="*/ 10000 w 10000"/>
              <a:gd name="connsiteY9-174" fmla="*/ 0 h 10000"/>
              <a:gd name="connsiteX10-175" fmla="*/ 9347 w 10000"/>
              <a:gd name="connsiteY10-176" fmla="*/ 4558 h 10000"/>
              <a:gd name="connsiteX0-177" fmla="*/ 9475 w 10000"/>
              <a:gd name="connsiteY0-178" fmla="*/ 4447 h 10000"/>
              <a:gd name="connsiteX1-179" fmla="*/ 1052 w 10000"/>
              <a:gd name="connsiteY1-180" fmla="*/ 4429 h 10000"/>
              <a:gd name="connsiteX2-181" fmla="*/ 525 w 10000"/>
              <a:gd name="connsiteY2-182" fmla="*/ 9105 h 10000"/>
              <a:gd name="connsiteX3-183" fmla="*/ 0 w 10000"/>
              <a:gd name="connsiteY3-184" fmla="*/ 4429 h 10000"/>
              <a:gd name="connsiteX4-185" fmla="*/ 0 w 10000"/>
              <a:gd name="connsiteY4-186" fmla="*/ 5373 h 10000"/>
              <a:gd name="connsiteX5-187" fmla="*/ 525 w 10000"/>
              <a:gd name="connsiteY5-188" fmla="*/ 10000 h 10000"/>
              <a:gd name="connsiteX6-189" fmla="*/ 1052 w 10000"/>
              <a:gd name="connsiteY6-190" fmla="*/ 5373 h 10000"/>
              <a:gd name="connsiteX7-191" fmla="*/ 9347 w 10000"/>
              <a:gd name="connsiteY7-192" fmla="*/ 5426 h 10000"/>
              <a:gd name="connsiteX8-193" fmla="*/ 10000 w 10000"/>
              <a:gd name="connsiteY8-194" fmla="*/ 0 h 10000"/>
              <a:gd name="connsiteX9-195" fmla="*/ 10000 w 10000"/>
              <a:gd name="connsiteY9-196" fmla="*/ 0 h 10000"/>
              <a:gd name="connsiteX10-197" fmla="*/ 9475 w 10000"/>
              <a:gd name="connsiteY10-198" fmla="*/ 4447 h 10000"/>
              <a:gd name="connsiteX0-199" fmla="*/ 9475 w 10000"/>
              <a:gd name="connsiteY0-200" fmla="*/ 4447 h 10000"/>
              <a:gd name="connsiteX1-201" fmla="*/ 1052 w 10000"/>
              <a:gd name="connsiteY1-202" fmla="*/ 4429 h 10000"/>
              <a:gd name="connsiteX2-203" fmla="*/ 525 w 10000"/>
              <a:gd name="connsiteY2-204" fmla="*/ 9105 h 10000"/>
              <a:gd name="connsiteX3-205" fmla="*/ 0 w 10000"/>
              <a:gd name="connsiteY3-206" fmla="*/ 4429 h 10000"/>
              <a:gd name="connsiteX4-207" fmla="*/ 0 w 10000"/>
              <a:gd name="connsiteY4-208" fmla="*/ 5373 h 10000"/>
              <a:gd name="connsiteX5-209" fmla="*/ 525 w 10000"/>
              <a:gd name="connsiteY5-210" fmla="*/ 10000 h 10000"/>
              <a:gd name="connsiteX6-211" fmla="*/ 1052 w 10000"/>
              <a:gd name="connsiteY6-212" fmla="*/ 5373 h 10000"/>
              <a:gd name="connsiteX7-213" fmla="*/ 9449 w 10000"/>
              <a:gd name="connsiteY7-214" fmla="*/ 5470 h 10000"/>
              <a:gd name="connsiteX8-215" fmla="*/ 10000 w 10000"/>
              <a:gd name="connsiteY8-216" fmla="*/ 0 h 10000"/>
              <a:gd name="connsiteX9-217" fmla="*/ 10000 w 10000"/>
              <a:gd name="connsiteY9-218" fmla="*/ 0 h 10000"/>
              <a:gd name="connsiteX10-219" fmla="*/ 9475 w 10000"/>
              <a:gd name="connsiteY10-220" fmla="*/ 4447 h 10000"/>
              <a:gd name="connsiteX0-221" fmla="*/ 9475 w 10956"/>
              <a:gd name="connsiteY0-222" fmla="*/ 4447 h 10000"/>
              <a:gd name="connsiteX1-223" fmla="*/ 1052 w 10956"/>
              <a:gd name="connsiteY1-224" fmla="*/ 4429 h 10000"/>
              <a:gd name="connsiteX2-225" fmla="*/ 525 w 10956"/>
              <a:gd name="connsiteY2-226" fmla="*/ 9105 h 10000"/>
              <a:gd name="connsiteX3-227" fmla="*/ 0 w 10956"/>
              <a:gd name="connsiteY3-228" fmla="*/ 4429 h 10000"/>
              <a:gd name="connsiteX4-229" fmla="*/ 0 w 10956"/>
              <a:gd name="connsiteY4-230" fmla="*/ 5373 h 10000"/>
              <a:gd name="connsiteX5-231" fmla="*/ 525 w 10956"/>
              <a:gd name="connsiteY5-232" fmla="*/ 10000 h 10000"/>
              <a:gd name="connsiteX6-233" fmla="*/ 1052 w 10956"/>
              <a:gd name="connsiteY6-234" fmla="*/ 5373 h 10000"/>
              <a:gd name="connsiteX7-235" fmla="*/ 9449 w 10956"/>
              <a:gd name="connsiteY7-236" fmla="*/ 5470 h 10000"/>
              <a:gd name="connsiteX8-237" fmla="*/ 10000 w 10956"/>
              <a:gd name="connsiteY8-238" fmla="*/ 0 h 10000"/>
              <a:gd name="connsiteX9-239" fmla="*/ 10000 w 10956"/>
              <a:gd name="connsiteY9-240" fmla="*/ 0 h 10000"/>
              <a:gd name="connsiteX10-241" fmla="*/ 9940 w 10956"/>
              <a:gd name="connsiteY10-242" fmla="*/ 1168 h 10000"/>
              <a:gd name="connsiteX11" fmla="*/ 9475 w 10956"/>
              <a:gd name="connsiteY11" fmla="*/ 4447 h 10000"/>
              <a:gd name="connsiteX0-243" fmla="*/ 9475 w 10956"/>
              <a:gd name="connsiteY0-244" fmla="*/ 4447 h 10000"/>
              <a:gd name="connsiteX1-245" fmla="*/ 1052 w 10956"/>
              <a:gd name="connsiteY1-246" fmla="*/ 4429 h 10000"/>
              <a:gd name="connsiteX2-247" fmla="*/ 525 w 10956"/>
              <a:gd name="connsiteY2-248" fmla="*/ 9105 h 10000"/>
              <a:gd name="connsiteX3-249" fmla="*/ 0 w 10956"/>
              <a:gd name="connsiteY3-250" fmla="*/ 4429 h 10000"/>
              <a:gd name="connsiteX4-251" fmla="*/ 0 w 10956"/>
              <a:gd name="connsiteY4-252" fmla="*/ 5373 h 10000"/>
              <a:gd name="connsiteX5-253" fmla="*/ 525 w 10956"/>
              <a:gd name="connsiteY5-254" fmla="*/ 10000 h 10000"/>
              <a:gd name="connsiteX6-255" fmla="*/ 1052 w 10956"/>
              <a:gd name="connsiteY6-256" fmla="*/ 5373 h 10000"/>
              <a:gd name="connsiteX7-257" fmla="*/ 9449 w 10956"/>
              <a:gd name="connsiteY7-258" fmla="*/ 5470 h 10000"/>
              <a:gd name="connsiteX8-259" fmla="*/ 10000 w 10956"/>
              <a:gd name="connsiteY8-260" fmla="*/ 0 h 10000"/>
              <a:gd name="connsiteX9-261" fmla="*/ 10000 w 10956"/>
              <a:gd name="connsiteY9-262" fmla="*/ 0 h 10000"/>
              <a:gd name="connsiteX10-263" fmla="*/ 10104 w 10956"/>
              <a:gd name="connsiteY10-264" fmla="*/ 1401 h 10000"/>
              <a:gd name="connsiteX11-265" fmla="*/ 9475 w 10956"/>
              <a:gd name="connsiteY11-266" fmla="*/ 4447 h 10000"/>
              <a:gd name="connsiteX0-267" fmla="*/ 9475 w 10966"/>
              <a:gd name="connsiteY0-268" fmla="*/ 4447 h 10000"/>
              <a:gd name="connsiteX1-269" fmla="*/ 1052 w 10966"/>
              <a:gd name="connsiteY1-270" fmla="*/ 4429 h 10000"/>
              <a:gd name="connsiteX2-271" fmla="*/ 525 w 10966"/>
              <a:gd name="connsiteY2-272" fmla="*/ 9105 h 10000"/>
              <a:gd name="connsiteX3-273" fmla="*/ 0 w 10966"/>
              <a:gd name="connsiteY3-274" fmla="*/ 4429 h 10000"/>
              <a:gd name="connsiteX4-275" fmla="*/ 0 w 10966"/>
              <a:gd name="connsiteY4-276" fmla="*/ 5373 h 10000"/>
              <a:gd name="connsiteX5-277" fmla="*/ 525 w 10966"/>
              <a:gd name="connsiteY5-278" fmla="*/ 10000 h 10000"/>
              <a:gd name="connsiteX6-279" fmla="*/ 1052 w 10966"/>
              <a:gd name="connsiteY6-280" fmla="*/ 5373 h 10000"/>
              <a:gd name="connsiteX7-281" fmla="*/ 9449 w 10966"/>
              <a:gd name="connsiteY7-282" fmla="*/ 5470 h 10000"/>
              <a:gd name="connsiteX8-283" fmla="*/ 10000 w 10966"/>
              <a:gd name="connsiteY8-284" fmla="*/ 0 h 10000"/>
              <a:gd name="connsiteX9-285" fmla="*/ 10000 w 10966"/>
              <a:gd name="connsiteY9-286" fmla="*/ 0 h 10000"/>
              <a:gd name="connsiteX10-287" fmla="*/ 9475 w 10966"/>
              <a:gd name="connsiteY10-288" fmla="*/ 4447 h 10000"/>
              <a:gd name="connsiteX0-289" fmla="*/ 9475 w 10966"/>
              <a:gd name="connsiteY0-290" fmla="*/ 4447 h 10000"/>
              <a:gd name="connsiteX1-291" fmla="*/ 1052 w 10966"/>
              <a:gd name="connsiteY1-292" fmla="*/ 4429 h 10000"/>
              <a:gd name="connsiteX2-293" fmla="*/ 525 w 10966"/>
              <a:gd name="connsiteY2-294" fmla="*/ 9105 h 10000"/>
              <a:gd name="connsiteX3-295" fmla="*/ 0 w 10966"/>
              <a:gd name="connsiteY3-296" fmla="*/ 4429 h 10000"/>
              <a:gd name="connsiteX4-297" fmla="*/ 0 w 10966"/>
              <a:gd name="connsiteY4-298" fmla="*/ 5373 h 10000"/>
              <a:gd name="connsiteX5-299" fmla="*/ 525 w 10966"/>
              <a:gd name="connsiteY5-300" fmla="*/ 10000 h 10000"/>
              <a:gd name="connsiteX6-301" fmla="*/ 1052 w 10966"/>
              <a:gd name="connsiteY6-302" fmla="*/ 5373 h 10000"/>
              <a:gd name="connsiteX7-303" fmla="*/ 9449 w 10966"/>
              <a:gd name="connsiteY7-304" fmla="*/ 5470 h 10000"/>
              <a:gd name="connsiteX8-305" fmla="*/ 10000 w 10966"/>
              <a:gd name="connsiteY8-306" fmla="*/ 0 h 10000"/>
              <a:gd name="connsiteX9-307" fmla="*/ 10060 w 10966"/>
              <a:gd name="connsiteY9-308" fmla="*/ 1567 h 10000"/>
              <a:gd name="connsiteX10-309" fmla="*/ 9475 w 10966"/>
              <a:gd name="connsiteY10-310" fmla="*/ 4447 h 10000"/>
              <a:gd name="connsiteX0-311" fmla="*/ 9475 w 10966"/>
              <a:gd name="connsiteY0-312" fmla="*/ 3647 h 9200"/>
              <a:gd name="connsiteX1-313" fmla="*/ 1052 w 10966"/>
              <a:gd name="connsiteY1-314" fmla="*/ 3629 h 9200"/>
              <a:gd name="connsiteX2-315" fmla="*/ 525 w 10966"/>
              <a:gd name="connsiteY2-316" fmla="*/ 8305 h 9200"/>
              <a:gd name="connsiteX3-317" fmla="*/ 0 w 10966"/>
              <a:gd name="connsiteY3-318" fmla="*/ 3629 h 9200"/>
              <a:gd name="connsiteX4-319" fmla="*/ 0 w 10966"/>
              <a:gd name="connsiteY4-320" fmla="*/ 4573 h 9200"/>
              <a:gd name="connsiteX5-321" fmla="*/ 525 w 10966"/>
              <a:gd name="connsiteY5-322" fmla="*/ 9200 h 9200"/>
              <a:gd name="connsiteX6-323" fmla="*/ 1052 w 10966"/>
              <a:gd name="connsiteY6-324" fmla="*/ 4573 h 9200"/>
              <a:gd name="connsiteX7-325" fmla="*/ 9449 w 10966"/>
              <a:gd name="connsiteY7-326" fmla="*/ 4670 h 9200"/>
              <a:gd name="connsiteX8-327" fmla="*/ 10099 w 10966"/>
              <a:gd name="connsiteY8-328" fmla="*/ 0 h 9200"/>
              <a:gd name="connsiteX9-329" fmla="*/ 10060 w 10966"/>
              <a:gd name="connsiteY9-330" fmla="*/ 767 h 9200"/>
              <a:gd name="connsiteX10-331" fmla="*/ 9475 w 10966"/>
              <a:gd name="connsiteY10-332" fmla="*/ 3647 h 9200"/>
              <a:gd name="connsiteX0-333" fmla="*/ 8640 w 10000"/>
              <a:gd name="connsiteY0-334" fmla="*/ 5401 h 11437"/>
              <a:gd name="connsiteX1-335" fmla="*/ 959 w 10000"/>
              <a:gd name="connsiteY1-336" fmla="*/ 5382 h 11437"/>
              <a:gd name="connsiteX2-337" fmla="*/ 479 w 10000"/>
              <a:gd name="connsiteY2-338" fmla="*/ 10464 h 11437"/>
              <a:gd name="connsiteX3-339" fmla="*/ 0 w 10000"/>
              <a:gd name="connsiteY3-340" fmla="*/ 5382 h 11437"/>
              <a:gd name="connsiteX4-341" fmla="*/ 0 w 10000"/>
              <a:gd name="connsiteY4-342" fmla="*/ 6408 h 11437"/>
              <a:gd name="connsiteX5-343" fmla="*/ 479 w 10000"/>
              <a:gd name="connsiteY5-344" fmla="*/ 11437 h 11437"/>
              <a:gd name="connsiteX6-345" fmla="*/ 959 w 10000"/>
              <a:gd name="connsiteY6-346" fmla="*/ 6408 h 11437"/>
              <a:gd name="connsiteX7-347" fmla="*/ 8617 w 10000"/>
              <a:gd name="connsiteY7-348" fmla="*/ 6513 h 11437"/>
              <a:gd name="connsiteX8-349" fmla="*/ 9209 w 10000"/>
              <a:gd name="connsiteY8-350" fmla="*/ 1437 h 11437"/>
              <a:gd name="connsiteX9-351" fmla="*/ 9119 w 10000"/>
              <a:gd name="connsiteY9-352" fmla="*/ 568 h 11437"/>
              <a:gd name="connsiteX10-353" fmla="*/ 8640 w 10000"/>
              <a:gd name="connsiteY10-354" fmla="*/ 5401 h 11437"/>
              <a:gd name="connsiteX0-355" fmla="*/ 8640 w 9228"/>
              <a:gd name="connsiteY0-356" fmla="*/ 5401 h 11437"/>
              <a:gd name="connsiteX1-357" fmla="*/ 959 w 9228"/>
              <a:gd name="connsiteY1-358" fmla="*/ 5382 h 11437"/>
              <a:gd name="connsiteX2-359" fmla="*/ 479 w 9228"/>
              <a:gd name="connsiteY2-360" fmla="*/ 10464 h 11437"/>
              <a:gd name="connsiteX3-361" fmla="*/ 0 w 9228"/>
              <a:gd name="connsiteY3-362" fmla="*/ 5382 h 11437"/>
              <a:gd name="connsiteX4-363" fmla="*/ 0 w 9228"/>
              <a:gd name="connsiteY4-364" fmla="*/ 6408 h 11437"/>
              <a:gd name="connsiteX5-365" fmla="*/ 479 w 9228"/>
              <a:gd name="connsiteY5-366" fmla="*/ 11437 h 11437"/>
              <a:gd name="connsiteX6-367" fmla="*/ 959 w 9228"/>
              <a:gd name="connsiteY6-368" fmla="*/ 6408 h 11437"/>
              <a:gd name="connsiteX7-369" fmla="*/ 8617 w 9228"/>
              <a:gd name="connsiteY7-370" fmla="*/ 6513 h 11437"/>
              <a:gd name="connsiteX8-371" fmla="*/ 9209 w 9228"/>
              <a:gd name="connsiteY8-372" fmla="*/ 1437 h 11437"/>
              <a:gd name="connsiteX9-373" fmla="*/ 9119 w 9228"/>
              <a:gd name="connsiteY9-374" fmla="*/ 568 h 11437"/>
              <a:gd name="connsiteX10-375" fmla="*/ 8640 w 9228"/>
              <a:gd name="connsiteY10-376" fmla="*/ 5401 h 11437"/>
              <a:gd name="connsiteX0-377" fmla="*/ 9363 w 10000"/>
              <a:gd name="connsiteY0-378" fmla="*/ 4722 h 10000"/>
              <a:gd name="connsiteX1-379" fmla="*/ 1039 w 10000"/>
              <a:gd name="connsiteY1-380" fmla="*/ 4706 h 10000"/>
              <a:gd name="connsiteX2-381" fmla="*/ 519 w 10000"/>
              <a:gd name="connsiteY2-382" fmla="*/ 9149 h 10000"/>
              <a:gd name="connsiteX3-383" fmla="*/ 0 w 10000"/>
              <a:gd name="connsiteY3-384" fmla="*/ 4706 h 10000"/>
              <a:gd name="connsiteX4-385" fmla="*/ 0 w 10000"/>
              <a:gd name="connsiteY4-386" fmla="*/ 5603 h 10000"/>
              <a:gd name="connsiteX5-387" fmla="*/ 519 w 10000"/>
              <a:gd name="connsiteY5-388" fmla="*/ 10000 h 10000"/>
              <a:gd name="connsiteX6-389" fmla="*/ 1039 w 10000"/>
              <a:gd name="connsiteY6-390" fmla="*/ 5603 h 10000"/>
              <a:gd name="connsiteX7-391" fmla="*/ 9338 w 10000"/>
              <a:gd name="connsiteY7-392" fmla="*/ 5695 h 10000"/>
              <a:gd name="connsiteX8-393" fmla="*/ 9979 w 10000"/>
              <a:gd name="connsiteY8-394" fmla="*/ 1256 h 10000"/>
              <a:gd name="connsiteX9-395" fmla="*/ 9882 w 10000"/>
              <a:gd name="connsiteY9-396" fmla="*/ 497 h 10000"/>
              <a:gd name="connsiteX10-397" fmla="*/ 9363 w 10000"/>
              <a:gd name="connsiteY10-398" fmla="*/ 4722 h 10000"/>
              <a:gd name="connsiteX0-399" fmla="*/ 9363 w 10000"/>
              <a:gd name="connsiteY0-400" fmla="*/ 4722 h 10000"/>
              <a:gd name="connsiteX1-401" fmla="*/ 1039 w 10000"/>
              <a:gd name="connsiteY1-402" fmla="*/ 4706 h 10000"/>
              <a:gd name="connsiteX2-403" fmla="*/ 519 w 10000"/>
              <a:gd name="connsiteY2-404" fmla="*/ 9149 h 10000"/>
              <a:gd name="connsiteX3-405" fmla="*/ 0 w 10000"/>
              <a:gd name="connsiteY3-406" fmla="*/ 4706 h 10000"/>
              <a:gd name="connsiteX4-407" fmla="*/ 0 w 10000"/>
              <a:gd name="connsiteY4-408" fmla="*/ 5603 h 10000"/>
              <a:gd name="connsiteX5-409" fmla="*/ 519 w 10000"/>
              <a:gd name="connsiteY5-410" fmla="*/ 10000 h 10000"/>
              <a:gd name="connsiteX6-411" fmla="*/ 1039 w 10000"/>
              <a:gd name="connsiteY6-412" fmla="*/ 5603 h 10000"/>
              <a:gd name="connsiteX7-413" fmla="*/ 9338 w 10000"/>
              <a:gd name="connsiteY7-414" fmla="*/ 5695 h 10000"/>
              <a:gd name="connsiteX8-415" fmla="*/ 9979 w 10000"/>
              <a:gd name="connsiteY8-416" fmla="*/ 1256 h 10000"/>
              <a:gd name="connsiteX9-417" fmla="*/ 9882 w 10000"/>
              <a:gd name="connsiteY9-418" fmla="*/ 497 h 10000"/>
              <a:gd name="connsiteX10-419" fmla="*/ 9363 w 10000"/>
              <a:gd name="connsiteY10-420" fmla="*/ 4722 h 10000"/>
              <a:gd name="connsiteX0-421" fmla="*/ 9363 w 10000"/>
              <a:gd name="connsiteY0-422" fmla="*/ 4722 h 10000"/>
              <a:gd name="connsiteX1-423" fmla="*/ 1039 w 10000"/>
              <a:gd name="connsiteY1-424" fmla="*/ 4706 h 10000"/>
              <a:gd name="connsiteX2-425" fmla="*/ 519 w 10000"/>
              <a:gd name="connsiteY2-426" fmla="*/ 9149 h 10000"/>
              <a:gd name="connsiteX3-427" fmla="*/ 0 w 10000"/>
              <a:gd name="connsiteY3-428" fmla="*/ 4706 h 10000"/>
              <a:gd name="connsiteX4-429" fmla="*/ 0 w 10000"/>
              <a:gd name="connsiteY4-430" fmla="*/ 5603 h 10000"/>
              <a:gd name="connsiteX5-431" fmla="*/ 519 w 10000"/>
              <a:gd name="connsiteY5-432" fmla="*/ 10000 h 10000"/>
              <a:gd name="connsiteX6-433" fmla="*/ 1039 w 10000"/>
              <a:gd name="connsiteY6-434" fmla="*/ 5603 h 10000"/>
              <a:gd name="connsiteX7-435" fmla="*/ 9338 w 10000"/>
              <a:gd name="connsiteY7-436" fmla="*/ 5695 h 10000"/>
              <a:gd name="connsiteX8-437" fmla="*/ 9979 w 10000"/>
              <a:gd name="connsiteY8-438" fmla="*/ 1256 h 10000"/>
              <a:gd name="connsiteX9-439" fmla="*/ 9882 w 10000"/>
              <a:gd name="connsiteY9-440" fmla="*/ 497 h 10000"/>
              <a:gd name="connsiteX10-441" fmla="*/ 9363 w 10000"/>
              <a:gd name="connsiteY10-442" fmla="*/ 4722 h 10000"/>
              <a:gd name="connsiteX0-443" fmla="*/ 9363 w 10000"/>
              <a:gd name="connsiteY0-444" fmla="*/ 4722 h 10000"/>
              <a:gd name="connsiteX1-445" fmla="*/ 1039 w 10000"/>
              <a:gd name="connsiteY1-446" fmla="*/ 4706 h 10000"/>
              <a:gd name="connsiteX2-447" fmla="*/ 519 w 10000"/>
              <a:gd name="connsiteY2-448" fmla="*/ 9149 h 10000"/>
              <a:gd name="connsiteX3-449" fmla="*/ 0 w 10000"/>
              <a:gd name="connsiteY3-450" fmla="*/ 4706 h 10000"/>
              <a:gd name="connsiteX4-451" fmla="*/ 0 w 10000"/>
              <a:gd name="connsiteY4-452" fmla="*/ 5603 h 10000"/>
              <a:gd name="connsiteX5-453" fmla="*/ 519 w 10000"/>
              <a:gd name="connsiteY5-454" fmla="*/ 10000 h 10000"/>
              <a:gd name="connsiteX6-455" fmla="*/ 1039 w 10000"/>
              <a:gd name="connsiteY6-456" fmla="*/ 5603 h 10000"/>
              <a:gd name="connsiteX7-457" fmla="*/ 9338 w 10000"/>
              <a:gd name="connsiteY7-458" fmla="*/ 5695 h 10000"/>
              <a:gd name="connsiteX8-459" fmla="*/ 9979 w 10000"/>
              <a:gd name="connsiteY8-460" fmla="*/ 1256 h 10000"/>
              <a:gd name="connsiteX9-461" fmla="*/ 9882 w 10000"/>
              <a:gd name="connsiteY9-462" fmla="*/ 497 h 10000"/>
              <a:gd name="connsiteX10-463" fmla="*/ 9363 w 10000"/>
              <a:gd name="connsiteY10-464" fmla="*/ 4722 h 10000"/>
              <a:gd name="connsiteX0-465" fmla="*/ 9363 w 10000"/>
              <a:gd name="connsiteY0-466" fmla="*/ 4722 h 10000"/>
              <a:gd name="connsiteX1-467" fmla="*/ 1039 w 10000"/>
              <a:gd name="connsiteY1-468" fmla="*/ 4706 h 10000"/>
              <a:gd name="connsiteX2-469" fmla="*/ 519 w 10000"/>
              <a:gd name="connsiteY2-470" fmla="*/ 9149 h 10000"/>
              <a:gd name="connsiteX3-471" fmla="*/ 0 w 10000"/>
              <a:gd name="connsiteY3-472" fmla="*/ 4706 h 10000"/>
              <a:gd name="connsiteX4-473" fmla="*/ 0 w 10000"/>
              <a:gd name="connsiteY4-474" fmla="*/ 5603 h 10000"/>
              <a:gd name="connsiteX5-475" fmla="*/ 519 w 10000"/>
              <a:gd name="connsiteY5-476" fmla="*/ 10000 h 10000"/>
              <a:gd name="connsiteX6-477" fmla="*/ 1039 w 10000"/>
              <a:gd name="connsiteY6-478" fmla="*/ 5603 h 10000"/>
              <a:gd name="connsiteX7-479" fmla="*/ 9338 w 10000"/>
              <a:gd name="connsiteY7-480" fmla="*/ 5695 h 10000"/>
              <a:gd name="connsiteX8-481" fmla="*/ 9979 w 10000"/>
              <a:gd name="connsiteY8-482" fmla="*/ 1256 h 10000"/>
              <a:gd name="connsiteX9-483" fmla="*/ 9882 w 10000"/>
              <a:gd name="connsiteY9-484" fmla="*/ 497 h 10000"/>
              <a:gd name="connsiteX10-485" fmla="*/ 9363 w 10000"/>
              <a:gd name="connsiteY10-486" fmla="*/ 4722 h 10000"/>
              <a:gd name="connsiteX0-487" fmla="*/ 9363 w 10000"/>
              <a:gd name="connsiteY0-488" fmla="*/ 4722 h 10000"/>
              <a:gd name="connsiteX1-489" fmla="*/ 1039 w 10000"/>
              <a:gd name="connsiteY1-490" fmla="*/ 4706 h 10000"/>
              <a:gd name="connsiteX2-491" fmla="*/ 519 w 10000"/>
              <a:gd name="connsiteY2-492" fmla="*/ 9149 h 10000"/>
              <a:gd name="connsiteX3-493" fmla="*/ 0 w 10000"/>
              <a:gd name="connsiteY3-494" fmla="*/ 4706 h 10000"/>
              <a:gd name="connsiteX4-495" fmla="*/ 0 w 10000"/>
              <a:gd name="connsiteY4-496" fmla="*/ 5603 h 10000"/>
              <a:gd name="connsiteX5-497" fmla="*/ 519 w 10000"/>
              <a:gd name="connsiteY5-498" fmla="*/ 10000 h 10000"/>
              <a:gd name="connsiteX6-499" fmla="*/ 1039 w 10000"/>
              <a:gd name="connsiteY6-500" fmla="*/ 5603 h 10000"/>
              <a:gd name="connsiteX7-501" fmla="*/ 9338 w 10000"/>
              <a:gd name="connsiteY7-502" fmla="*/ 5695 h 10000"/>
              <a:gd name="connsiteX8-503" fmla="*/ 9979 w 10000"/>
              <a:gd name="connsiteY8-504" fmla="*/ 1256 h 10000"/>
              <a:gd name="connsiteX9-505" fmla="*/ 9882 w 10000"/>
              <a:gd name="connsiteY9-506" fmla="*/ 497 h 10000"/>
              <a:gd name="connsiteX10-507" fmla="*/ 9363 w 10000"/>
              <a:gd name="connsiteY10-508" fmla="*/ 4722 h 10000"/>
              <a:gd name="connsiteX0-509" fmla="*/ 9363 w 9903"/>
              <a:gd name="connsiteY0-510" fmla="*/ 4722 h 10000"/>
              <a:gd name="connsiteX1-511" fmla="*/ 1039 w 9903"/>
              <a:gd name="connsiteY1-512" fmla="*/ 4706 h 10000"/>
              <a:gd name="connsiteX2-513" fmla="*/ 519 w 9903"/>
              <a:gd name="connsiteY2-514" fmla="*/ 9149 h 10000"/>
              <a:gd name="connsiteX3-515" fmla="*/ 0 w 9903"/>
              <a:gd name="connsiteY3-516" fmla="*/ 4706 h 10000"/>
              <a:gd name="connsiteX4-517" fmla="*/ 0 w 9903"/>
              <a:gd name="connsiteY4-518" fmla="*/ 5603 h 10000"/>
              <a:gd name="connsiteX5-519" fmla="*/ 519 w 9903"/>
              <a:gd name="connsiteY5-520" fmla="*/ 10000 h 10000"/>
              <a:gd name="connsiteX6-521" fmla="*/ 1039 w 9903"/>
              <a:gd name="connsiteY6-522" fmla="*/ 5603 h 10000"/>
              <a:gd name="connsiteX7-523" fmla="*/ 9338 w 9903"/>
              <a:gd name="connsiteY7-524" fmla="*/ 5695 h 10000"/>
              <a:gd name="connsiteX8-525" fmla="*/ 9882 w 9903"/>
              <a:gd name="connsiteY8-526" fmla="*/ 1351 h 10000"/>
              <a:gd name="connsiteX9-527" fmla="*/ 9882 w 9903"/>
              <a:gd name="connsiteY9-528" fmla="*/ 497 h 10000"/>
              <a:gd name="connsiteX10-529" fmla="*/ 9363 w 9903"/>
              <a:gd name="connsiteY10-530" fmla="*/ 4722 h 10000"/>
              <a:gd name="connsiteX0-531" fmla="*/ 9455 w 10003"/>
              <a:gd name="connsiteY0-532" fmla="*/ 4722 h 10000"/>
              <a:gd name="connsiteX1-533" fmla="*/ 1049 w 10003"/>
              <a:gd name="connsiteY1-534" fmla="*/ 4706 h 10000"/>
              <a:gd name="connsiteX2-535" fmla="*/ 524 w 10003"/>
              <a:gd name="connsiteY2-536" fmla="*/ 9149 h 10000"/>
              <a:gd name="connsiteX3-537" fmla="*/ 0 w 10003"/>
              <a:gd name="connsiteY3-538" fmla="*/ 4706 h 10000"/>
              <a:gd name="connsiteX4-539" fmla="*/ 0 w 10003"/>
              <a:gd name="connsiteY4-540" fmla="*/ 5603 h 10000"/>
              <a:gd name="connsiteX5-541" fmla="*/ 524 w 10003"/>
              <a:gd name="connsiteY5-542" fmla="*/ 10000 h 10000"/>
              <a:gd name="connsiteX6-543" fmla="*/ 1049 w 10003"/>
              <a:gd name="connsiteY6-544" fmla="*/ 5603 h 10000"/>
              <a:gd name="connsiteX7-545" fmla="*/ 9429 w 10003"/>
              <a:gd name="connsiteY7-546" fmla="*/ 5695 h 10000"/>
              <a:gd name="connsiteX8-547" fmla="*/ 9979 w 10003"/>
              <a:gd name="connsiteY8-548" fmla="*/ 1351 h 10000"/>
              <a:gd name="connsiteX9-549" fmla="*/ 9979 w 10003"/>
              <a:gd name="connsiteY9-550" fmla="*/ 497 h 10000"/>
              <a:gd name="connsiteX10-551" fmla="*/ 9455 w 10003"/>
              <a:gd name="connsiteY10-552" fmla="*/ 4722 h 10000"/>
              <a:gd name="connsiteX0-553" fmla="*/ 9455 w 10003"/>
              <a:gd name="connsiteY0-554" fmla="*/ 4722 h 10000"/>
              <a:gd name="connsiteX1-555" fmla="*/ 1049 w 10003"/>
              <a:gd name="connsiteY1-556" fmla="*/ 4706 h 10000"/>
              <a:gd name="connsiteX2-557" fmla="*/ 524 w 10003"/>
              <a:gd name="connsiteY2-558" fmla="*/ 9149 h 10000"/>
              <a:gd name="connsiteX3-559" fmla="*/ 0 w 10003"/>
              <a:gd name="connsiteY3-560" fmla="*/ 4706 h 10000"/>
              <a:gd name="connsiteX4-561" fmla="*/ 0 w 10003"/>
              <a:gd name="connsiteY4-562" fmla="*/ 5603 h 10000"/>
              <a:gd name="connsiteX5-563" fmla="*/ 524 w 10003"/>
              <a:gd name="connsiteY5-564" fmla="*/ 10000 h 10000"/>
              <a:gd name="connsiteX6-565" fmla="*/ 1049 w 10003"/>
              <a:gd name="connsiteY6-566" fmla="*/ 5603 h 10000"/>
              <a:gd name="connsiteX7-567" fmla="*/ 9429 w 10003"/>
              <a:gd name="connsiteY7-568" fmla="*/ 5695 h 10000"/>
              <a:gd name="connsiteX8-569" fmla="*/ 9979 w 10003"/>
              <a:gd name="connsiteY8-570" fmla="*/ 1351 h 10000"/>
              <a:gd name="connsiteX9-571" fmla="*/ 9979 w 10003"/>
              <a:gd name="connsiteY9-572" fmla="*/ 497 h 10000"/>
              <a:gd name="connsiteX10-573" fmla="*/ 9455 w 10003"/>
              <a:gd name="connsiteY10-574" fmla="*/ 4722 h 10000"/>
              <a:gd name="connsiteX0-575" fmla="*/ 9455 w 10003"/>
              <a:gd name="connsiteY0-576" fmla="*/ 4722 h 10000"/>
              <a:gd name="connsiteX1-577" fmla="*/ 1049 w 10003"/>
              <a:gd name="connsiteY1-578" fmla="*/ 4706 h 10000"/>
              <a:gd name="connsiteX2-579" fmla="*/ 524 w 10003"/>
              <a:gd name="connsiteY2-580" fmla="*/ 9149 h 10000"/>
              <a:gd name="connsiteX3-581" fmla="*/ 0 w 10003"/>
              <a:gd name="connsiteY3-582" fmla="*/ 4706 h 10000"/>
              <a:gd name="connsiteX4-583" fmla="*/ 0 w 10003"/>
              <a:gd name="connsiteY4-584" fmla="*/ 5603 h 10000"/>
              <a:gd name="connsiteX5-585" fmla="*/ 524 w 10003"/>
              <a:gd name="connsiteY5-586" fmla="*/ 10000 h 10000"/>
              <a:gd name="connsiteX6-587" fmla="*/ 1049 w 10003"/>
              <a:gd name="connsiteY6-588" fmla="*/ 5603 h 10000"/>
              <a:gd name="connsiteX7-589" fmla="*/ 9429 w 10003"/>
              <a:gd name="connsiteY7-590" fmla="*/ 5695 h 10000"/>
              <a:gd name="connsiteX8-591" fmla="*/ 9979 w 10003"/>
              <a:gd name="connsiteY8-592" fmla="*/ 1351 h 10000"/>
              <a:gd name="connsiteX9-593" fmla="*/ 9979 w 10003"/>
              <a:gd name="connsiteY9-594" fmla="*/ 497 h 10000"/>
              <a:gd name="connsiteX10-595" fmla="*/ 9455 w 10003"/>
              <a:gd name="connsiteY10-596" fmla="*/ 4722 h 10000"/>
              <a:gd name="connsiteX0-597" fmla="*/ 9455 w 10003"/>
              <a:gd name="connsiteY0-598" fmla="*/ 4722 h 10000"/>
              <a:gd name="connsiteX1-599" fmla="*/ 1049 w 10003"/>
              <a:gd name="connsiteY1-600" fmla="*/ 4706 h 10000"/>
              <a:gd name="connsiteX2-601" fmla="*/ 524 w 10003"/>
              <a:gd name="connsiteY2-602" fmla="*/ 9149 h 10000"/>
              <a:gd name="connsiteX3-603" fmla="*/ 0 w 10003"/>
              <a:gd name="connsiteY3-604" fmla="*/ 4706 h 10000"/>
              <a:gd name="connsiteX4-605" fmla="*/ 0 w 10003"/>
              <a:gd name="connsiteY4-606" fmla="*/ 5603 h 10000"/>
              <a:gd name="connsiteX5-607" fmla="*/ 524 w 10003"/>
              <a:gd name="connsiteY5-608" fmla="*/ 10000 h 10000"/>
              <a:gd name="connsiteX6-609" fmla="*/ 1049 w 10003"/>
              <a:gd name="connsiteY6-610" fmla="*/ 5603 h 10000"/>
              <a:gd name="connsiteX7-611" fmla="*/ 9429 w 10003"/>
              <a:gd name="connsiteY7-612" fmla="*/ 5695 h 10000"/>
              <a:gd name="connsiteX8-613" fmla="*/ 9979 w 10003"/>
              <a:gd name="connsiteY8-614" fmla="*/ 1351 h 10000"/>
              <a:gd name="connsiteX9-615" fmla="*/ 9979 w 10003"/>
              <a:gd name="connsiteY9-616" fmla="*/ 497 h 10000"/>
              <a:gd name="connsiteX10-617" fmla="*/ 9455 w 10003"/>
              <a:gd name="connsiteY10-618" fmla="*/ 4722 h 10000"/>
              <a:gd name="connsiteX0-619" fmla="*/ 9455 w 10003"/>
              <a:gd name="connsiteY0-620" fmla="*/ 4722 h 10000"/>
              <a:gd name="connsiteX1-621" fmla="*/ 1049 w 10003"/>
              <a:gd name="connsiteY1-622" fmla="*/ 4706 h 10000"/>
              <a:gd name="connsiteX2-623" fmla="*/ 524 w 10003"/>
              <a:gd name="connsiteY2-624" fmla="*/ 9149 h 10000"/>
              <a:gd name="connsiteX3-625" fmla="*/ 0 w 10003"/>
              <a:gd name="connsiteY3-626" fmla="*/ 4706 h 10000"/>
              <a:gd name="connsiteX4-627" fmla="*/ 0 w 10003"/>
              <a:gd name="connsiteY4-628" fmla="*/ 5603 h 10000"/>
              <a:gd name="connsiteX5-629" fmla="*/ 524 w 10003"/>
              <a:gd name="connsiteY5-630" fmla="*/ 10000 h 10000"/>
              <a:gd name="connsiteX6-631" fmla="*/ 1049 w 10003"/>
              <a:gd name="connsiteY6-632" fmla="*/ 5603 h 10000"/>
              <a:gd name="connsiteX7-633" fmla="*/ 9429 w 10003"/>
              <a:gd name="connsiteY7-634" fmla="*/ 5695 h 10000"/>
              <a:gd name="connsiteX8-635" fmla="*/ 9979 w 10003"/>
              <a:gd name="connsiteY8-636" fmla="*/ 1351 h 10000"/>
              <a:gd name="connsiteX9-637" fmla="*/ 9979 w 10003"/>
              <a:gd name="connsiteY9-638" fmla="*/ 497 h 10000"/>
              <a:gd name="connsiteX10-639" fmla="*/ 9455 w 10003"/>
              <a:gd name="connsiteY10-640" fmla="*/ 4722 h 10000"/>
              <a:gd name="connsiteX0-641" fmla="*/ 9455 w 9982"/>
              <a:gd name="connsiteY0-642" fmla="*/ 4722 h 10000"/>
              <a:gd name="connsiteX1-643" fmla="*/ 1049 w 9982"/>
              <a:gd name="connsiteY1-644" fmla="*/ 4706 h 10000"/>
              <a:gd name="connsiteX2-645" fmla="*/ 524 w 9982"/>
              <a:gd name="connsiteY2-646" fmla="*/ 9149 h 10000"/>
              <a:gd name="connsiteX3-647" fmla="*/ 0 w 9982"/>
              <a:gd name="connsiteY3-648" fmla="*/ 4706 h 10000"/>
              <a:gd name="connsiteX4-649" fmla="*/ 0 w 9982"/>
              <a:gd name="connsiteY4-650" fmla="*/ 5603 h 10000"/>
              <a:gd name="connsiteX5-651" fmla="*/ 524 w 9982"/>
              <a:gd name="connsiteY5-652" fmla="*/ 10000 h 10000"/>
              <a:gd name="connsiteX6-653" fmla="*/ 1049 w 9982"/>
              <a:gd name="connsiteY6-654" fmla="*/ 5603 h 10000"/>
              <a:gd name="connsiteX7-655" fmla="*/ 9429 w 9982"/>
              <a:gd name="connsiteY7-656" fmla="*/ 5695 h 10000"/>
              <a:gd name="connsiteX8-657" fmla="*/ 9979 w 9982"/>
              <a:gd name="connsiteY8-658" fmla="*/ 1351 h 10000"/>
              <a:gd name="connsiteX9-659" fmla="*/ 9979 w 9982"/>
              <a:gd name="connsiteY9-660" fmla="*/ 497 h 10000"/>
              <a:gd name="connsiteX10-661" fmla="*/ 9455 w 9982"/>
              <a:gd name="connsiteY10-662" fmla="*/ 4722 h 10000"/>
              <a:gd name="connsiteX0-663" fmla="*/ 9472 w 10005"/>
              <a:gd name="connsiteY0-664" fmla="*/ 4722 h 10000"/>
              <a:gd name="connsiteX1-665" fmla="*/ 1051 w 10005"/>
              <a:gd name="connsiteY1-666" fmla="*/ 4706 h 10000"/>
              <a:gd name="connsiteX2-667" fmla="*/ 525 w 10005"/>
              <a:gd name="connsiteY2-668" fmla="*/ 9149 h 10000"/>
              <a:gd name="connsiteX3-669" fmla="*/ 0 w 10005"/>
              <a:gd name="connsiteY3-670" fmla="*/ 4706 h 10000"/>
              <a:gd name="connsiteX4-671" fmla="*/ 0 w 10005"/>
              <a:gd name="connsiteY4-672" fmla="*/ 5603 h 10000"/>
              <a:gd name="connsiteX5-673" fmla="*/ 525 w 10005"/>
              <a:gd name="connsiteY5-674" fmla="*/ 10000 h 10000"/>
              <a:gd name="connsiteX6-675" fmla="*/ 1051 w 10005"/>
              <a:gd name="connsiteY6-676" fmla="*/ 5603 h 10000"/>
              <a:gd name="connsiteX7-677" fmla="*/ 9446 w 10005"/>
              <a:gd name="connsiteY7-678" fmla="*/ 5695 h 10000"/>
              <a:gd name="connsiteX8-679" fmla="*/ 9997 w 10005"/>
              <a:gd name="connsiteY8-680" fmla="*/ 1351 h 10000"/>
              <a:gd name="connsiteX9-681" fmla="*/ 9997 w 10005"/>
              <a:gd name="connsiteY9-682" fmla="*/ 497 h 10000"/>
              <a:gd name="connsiteX10-683" fmla="*/ 9472 w 10005"/>
              <a:gd name="connsiteY10-684" fmla="*/ 4722 h 10000"/>
              <a:gd name="connsiteX0-685" fmla="*/ 9472 w 9997"/>
              <a:gd name="connsiteY0-686" fmla="*/ 4722 h 10000"/>
              <a:gd name="connsiteX1-687" fmla="*/ 1051 w 9997"/>
              <a:gd name="connsiteY1-688" fmla="*/ 4706 h 10000"/>
              <a:gd name="connsiteX2-689" fmla="*/ 525 w 9997"/>
              <a:gd name="connsiteY2-690" fmla="*/ 9149 h 10000"/>
              <a:gd name="connsiteX3-691" fmla="*/ 0 w 9997"/>
              <a:gd name="connsiteY3-692" fmla="*/ 4706 h 10000"/>
              <a:gd name="connsiteX4-693" fmla="*/ 0 w 9997"/>
              <a:gd name="connsiteY4-694" fmla="*/ 5603 h 10000"/>
              <a:gd name="connsiteX5-695" fmla="*/ 525 w 9997"/>
              <a:gd name="connsiteY5-696" fmla="*/ 10000 h 10000"/>
              <a:gd name="connsiteX6-697" fmla="*/ 1051 w 9997"/>
              <a:gd name="connsiteY6-698" fmla="*/ 5603 h 10000"/>
              <a:gd name="connsiteX7-699" fmla="*/ 9446 w 9997"/>
              <a:gd name="connsiteY7-700" fmla="*/ 5695 h 10000"/>
              <a:gd name="connsiteX8-701" fmla="*/ 9942 w 9997"/>
              <a:gd name="connsiteY8-702" fmla="*/ 1985 h 10000"/>
              <a:gd name="connsiteX9-703" fmla="*/ 9997 w 9997"/>
              <a:gd name="connsiteY9-704" fmla="*/ 497 h 10000"/>
              <a:gd name="connsiteX10-705" fmla="*/ 9472 w 9997"/>
              <a:gd name="connsiteY10-706" fmla="*/ 4722 h 10000"/>
              <a:gd name="connsiteX0-707" fmla="*/ 9475 w 10008"/>
              <a:gd name="connsiteY0-708" fmla="*/ 4722 h 10000"/>
              <a:gd name="connsiteX1-709" fmla="*/ 1051 w 10008"/>
              <a:gd name="connsiteY1-710" fmla="*/ 4706 h 10000"/>
              <a:gd name="connsiteX2-711" fmla="*/ 525 w 10008"/>
              <a:gd name="connsiteY2-712" fmla="*/ 9149 h 10000"/>
              <a:gd name="connsiteX3-713" fmla="*/ 0 w 10008"/>
              <a:gd name="connsiteY3-714" fmla="*/ 4706 h 10000"/>
              <a:gd name="connsiteX4-715" fmla="*/ 0 w 10008"/>
              <a:gd name="connsiteY4-716" fmla="*/ 5603 h 10000"/>
              <a:gd name="connsiteX5-717" fmla="*/ 525 w 10008"/>
              <a:gd name="connsiteY5-718" fmla="*/ 10000 h 10000"/>
              <a:gd name="connsiteX6-719" fmla="*/ 1051 w 10008"/>
              <a:gd name="connsiteY6-720" fmla="*/ 5603 h 10000"/>
              <a:gd name="connsiteX7-721" fmla="*/ 9449 w 10008"/>
              <a:gd name="connsiteY7-722" fmla="*/ 5695 h 10000"/>
              <a:gd name="connsiteX8-723" fmla="*/ 10000 w 10008"/>
              <a:gd name="connsiteY8-724" fmla="*/ 1319 h 10000"/>
              <a:gd name="connsiteX9-725" fmla="*/ 10000 w 10008"/>
              <a:gd name="connsiteY9-726" fmla="*/ 497 h 10000"/>
              <a:gd name="connsiteX10-727" fmla="*/ 9475 w 10008"/>
              <a:gd name="connsiteY10-728" fmla="*/ 4722 h 10000"/>
              <a:gd name="connsiteX0-729" fmla="*/ 9475 w 10008"/>
              <a:gd name="connsiteY0-730" fmla="*/ 4722 h 10000"/>
              <a:gd name="connsiteX1-731" fmla="*/ 1051 w 10008"/>
              <a:gd name="connsiteY1-732" fmla="*/ 4706 h 10000"/>
              <a:gd name="connsiteX2-733" fmla="*/ 525 w 10008"/>
              <a:gd name="connsiteY2-734" fmla="*/ 9149 h 10000"/>
              <a:gd name="connsiteX3-735" fmla="*/ 0 w 10008"/>
              <a:gd name="connsiteY3-736" fmla="*/ 4706 h 10000"/>
              <a:gd name="connsiteX4-737" fmla="*/ 0 w 10008"/>
              <a:gd name="connsiteY4-738" fmla="*/ 5603 h 10000"/>
              <a:gd name="connsiteX5-739" fmla="*/ 525 w 10008"/>
              <a:gd name="connsiteY5-740" fmla="*/ 10000 h 10000"/>
              <a:gd name="connsiteX6-741" fmla="*/ 1051 w 10008"/>
              <a:gd name="connsiteY6-742" fmla="*/ 5603 h 10000"/>
              <a:gd name="connsiteX7-743" fmla="*/ 9449 w 10008"/>
              <a:gd name="connsiteY7-744" fmla="*/ 5695 h 10000"/>
              <a:gd name="connsiteX8-745" fmla="*/ 10000 w 10008"/>
              <a:gd name="connsiteY8-746" fmla="*/ 1224 h 10000"/>
              <a:gd name="connsiteX9-747" fmla="*/ 10000 w 10008"/>
              <a:gd name="connsiteY9-748" fmla="*/ 497 h 10000"/>
              <a:gd name="connsiteX10-749" fmla="*/ 9475 w 10008"/>
              <a:gd name="connsiteY10-750" fmla="*/ 4722 h 10000"/>
              <a:gd name="connsiteX0-751" fmla="*/ 9475 w 10008"/>
              <a:gd name="connsiteY0-752" fmla="*/ 4722 h 10000"/>
              <a:gd name="connsiteX1-753" fmla="*/ 1051 w 10008"/>
              <a:gd name="connsiteY1-754" fmla="*/ 4706 h 10000"/>
              <a:gd name="connsiteX2-755" fmla="*/ 525 w 10008"/>
              <a:gd name="connsiteY2-756" fmla="*/ 9149 h 10000"/>
              <a:gd name="connsiteX3-757" fmla="*/ 0 w 10008"/>
              <a:gd name="connsiteY3-758" fmla="*/ 4706 h 10000"/>
              <a:gd name="connsiteX4-759" fmla="*/ 0 w 10008"/>
              <a:gd name="connsiteY4-760" fmla="*/ 5603 h 10000"/>
              <a:gd name="connsiteX5-761" fmla="*/ 525 w 10008"/>
              <a:gd name="connsiteY5-762" fmla="*/ 10000 h 10000"/>
              <a:gd name="connsiteX6-763" fmla="*/ 1051 w 10008"/>
              <a:gd name="connsiteY6-764" fmla="*/ 5603 h 10000"/>
              <a:gd name="connsiteX7-765" fmla="*/ 9449 w 10008"/>
              <a:gd name="connsiteY7-766" fmla="*/ 5695 h 10000"/>
              <a:gd name="connsiteX8-767" fmla="*/ 10000 w 10008"/>
              <a:gd name="connsiteY8-768" fmla="*/ 1224 h 10000"/>
              <a:gd name="connsiteX9-769" fmla="*/ 10000 w 10008"/>
              <a:gd name="connsiteY9-770" fmla="*/ 497 h 10000"/>
              <a:gd name="connsiteX10-771" fmla="*/ 9475 w 10008"/>
              <a:gd name="connsiteY10-772" fmla="*/ 4722 h 10000"/>
              <a:gd name="connsiteX0-773" fmla="*/ 9475 w 10008"/>
              <a:gd name="connsiteY0-774" fmla="*/ 4722 h 10000"/>
              <a:gd name="connsiteX1-775" fmla="*/ 1051 w 10008"/>
              <a:gd name="connsiteY1-776" fmla="*/ 4706 h 10000"/>
              <a:gd name="connsiteX2-777" fmla="*/ 525 w 10008"/>
              <a:gd name="connsiteY2-778" fmla="*/ 9149 h 10000"/>
              <a:gd name="connsiteX3-779" fmla="*/ 0 w 10008"/>
              <a:gd name="connsiteY3-780" fmla="*/ 4706 h 10000"/>
              <a:gd name="connsiteX4-781" fmla="*/ 0 w 10008"/>
              <a:gd name="connsiteY4-782" fmla="*/ 5603 h 10000"/>
              <a:gd name="connsiteX5-783" fmla="*/ 525 w 10008"/>
              <a:gd name="connsiteY5-784" fmla="*/ 10000 h 10000"/>
              <a:gd name="connsiteX6-785" fmla="*/ 1051 w 10008"/>
              <a:gd name="connsiteY6-786" fmla="*/ 5603 h 10000"/>
              <a:gd name="connsiteX7-787" fmla="*/ 9449 w 10008"/>
              <a:gd name="connsiteY7-788" fmla="*/ 5695 h 10000"/>
              <a:gd name="connsiteX8-789" fmla="*/ 10000 w 10008"/>
              <a:gd name="connsiteY8-790" fmla="*/ 1224 h 10000"/>
              <a:gd name="connsiteX9-791" fmla="*/ 10000 w 10008"/>
              <a:gd name="connsiteY9-792" fmla="*/ 497 h 10000"/>
              <a:gd name="connsiteX10-793" fmla="*/ 9475 w 10008"/>
              <a:gd name="connsiteY10-794" fmla="*/ 4722 h 10000"/>
              <a:gd name="connsiteX0-795" fmla="*/ 9475 w 10008"/>
              <a:gd name="connsiteY0-796" fmla="*/ 4722 h 10000"/>
              <a:gd name="connsiteX1-797" fmla="*/ 1051 w 10008"/>
              <a:gd name="connsiteY1-798" fmla="*/ 4706 h 10000"/>
              <a:gd name="connsiteX2-799" fmla="*/ 525 w 10008"/>
              <a:gd name="connsiteY2-800" fmla="*/ 9149 h 10000"/>
              <a:gd name="connsiteX3-801" fmla="*/ 0 w 10008"/>
              <a:gd name="connsiteY3-802" fmla="*/ 4706 h 10000"/>
              <a:gd name="connsiteX4-803" fmla="*/ 0 w 10008"/>
              <a:gd name="connsiteY4-804" fmla="*/ 5603 h 10000"/>
              <a:gd name="connsiteX5-805" fmla="*/ 525 w 10008"/>
              <a:gd name="connsiteY5-806" fmla="*/ 10000 h 10000"/>
              <a:gd name="connsiteX6-807" fmla="*/ 1051 w 10008"/>
              <a:gd name="connsiteY6-808" fmla="*/ 5603 h 10000"/>
              <a:gd name="connsiteX7-809" fmla="*/ 9449 w 10008"/>
              <a:gd name="connsiteY7-810" fmla="*/ 5695 h 10000"/>
              <a:gd name="connsiteX8-811" fmla="*/ 10000 w 10008"/>
              <a:gd name="connsiteY8-812" fmla="*/ 1224 h 10000"/>
              <a:gd name="connsiteX9-813" fmla="*/ 10000 w 10008"/>
              <a:gd name="connsiteY9-814" fmla="*/ 497 h 10000"/>
              <a:gd name="connsiteX10-815" fmla="*/ 9475 w 10008"/>
              <a:gd name="connsiteY10-816" fmla="*/ 4722 h 10000"/>
              <a:gd name="connsiteX0-817" fmla="*/ 9475 w 10008"/>
              <a:gd name="connsiteY0-818" fmla="*/ 4722 h 10000"/>
              <a:gd name="connsiteX1-819" fmla="*/ 1051 w 10008"/>
              <a:gd name="connsiteY1-820" fmla="*/ 4706 h 10000"/>
              <a:gd name="connsiteX2-821" fmla="*/ 525 w 10008"/>
              <a:gd name="connsiteY2-822" fmla="*/ 9149 h 10000"/>
              <a:gd name="connsiteX3-823" fmla="*/ 0 w 10008"/>
              <a:gd name="connsiteY3-824" fmla="*/ 4706 h 10000"/>
              <a:gd name="connsiteX4-825" fmla="*/ 0 w 10008"/>
              <a:gd name="connsiteY4-826" fmla="*/ 5603 h 10000"/>
              <a:gd name="connsiteX5-827" fmla="*/ 525 w 10008"/>
              <a:gd name="connsiteY5-828" fmla="*/ 10000 h 10000"/>
              <a:gd name="connsiteX6-829" fmla="*/ 1051 w 10008"/>
              <a:gd name="connsiteY6-830" fmla="*/ 5603 h 10000"/>
              <a:gd name="connsiteX7-831" fmla="*/ 9449 w 10008"/>
              <a:gd name="connsiteY7-832" fmla="*/ 5695 h 10000"/>
              <a:gd name="connsiteX8-833" fmla="*/ 10000 w 10008"/>
              <a:gd name="connsiteY8-834" fmla="*/ 1224 h 10000"/>
              <a:gd name="connsiteX9-835" fmla="*/ 10000 w 10008"/>
              <a:gd name="connsiteY9-836" fmla="*/ 497 h 10000"/>
              <a:gd name="connsiteX10-837" fmla="*/ 9475 w 10008"/>
              <a:gd name="connsiteY10-838" fmla="*/ 4722 h 10000"/>
              <a:gd name="connsiteX0-839" fmla="*/ 9475 w 10008"/>
              <a:gd name="connsiteY0-840" fmla="*/ 4722 h 10000"/>
              <a:gd name="connsiteX1-841" fmla="*/ 1051 w 10008"/>
              <a:gd name="connsiteY1-842" fmla="*/ 4706 h 10000"/>
              <a:gd name="connsiteX2-843" fmla="*/ 525 w 10008"/>
              <a:gd name="connsiteY2-844" fmla="*/ 9149 h 10000"/>
              <a:gd name="connsiteX3-845" fmla="*/ 0 w 10008"/>
              <a:gd name="connsiteY3-846" fmla="*/ 4706 h 10000"/>
              <a:gd name="connsiteX4-847" fmla="*/ 0 w 10008"/>
              <a:gd name="connsiteY4-848" fmla="*/ 5603 h 10000"/>
              <a:gd name="connsiteX5-849" fmla="*/ 525 w 10008"/>
              <a:gd name="connsiteY5-850" fmla="*/ 10000 h 10000"/>
              <a:gd name="connsiteX6-851" fmla="*/ 1051 w 10008"/>
              <a:gd name="connsiteY6-852" fmla="*/ 5603 h 10000"/>
              <a:gd name="connsiteX7-853" fmla="*/ 9449 w 10008"/>
              <a:gd name="connsiteY7-854" fmla="*/ 5695 h 10000"/>
              <a:gd name="connsiteX8-855" fmla="*/ 10000 w 10008"/>
              <a:gd name="connsiteY8-856" fmla="*/ 1224 h 10000"/>
              <a:gd name="connsiteX9-857" fmla="*/ 10000 w 10008"/>
              <a:gd name="connsiteY9-858" fmla="*/ 497 h 10000"/>
              <a:gd name="connsiteX10-859" fmla="*/ 9475 w 10008"/>
              <a:gd name="connsiteY10-860" fmla="*/ 4722 h 10000"/>
              <a:gd name="connsiteX0-861" fmla="*/ 9475 w 10008"/>
              <a:gd name="connsiteY0-862" fmla="*/ 4722 h 10000"/>
              <a:gd name="connsiteX1-863" fmla="*/ 1051 w 10008"/>
              <a:gd name="connsiteY1-864" fmla="*/ 4706 h 10000"/>
              <a:gd name="connsiteX2-865" fmla="*/ 525 w 10008"/>
              <a:gd name="connsiteY2-866" fmla="*/ 9149 h 10000"/>
              <a:gd name="connsiteX3-867" fmla="*/ 0 w 10008"/>
              <a:gd name="connsiteY3-868" fmla="*/ 4706 h 10000"/>
              <a:gd name="connsiteX4-869" fmla="*/ 0 w 10008"/>
              <a:gd name="connsiteY4-870" fmla="*/ 5603 h 10000"/>
              <a:gd name="connsiteX5-871" fmla="*/ 525 w 10008"/>
              <a:gd name="connsiteY5-872" fmla="*/ 10000 h 10000"/>
              <a:gd name="connsiteX6-873" fmla="*/ 1051 w 10008"/>
              <a:gd name="connsiteY6-874" fmla="*/ 5603 h 10000"/>
              <a:gd name="connsiteX7-875" fmla="*/ 9449 w 10008"/>
              <a:gd name="connsiteY7-876" fmla="*/ 5695 h 10000"/>
              <a:gd name="connsiteX8-877" fmla="*/ 10000 w 10008"/>
              <a:gd name="connsiteY8-878" fmla="*/ 1224 h 10000"/>
              <a:gd name="connsiteX9-879" fmla="*/ 10000 w 10008"/>
              <a:gd name="connsiteY9-880" fmla="*/ 497 h 10000"/>
              <a:gd name="connsiteX10-881" fmla="*/ 9475 w 10008"/>
              <a:gd name="connsiteY10-882" fmla="*/ 4722 h 100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  <a:cxn ang="0">
                <a:pos x="connsiteX9-19" y="connsiteY9-20"/>
              </a:cxn>
              <a:cxn ang="0">
                <a:pos x="connsiteX10-21" y="connsiteY10-22"/>
              </a:cxn>
            </a:cxnLst>
            <a:rect l="l" t="t" r="r" b="b"/>
            <a:pathLst>
              <a:path w="10008" h="10000">
                <a:moveTo>
                  <a:pt x="9475" y="4722"/>
                </a:moveTo>
                <a:lnTo>
                  <a:pt x="1051" y="4706"/>
                </a:lnTo>
                <a:cubicBezTo>
                  <a:pt x="636" y="4706"/>
                  <a:pt x="525" y="9149"/>
                  <a:pt x="525" y="9149"/>
                </a:cubicBezTo>
                <a:cubicBezTo>
                  <a:pt x="525" y="9149"/>
                  <a:pt x="415" y="4706"/>
                  <a:pt x="0" y="4706"/>
                </a:cubicBezTo>
                <a:lnTo>
                  <a:pt x="0" y="5603"/>
                </a:lnTo>
                <a:cubicBezTo>
                  <a:pt x="415" y="5603"/>
                  <a:pt x="525" y="10000"/>
                  <a:pt x="525" y="10000"/>
                </a:cubicBezTo>
                <a:cubicBezTo>
                  <a:pt x="525" y="10000"/>
                  <a:pt x="636" y="5603"/>
                  <a:pt x="1051" y="5603"/>
                </a:cubicBezTo>
                <a:lnTo>
                  <a:pt x="9449" y="5695"/>
                </a:lnTo>
                <a:cubicBezTo>
                  <a:pt x="9827" y="5410"/>
                  <a:pt x="9934" y="2946"/>
                  <a:pt x="10000" y="1224"/>
                </a:cubicBezTo>
                <a:cubicBezTo>
                  <a:pt x="10008" y="1086"/>
                  <a:pt x="10001" y="0"/>
                  <a:pt x="10000" y="497"/>
                </a:cubicBezTo>
                <a:cubicBezTo>
                  <a:pt x="9937" y="1770"/>
                  <a:pt x="9819" y="4623"/>
                  <a:pt x="9475" y="4722"/>
                </a:cubicBezTo>
                <a:close/>
              </a:path>
            </a:pathLst>
          </a:custGeom>
          <a:solidFill>
            <a:srgbClr val="D5D30F"/>
          </a:solidFill>
          <a:ln w="9525">
            <a:noFill/>
            <a:rou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4078" tIns="47039" rIns="94078" bIns="47039"/>
          <a:lstStyle/>
          <a:p>
            <a:pPr defTabSz="863600">
              <a:defRPr/>
            </a:pPr>
            <a:endParaRPr lang="fr-FR" sz="1700" kern="0">
              <a:solidFill>
                <a:sysClr val="windowText" lastClr="000000"/>
              </a:solidFill>
              <a:latin typeface="Arial" panose="020B0604020202090204" pitchFamily="34" charset="0"/>
              <a:ea typeface="MS PGothic" pitchFamily="34" charset="-128"/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0" y="6018163"/>
            <a:ext cx="11522075" cy="0"/>
          </a:xfrm>
          <a:prstGeom prst="line">
            <a:avLst/>
          </a:prstGeom>
          <a:ln w="6350" cap="flat" cmpd="sng" algn="ctr">
            <a:solidFill>
              <a:srgbClr val="D5D30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51" name="Picture 12" descr="Capgemini_logo_slides.jpg"/>
          <p:cNvPicPr>
            <a:picLocks noChangeAspect="1"/>
          </p:cNvPicPr>
          <p:nvPr userDrawn="1"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402074" y="6117166"/>
            <a:ext cx="1740313" cy="303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13"/>
          <p:cNvSpPr/>
          <p:nvPr userDrawn="1"/>
        </p:nvSpPr>
        <p:spPr>
          <a:xfrm>
            <a:off x="2958534" y="6184668"/>
            <a:ext cx="5949071" cy="23550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431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60" dirty="0">
                <a:solidFill>
                  <a:prstClr val="black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The information contained in this document is proprietary and confidential. </a:t>
            </a:r>
            <a:br>
              <a:rPr lang="en-US" sz="660" dirty="0">
                <a:solidFill>
                  <a:prstClr val="black"/>
                </a:solidFill>
                <a:latin typeface="Arial" panose="020B0604020202090204" pitchFamily="34" charset="0"/>
                <a:cs typeface="Arial" panose="020B0604020202090204" pitchFamily="34" charset="0"/>
              </a:rPr>
            </a:br>
            <a:r>
              <a:rPr lang="en-US" sz="660" dirty="0">
                <a:solidFill>
                  <a:prstClr val="black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It is for Capgemini </a:t>
            </a:r>
            <a:r>
              <a:rPr lang="en-US" sz="660">
                <a:solidFill>
                  <a:prstClr val="black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internal use </a:t>
            </a:r>
            <a:r>
              <a:rPr lang="en-US" sz="660" dirty="0">
                <a:solidFill>
                  <a:prstClr val="black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only. Copyright© 2015 Capgemini. All rights reserved.</a:t>
            </a:r>
            <a:endParaRPr lang="en-GB" sz="660" dirty="0">
              <a:solidFill>
                <a:prstClr val="black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pic>
        <p:nvPicPr>
          <p:cNvPr id="11" name="Picture 10" descr="CAF_logo_color.jpg"/>
          <p:cNvPicPr>
            <a:picLocks noChangeAspect="1"/>
          </p:cNvPicPr>
          <p:nvPr userDrawn="1"/>
        </p:nvPicPr>
        <p:blipFill>
          <a:blip r:embed="rId14" cstate="print"/>
          <a:stretch>
            <a:fillRect/>
          </a:stretch>
        </p:blipFill>
        <p:spPr>
          <a:xfrm>
            <a:off x="9790206" y="117823"/>
            <a:ext cx="1464068" cy="432011"/>
          </a:xfrm>
          <a:prstGeom prst="rect">
            <a:avLst/>
          </a:prstGeom>
        </p:spPr>
      </p:pic>
      <p:pic>
        <p:nvPicPr>
          <p:cNvPr id="13" name="Picture 12" descr="Tagline01a.png"/>
          <p:cNvPicPr>
            <a:picLocks noChangeAspect="1"/>
          </p:cNvPicPr>
          <p:nvPr userDrawn="1"/>
        </p:nvPicPr>
        <p:blipFill>
          <a:blip r:embed="rId15" cstate="print"/>
          <a:stretch>
            <a:fillRect/>
          </a:stretch>
        </p:blipFill>
        <p:spPr>
          <a:xfrm>
            <a:off x="9754485" y="586203"/>
            <a:ext cx="1623564" cy="22617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9" r:id="rId2"/>
    <p:sldLayoutId id="2147483830" r:id="rId3"/>
    <p:sldLayoutId id="2147483831" r:id="rId4"/>
    <p:sldLayoutId id="2147483832" r:id="rId5"/>
    <p:sldLayoutId id="2147483833" r:id="rId6"/>
    <p:sldLayoutId id="2147483834" r:id="rId7"/>
    <p:sldLayoutId id="2147483835" r:id="rId8"/>
    <p:sldLayoutId id="2147483836" r:id="rId9"/>
    <p:sldLayoutId id="2147483837" r:id="rId10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35">
          <a:solidFill>
            <a:srgbClr val="595959"/>
          </a:solidFill>
          <a:latin typeface="Arial" panose="020B0604020202090204" pitchFamily="34" charset="0"/>
          <a:cs typeface="Arial" panose="020B0604020202090204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35">
          <a:solidFill>
            <a:srgbClr val="595959"/>
          </a:solidFill>
          <a:latin typeface="Arial" panose="020B0604020202090204" pitchFamily="34" charset="0"/>
          <a:cs typeface="Arial" panose="020B060402020209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35">
          <a:solidFill>
            <a:srgbClr val="595959"/>
          </a:solidFill>
          <a:latin typeface="Arial" panose="020B0604020202090204" pitchFamily="34" charset="0"/>
          <a:cs typeface="Arial" panose="020B060402020209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35">
          <a:solidFill>
            <a:srgbClr val="595959"/>
          </a:solidFill>
          <a:latin typeface="Arial" panose="020B0604020202090204" pitchFamily="34" charset="0"/>
          <a:cs typeface="Arial" panose="020B060402020209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35">
          <a:solidFill>
            <a:srgbClr val="595959"/>
          </a:solidFill>
          <a:latin typeface="Arial" panose="020B0604020202090204" pitchFamily="34" charset="0"/>
          <a:cs typeface="Arial" panose="020B0604020202090204" pitchFamily="34" charset="0"/>
        </a:defRPr>
      </a:lvl5pPr>
      <a:lvl6pPr marL="431800" algn="ctr" rtl="0" eaLnBrk="0" fontAlgn="base" hangingPunct="0">
        <a:spcBef>
          <a:spcPct val="0"/>
        </a:spcBef>
        <a:spcAft>
          <a:spcPct val="0"/>
        </a:spcAft>
        <a:defRPr sz="2835">
          <a:solidFill>
            <a:srgbClr val="595959"/>
          </a:solidFill>
          <a:latin typeface="Arial" panose="020B0604020202090204" pitchFamily="34" charset="0"/>
          <a:cs typeface="Arial" panose="020B0604020202090204" pitchFamily="34" charset="0"/>
        </a:defRPr>
      </a:lvl6pPr>
      <a:lvl7pPr marL="864235" algn="ctr" rtl="0" eaLnBrk="0" fontAlgn="base" hangingPunct="0">
        <a:spcBef>
          <a:spcPct val="0"/>
        </a:spcBef>
        <a:spcAft>
          <a:spcPct val="0"/>
        </a:spcAft>
        <a:defRPr sz="2835">
          <a:solidFill>
            <a:srgbClr val="595959"/>
          </a:solidFill>
          <a:latin typeface="Arial" panose="020B0604020202090204" pitchFamily="34" charset="0"/>
          <a:cs typeface="Arial" panose="020B0604020202090204" pitchFamily="34" charset="0"/>
        </a:defRPr>
      </a:lvl7pPr>
      <a:lvl8pPr marL="1296035" algn="ctr" rtl="0" eaLnBrk="0" fontAlgn="base" hangingPunct="0">
        <a:spcBef>
          <a:spcPct val="0"/>
        </a:spcBef>
        <a:spcAft>
          <a:spcPct val="0"/>
        </a:spcAft>
        <a:defRPr sz="2835">
          <a:solidFill>
            <a:srgbClr val="595959"/>
          </a:solidFill>
          <a:latin typeface="Arial" panose="020B0604020202090204" pitchFamily="34" charset="0"/>
          <a:cs typeface="Arial" panose="020B0604020202090204" pitchFamily="34" charset="0"/>
        </a:defRPr>
      </a:lvl8pPr>
      <a:lvl9pPr marL="1727835" algn="ctr" rtl="0" eaLnBrk="0" fontAlgn="base" hangingPunct="0">
        <a:spcBef>
          <a:spcPct val="0"/>
        </a:spcBef>
        <a:spcAft>
          <a:spcPct val="0"/>
        </a:spcAft>
        <a:defRPr sz="2835">
          <a:solidFill>
            <a:srgbClr val="595959"/>
          </a:solidFill>
          <a:latin typeface="Arial" panose="020B0604020202090204" pitchFamily="34" charset="0"/>
          <a:cs typeface="Arial" panose="020B0604020202090204" pitchFamily="34" charset="0"/>
        </a:defRPr>
      </a:lvl9pPr>
    </p:titleStyle>
    <p:bodyStyle>
      <a:lvl1pPr marL="323850" indent="-323850" algn="l" rtl="0" eaLnBrk="0" fontAlgn="base" hangingPunct="0">
        <a:spcBef>
          <a:spcPct val="20000"/>
        </a:spcBef>
        <a:spcAft>
          <a:spcPct val="0"/>
        </a:spcAft>
        <a:buChar char="•"/>
        <a:defRPr sz="3025">
          <a:solidFill>
            <a:schemeClr val="tx1"/>
          </a:solidFill>
          <a:latin typeface="Arial" panose="020B0604020202090204" pitchFamily="34" charset="0"/>
        </a:defRPr>
      </a:lvl1pPr>
      <a:lvl2pPr marL="702310" indent="-269875" algn="l" rtl="0" eaLnBrk="0" fontAlgn="base" hangingPunct="0">
        <a:spcBef>
          <a:spcPct val="20000"/>
        </a:spcBef>
        <a:spcAft>
          <a:spcPct val="0"/>
        </a:spcAft>
        <a:buChar char="–"/>
        <a:defRPr sz="2645">
          <a:solidFill>
            <a:schemeClr val="tx1"/>
          </a:solidFill>
          <a:latin typeface="Arial" panose="020B0604020202090204" pitchFamily="34" charset="0"/>
        </a:defRPr>
      </a:lvl2pPr>
      <a:lvl3pPr marL="1080135" indent="-215900" algn="l" rtl="0" eaLnBrk="0" fontAlgn="base" hangingPunct="0">
        <a:spcBef>
          <a:spcPct val="20000"/>
        </a:spcBef>
        <a:spcAft>
          <a:spcPct val="0"/>
        </a:spcAft>
        <a:buChar char="•"/>
        <a:defRPr sz="2270">
          <a:solidFill>
            <a:schemeClr val="tx1"/>
          </a:solidFill>
          <a:latin typeface="Arial" panose="020B0604020202090204" pitchFamily="34" charset="0"/>
        </a:defRPr>
      </a:lvl3pPr>
      <a:lvl4pPr marL="1511935" indent="-215900" algn="l" rtl="0" eaLnBrk="0" fontAlgn="base" hangingPunct="0">
        <a:spcBef>
          <a:spcPct val="20000"/>
        </a:spcBef>
        <a:spcAft>
          <a:spcPct val="0"/>
        </a:spcAft>
        <a:buChar char="–"/>
        <a:defRPr sz="1890">
          <a:solidFill>
            <a:schemeClr val="tx1"/>
          </a:solidFill>
          <a:latin typeface="Arial" panose="020B0604020202090204" pitchFamily="34" charset="0"/>
        </a:defRPr>
      </a:lvl4pPr>
      <a:lvl5pPr marL="1943735" indent="-215900" algn="l" rtl="0" eaLnBrk="0" fontAlgn="base" hangingPunct="0">
        <a:spcBef>
          <a:spcPct val="20000"/>
        </a:spcBef>
        <a:spcAft>
          <a:spcPct val="0"/>
        </a:spcAft>
        <a:buChar char="»"/>
        <a:defRPr sz="1890">
          <a:solidFill>
            <a:schemeClr val="tx1"/>
          </a:solidFill>
          <a:latin typeface="Arial" panose="020B0604020202090204" pitchFamily="34" charset="0"/>
        </a:defRPr>
      </a:lvl5pPr>
      <a:lvl6pPr marL="2376170" indent="-215900" algn="l" rtl="0" eaLnBrk="0" fontAlgn="base" hangingPunct="0">
        <a:spcBef>
          <a:spcPct val="20000"/>
        </a:spcBef>
        <a:spcAft>
          <a:spcPct val="0"/>
        </a:spcAft>
        <a:buChar char="»"/>
        <a:defRPr sz="1890">
          <a:solidFill>
            <a:schemeClr val="tx1"/>
          </a:solidFill>
          <a:latin typeface="Arial" panose="020B0604020202090204" pitchFamily="34" charset="0"/>
        </a:defRPr>
      </a:lvl6pPr>
      <a:lvl7pPr marL="2807970" indent="-215900" algn="l" rtl="0" eaLnBrk="0" fontAlgn="base" hangingPunct="0">
        <a:spcBef>
          <a:spcPct val="20000"/>
        </a:spcBef>
        <a:spcAft>
          <a:spcPct val="0"/>
        </a:spcAft>
        <a:buChar char="»"/>
        <a:defRPr sz="1890">
          <a:solidFill>
            <a:schemeClr val="tx1"/>
          </a:solidFill>
          <a:latin typeface="Arial" panose="020B0604020202090204" pitchFamily="34" charset="0"/>
        </a:defRPr>
      </a:lvl7pPr>
      <a:lvl8pPr marL="3239770" indent="-215900" algn="l" rtl="0" eaLnBrk="0" fontAlgn="base" hangingPunct="0">
        <a:spcBef>
          <a:spcPct val="20000"/>
        </a:spcBef>
        <a:spcAft>
          <a:spcPct val="0"/>
        </a:spcAft>
        <a:buChar char="»"/>
        <a:defRPr sz="1890">
          <a:solidFill>
            <a:schemeClr val="tx1"/>
          </a:solidFill>
          <a:latin typeface="Arial" panose="020B0604020202090204" pitchFamily="34" charset="0"/>
        </a:defRPr>
      </a:lvl8pPr>
      <a:lvl9pPr marL="3672205" indent="-215900" algn="l" rtl="0" eaLnBrk="0" fontAlgn="base" hangingPunct="0">
        <a:spcBef>
          <a:spcPct val="20000"/>
        </a:spcBef>
        <a:spcAft>
          <a:spcPct val="0"/>
        </a:spcAft>
        <a:buChar char="»"/>
        <a:defRPr sz="1890">
          <a:solidFill>
            <a:schemeClr val="tx1"/>
          </a:solidFill>
          <a:latin typeface="Arial" panose="020B0604020202090204" pitchFamily="34" charset="0"/>
        </a:defRPr>
      </a:lvl9pPr>
    </p:bodyStyle>
    <p:otherStyle/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le Placeholder 1"/>
          <p:cNvSpPr>
            <a:spLocks noGrp="1"/>
          </p:cNvSpPr>
          <p:nvPr>
            <p:ph type="title"/>
          </p:nvPr>
        </p:nvSpPr>
        <p:spPr bwMode="auto">
          <a:xfrm>
            <a:off x="242045" y="127504"/>
            <a:ext cx="9505166" cy="67651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0" name="Freeform 4"/>
          <p:cNvSpPr/>
          <p:nvPr userDrawn="1">
            <p:custDataLst>
              <p:tags r:id="rId12"/>
            </p:custDataLst>
          </p:nvPr>
        </p:nvSpPr>
        <p:spPr bwMode="auto">
          <a:xfrm>
            <a:off x="0" y="544516"/>
            <a:ext cx="11532077" cy="711019"/>
          </a:xfrm>
          <a:custGeom>
            <a:avLst/>
            <a:gdLst>
              <a:gd name="connsiteX0" fmla="*/ 9509 w 10000"/>
              <a:gd name="connsiteY0" fmla="*/ 4537 h 10000"/>
              <a:gd name="connsiteX1" fmla="*/ 972 w 10000"/>
              <a:gd name="connsiteY1" fmla="*/ 4537 h 10000"/>
              <a:gd name="connsiteX2" fmla="*/ 484 w 10000"/>
              <a:gd name="connsiteY2" fmla="*/ 9122 h 10000"/>
              <a:gd name="connsiteX3" fmla="*/ 0 w 10000"/>
              <a:gd name="connsiteY3" fmla="*/ 4537 h 10000"/>
              <a:gd name="connsiteX4" fmla="*/ 0 w 10000"/>
              <a:gd name="connsiteY4" fmla="*/ 5463 h 10000"/>
              <a:gd name="connsiteX5" fmla="*/ 484 w 10000"/>
              <a:gd name="connsiteY5" fmla="*/ 10000 h 10000"/>
              <a:gd name="connsiteX6" fmla="*/ 972 w 10000"/>
              <a:gd name="connsiteY6" fmla="*/ 5463 h 10000"/>
              <a:gd name="connsiteX7" fmla="*/ 8912 w 10000"/>
              <a:gd name="connsiteY7" fmla="*/ 5514 h 10000"/>
              <a:gd name="connsiteX8" fmla="*/ 10000 w 10000"/>
              <a:gd name="connsiteY8" fmla="*/ 927 h 10000"/>
              <a:gd name="connsiteX9" fmla="*/ 10000 w 10000"/>
              <a:gd name="connsiteY9" fmla="*/ 0 h 10000"/>
              <a:gd name="connsiteX10" fmla="*/ 9509 w 10000"/>
              <a:gd name="connsiteY10" fmla="*/ 4537 h 10000"/>
              <a:gd name="connsiteX0-1" fmla="*/ 8912 w 10000"/>
              <a:gd name="connsiteY0-2" fmla="*/ 4577 h 10000"/>
              <a:gd name="connsiteX1-3" fmla="*/ 972 w 10000"/>
              <a:gd name="connsiteY1-4" fmla="*/ 4537 h 10000"/>
              <a:gd name="connsiteX2-5" fmla="*/ 484 w 10000"/>
              <a:gd name="connsiteY2-6" fmla="*/ 9122 h 10000"/>
              <a:gd name="connsiteX3-7" fmla="*/ 0 w 10000"/>
              <a:gd name="connsiteY3-8" fmla="*/ 4537 h 10000"/>
              <a:gd name="connsiteX4-9" fmla="*/ 0 w 10000"/>
              <a:gd name="connsiteY4-10" fmla="*/ 5463 h 10000"/>
              <a:gd name="connsiteX5-11" fmla="*/ 484 w 10000"/>
              <a:gd name="connsiteY5-12" fmla="*/ 10000 h 10000"/>
              <a:gd name="connsiteX6-13" fmla="*/ 972 w 10000"/>
              <a:gd name="connsiteY6-14" fmla="*/ 5463 h 10000"/>
              <a:gd name="connsiteX7-15" fmla="*/ 8912 w 10000"/>
              <a:gd name="connsiteY7-16" fmla="*/ 5514 h 10000"/>
              <a:gd name="connsiteX8-17" fmla="*/ 10000 w 10000"/>
              <a:gd name="connsiteY8-18" fmla="*/ 927 h 10000"/>
              <a:gd name="connsiteX9-19" fmla="*/ 10000 w 10000"/>
              <a:gd name="connsiteY9-20" fmla="*/ 0 h 10000"/>
              <a:gd name="connsiteX10-21" fmla="*/ 8912 w 10000"/>
              <a:gd name="connsiteY10-22" fmla="*/ 4577 h 10000"/>
              <a:gd name="connsiteX0-23" fmla="*/ 8912 w 10000"/>
              <a:gd name="connsiteY0-24" fmla="*/ 4383 h 9806"/>
              <a:gd name="connsiteX1-25" fmla="*/ 972 w 10000"/>
              <a:gd name="connsiteY1-26" fmla="*/ 4343 h 9806"/>
              <a:gd name="connsiteX2-27" fmla="*/ 484 w 10000"/>
              <a:gd name="connsiteY2-28" fmla="*/ 8928 h 9806"/>
              <a:gd name="connsiteX3-29" fmla="*/ 0 w 10000"/>
              <a:gd name="connsiteY3-30" fmla="*/ 4343 h 9806"/>
              <a:gd name="connsiteX4-31" fmla="*/ 0 w 10000"/>
              <a:gd name="connsiteY4-32" fmla="*/ 5269 h 9806"/>
              <a:gd name="connsiteX5-33" fmla="*/ 484 w 10000"/>
              <a:gd name="connsiteY5-34" fmla="*/ 9806 h 9806"/>
              <a:gd name="connsiteX6-35" fmla="*/ 972 w 10000"/>
              <a:gd name="connsiteY6-36" fmla="*/ 5269 h 9806"/>
              <a:gd name="connsiteX7-37" fmla="*/ 8912 w 10000"/>
              <a:gd name="connsiteY7-38" fmla="*/ 5320 h 9806"/>
              <a:gd name="connsiteX8-39" fmla="*/ 10000 w 10000"/>
              <a:gd name="connsiteY8-40" fmla="*/ 733 h 9806"/>
              <a:gd name="connsiteX9-41" fmla="*/ 9231 w 10000"/>
              <a:gd name="connsiteY9-42" fmla="*/ 0 h 9806"/>
              <a:gd name="connsiteX10-43" fmla="*/ 8912 w 10000"/>
              <a:gd name="connsiteY10-44" fmla="*/ 4383 h 9806"/>
              <a:gd name="connsiteX0-45" fmla="*/ 8912 w 9297"/>
              <a:gd name="connsiteY0-46" fmla="*/ 4470 h 10000"/>
              <a:gd name="connsiteX1-47" fmla="*/ 972 w 9297"/>
              <a:gd name="connsiteY1-48" fmla="*/ 4429 h 10000"/>
              <a:gd name="connsiteX2-49" fmla="*/ 484 w 9297"/>
              <a:gd name="connsiteY2-50" fmla="*/ 9105 h 10000"/>
              <a:gd name="connsiteX3-51" fmla="*/ 0 w 9297"/>
              <a:gd name="connsiteY3-52" fmla="*/ 4429 h 10000"/>
              <a:gd name="connsiteX4-53" fmla="*/ 0 w 9297"/>
              <a:gd name="connsiteY4-54" fmla="*/ 5373 h 10000"/>
              <a:gd name="connsiteX5-55" fmla="*/ 484 w 9297"/>
              <a:gd name="connsiteY5-56" fmla="*/ 10000 h 10000"/>
              <a:gd name="connsiteX6-57" fmla="*/ 972 w 9297"/>
              <a:gd name="connsiteY6-58" fmla="*/ 5373 h 10000"/>
              <a:gd name="connsiteX7-59" fmla="*/ 8912 w 9297"/>
              <a:gd name="connsiteY7-60" fmla="*/ 5425 h 10000"/>
              <a:gd name="connsiteX8-61" fmla="*/ 9231 w 9297"/>
              <a:gd name="connsiteY8-62" fmla="*/ 1642 h 10000"/>
              <a:gd name="connsiteX9-63" fmla="*/ 9231 w 9297"/>
              <a:gd name="connsiteY9-64" fmla="*/ 0 h 10000"/>
              <a:gd name="connsiteX10-65" fmla="*/ 8912 w 9297"/>
              <a:gd name="connsiteY10-66" fmla="*/ 4470 h 10000"/>
              <a:gd name="connsiteX0-67" fmla="*/ 9586 w 10000"/>
              <a:gd name="connsiteY0-68" fmla="*/ 4470 h 10000"/>
              <a:gd name="connsiteX1-69" fmla="*/ 1045 w 10000"/>
              <a:gd name="connsiteY1-70" fmla="*/ 4429 h 10000"/>
              <a:gd name="connsiteX2-71" fmla="*/ 521 w 10000"/>
              <a:gd name="connsiteY2-72" fmla="*/ 9105 h 10000"/>
              <a:gd name="connsiteX3-73" fmla="*/ 0 w 10000"/>
              <a:gd name="connsiteY3-74" fmla="*/ 4429 h 10000"/>
              <a:gd name="connsiteX4-75" fmla="*/ 0 w 10000"/>
              <a:gd name="connsiteY4-76" fmla="*/ 5373 h 10000"/>
              <a:gd name="connsiteX5-77" fmla="*/ 521 w 10000"/>
              <a:gd name="connsiteY5-78" fmla="*/ 10000 h 10000"/>
              <a:gd name="connsiteX6-79" fmla="*/ 1045 w 10000"/>
              <a:gd name="connsiteY6-80" fmla="*/ 5373 h 10000"/>
              <a:gd name="connsiteX7-81" fmla="*/ 9281 w 10000"/>
              <a:gd name="connsiteY7-82" fmla="*/ 5426 h 10000"/>
              <a:gd name="connsiteX8-83" fmla="*/ 9929 w 10000"/>
              <a:gd name="connsiteY8-84" fmla="*/ 1642 h 10000"/>
              <a:gd name="connsiteX9-85" fmla="*/ 9929 w 10000"/>
              <a:gd name="connsiteY9-86" fmla="*/ 0 h 10000"/>
              <a:gd name="connsiteX10-87" fmla="*/ 9586 w 10000"/>
              <a:gd name="connsiteY10-88" fmla="*/ 4470 h 10000"/>
              <a:gd name="connsiteX0-89" fmla="*/ 9586 w 10000"/>
              <a:gd name="connsiteY0-90" fmla="*/ 4470 h 10000"/>
              <a:gd name="connsiteX1-91" fmla="*/ 1045 w 10000"/>
              <a:gd name="connsiteY1-92" fmla="*/ 4429 h 10000"/>
              <a:gd name="connsiteX2-93" fmla="*/ 521 w 10000"/>
              <a:gd name="connsiteY2-94" fmla="*/ 9105 h 10000"/>
              <a:gd name="connsiteX3-95" fmla="*/ 0 w 10000"/>
              <a:gd name="connsiteY3-96" fmla="*/ 4429 h 10000"/>
              <a:gd name="connsiteX4-97" fmla="*/ 0 w 10000"/>
              <a:gd name="connsiteY4-98" fmla="*/ 5373 h 10000"/>
              <a:gd name="connsiteX5-99" fmla="*/ 521 w 10000"/>
              <a:gd name="connsiteY5-100" fmla="*/ 10000 h 10000"/>
              <a:gd name="connsiteX6-101" fmla="*/ 1045 w 10000"/>
              <a:gd name="connsiteY6-102" fmla="*/ 5373 h 10000"/>
              <a:gd name="connsiteX7-103" fmla="*/ 9281 w 10000"/>
              <a:gd name="connsiteY7-104" fmla="*/ 5426 h 10000"/>
              <a:gd name="connsiteX8-105" fmla="*/ 9929 w 10000"/>
              <a:gd name="connsiteY8-106" fmla="*/ 1642 h 10000"/>
              <a:gd name="connsiteX9-107" fmla="*/ 9929 w 10000"/>
              <a:gd name="connsiteY9-108" fmla="*/ 0 h 10000"/>
              <a:gd name="connsiteX10-109" fmla="*/ 9586 w 10000"/>
              <a:gd name="connsiteY10-110" fmla="*/ 4470 h 10000"/>
              <a:gd name="connsiteX0-111" fmla="*/ 9586 w 10000"/>
              <a:gd name="connsiteY0-112" fmla="*/ 4470 h 10000"/>
              <a:gd name="connsiteX1-113" fmla="*/ 1045 w 10000"/>
              <a:gd name="connsiteY1-114" fmla="*/ 4429 h 10000"/>
              <a:gd name="connsiteX2-115" fmla="*/ 521 w 10000"/>
              <a:gd name="connsiteY2-116" fmla="*/ 9105 h 10000"/>
              <a:gd name="connsiteX3-117" fmla="*/ 0 w 10000"/>
              <a:gd name="connsiteY3-118" fmla="*/ 4429 h 10000"/>
              <a:gd name="connsiteX4-119" fmla="*/ 0 w 10000"/>
              <a:gd name="connsiteY4-120" fmla="*/ 5373 h 10000"/>
              <a:gd name="connsiteX5-121" fmla="*/ 521 w 10000"/>
              <a:gd name="connsiteY5-122" fmla="*/ 10000 h 10000"/>
              <a:gd name="connsiteX6-123" fmla="*/ 1045 w 10000"/>
              <a:gd name="connsiteY6-124" fmla="*/ 5373 h 10000"/>
              <a:gd name="connsiteX7-125" fmla="*/ 9281 w 10000"/>
              <a:gd name="connsiteY7-126" fmla="*/ 5426 h 10000"/>
              <a:gd name="connsiteX8-127" fmla="*/ 9929 w 10000"/>
              <a:gd name="connsiteY8-128" fmla="*/ 1642 h 10000"/>
              <a:gd name="connsiteX9-129" fmla="*/ 9929 w 10000"/>
              <a:gd name="connsiteY9-130" fmla="*/ 0 h 10000"/>
              <a:gd name="connsiteX10-131" fmla="*/ 9586 w 10000"/>
              <a:gd name="connsiteY10-132" fmla="*/ 4470 h 10000"/>
              <a:gd name="connsiteX0-133" fmla="*/ 9281 w 9929"/>
              <a:gd name="connsiteY0-134" fmla="*/ 4558 h 10000"/>
              <a:gd name="connsiteX1-135" fmla="*/ 1045 w 9929"/>
              <a:gd name="connsiteY1-136" fmla="*/ 4429 h 10000"/>
              <a:gd name="connsiteX2-137" fmla="*/ 521 w 9929"/>
              <a:gd name="connsiteY2-138" fmla="*/ 9105 h 10000"/>
              <a:gd name="connsiteX3-139" fmla="*/ 0 w 9929"/>
              <a:gd name="connsiteY3-140" fmla="*/ 4429 h 10000"/>
              <a:gd name="connsiteX4-141" fmla="*/ 0 w 9929"/>
              <a:gd name="connsiteY4-142" fmla="*/ 5373 h 10000"/>
              <a:gd name="connsiteX5-143" fmla="*/ 521 w 9929"/>
              <a:gd name="connsiteY5-144" fmla="*/ 10000 h 10000"/>
              <a:gd name="connsiteX6-145" fmla="*/ 1045 w 9929"/>
              <a:gd name="connsiteY6-146" fmla="*/ 5373 h 10000"/>
              <a:gd name="connsiteX7-147" fmla="*/ 9281 w 9929"/>
              <a:gd name="connsiteY7-148" fmla="*/ 5426 h 10000"/>
              <a:gd name="connsiteX8-149" fmla="*/ 9929 w 9929"/>
              <a:gd name="connsiteY8-150" fmla="*/ 1642 h 10000"/>
              <a:gd name="connsiteX9-151" fmla="*/ 9929 w 9929"/>
              <a:gd name="connsiteY9-152" fmla="*/ 0 h 10000"/>
              <a:gd name="connsiteX10-153" fmla="*/ 9281 w 9929"/>
              <a:gd name="connsiteY10-154" fmla="*/ 4558 h 10000"/>
              <a:gd name="connsiteX0-155" fmla="*/ 9347 w 10000"/>
              <a:gd name="connsiteY0-156" fmla="*/ 4558 h 10000"/>
              <a:gd name="connsiteX1-157" fmla="*/ 1052 w 10000"/>
              <a:gd name="connsiteY1-158" fmla="*/ 4429 h 10000"/>
              <a:gd name="connsiteX2-159" fmla="*/ 525 w 10000"/>
              <a:gd name="connsiteY2-160" fmla="*/ 9105 h 10000"/>
              <a:gd name="connsiteX3-161" fmla="*/ 0 w 10000"/>
              <a:gd name="connsiteY3-162" fmla="*/ 4429 h 10000"/>
              <a:gd name="connsiteX4-163" fmla="*/ 0 w 10000"/>
              <a:gd name="connsiteY4-164" fmla="*/ 5373 h 10000"/>
              <a:gd name="connsiteX5-165" fmla="*/ 525 w 10000"/>
              <a:gd name="connsiteY5-166" fmla="*/ 10000 h 10000"/>
              <a:gd name="connsiteX6-167" fmla="*/ 1052 w 10000"/>
              <a:gd name="connsiteY6-168" fmla="*/ 5373 h 10000"/>
              <a:gd name="connsiteX7-169" fmla="*/ 9347 w 10000"/>
              <a:gd name="connsiteY7-170" fmla="*/ 5426 h 10000"/>
              <a:gd name="connsiteX8-171" fmla="*/ 10000 w 10000"/>
              <a:gd name="connsiteY8-172" fmla="*/ 0 h 10000"/>
              <a:gd name="connsiteX9-173" fmla="*/ 10000 w 10000"/>
              <a:gd name="connsiteY9-174" fmla="*/ 0 h 10000"/>
              <a:gd name="connsiteX10-175" fmla="*/ 9347 w 10000"/>
              <a:gd name="connsiteY10-176" fmla="*/ 4558 h 10000"/>
              <a:gd name="connsiteX0-177" fmla="*/ 9475 w 10000"/>
              <a:gd name="connsiteY0-178" fmla="*/ 4447 h 10000"/>
              <a:gd name="connsiteX1-179" fmla="*/ 1052 w 10000"/>
              <a:gd name="connsiteY1-180" fmla="*/ 4429 h 10000"/>
              <a:gd name="connsiteX2-181" fmla="*/ 525 w 10000"/>
              <a:gd name="connsiteY2-182" fmla="*/ 9105 h 10000"/>
              <a:gd name="connsiteX3-183" fmla="*/ 0 w 10000"/>
              <a:gd name="connsiteY3-184" fmla="*/ 4429 h 10000"/>
              <a:gd name="connsiteX4-185" fmla="*/ 0 w 10000"/>
              <a:gd name="connsiteY4-186" fmla="*/ 5373 h 10000"/>
              <a:gd name="connsiteX5-187" fmla="*/ 525 w 10000"/>
              <a:gd name="connsiteY5-188" fmla="*/ 10000 h 10000"/>
              <a:gd name="connsiteX6-189" fmla="*/ 1052 w 10000"/>
              <a:gd name="connsiteY6-190" fmla="*/ 5373 h 10000"/>
              <a:gd name="connsiteX7-191" fmla="*/ 9347 w 10000"/>
              <a:gd name="connsiteY7-192" fmla="*/ 5426 h 10000"/>
              <a:gd name="connsiteX8-193" fmla="*/ 10000 w 10000"/>
              <a:gd name="connsiteY8-194" fmla="*/ 0 h 10000"/>
              <a:gd name="connsiteX9-195" fmla="*/ 10000 w 10000"/>
              <a:gd name="connsiteY9-196" fmla="*/ 0 h 10000"/>
              <a:gd name="connsiteX10-197" fmla="*/ 9475 w 10000"/>
              <a:gd name="connsiteY10-198" fmla="*/ 4447 h 10000"/>
              <a:gd name="connsiteX0-199" fmla="*/ 9475 w 10000"/>
              <a:gd name="connsiteY0-200" fmla="*/ 4447 h 10000"/>
              <a:gd name="connsiteX1-201" fmla="*/ 1052 w 10000"/>
              <a:gd name="connsiteY1-202" fmla="*/ 4429 h 10000"/>
              <a:gd name="connsiteX2-203" fmla="*/ 525 w 10000"/>
              <a:gd name="connsiteY2-204" fmla="*/ 9105 h 10000"/>
              <a:gd name="connsiteX3-205" fmla="*/ 0 w 10000"/>
              <a:gd name="connsiteY3-206" fmla="*/ 4429 h 10000"/>
              <a:gd name="connsiteX4-207" fmla="*/ 0 w 10000"/>
              <a:gd name="connsiteY4-208" fmla="*/ 5373 h 10000"/>
              <a:gd name="connsiteX5-209" fmla="*/ 525 w 10000"/>
              <a:gd name="connsiteY5-210" fmla="*/ 10000 h 10000"/>
              <a:gd name="connsiteX6-211" fmla="*/ 1052 w 10000"/>
              <a:gd name="connsiteY6-212" fmla="*/ 5373 h 10000"/>
              <a:gd name="connsiteX7-213" fmla="*/ 9449 w 10000"/>
              <a:gd name="connsiteY7-214" fmla="*/ 5470 h 10000"/>
              <a:gd name="connsiteX8-215" fmla="*/ 10000 w 10000"/>
              <a:gd name="connsiteY8-216" fmla="*/ 0 h 10000"/>
              <a:gd name="connsiteX9-217" fmla="*/ 10000 w 10000"/>
              <a:gd name="connsiteY9-218" fmla="*/ 0 h 10000"/>
              <a:gd name="connsiteX10-219" fmla="*/ 9475 w 10000"/>
              <a:gd name="connsiteY10-220" fmla="*/ 4447 h 10000"/>
              <a:gd name="connsiteX0-221" fmla="*/ 9475 w 10956"/>
              <a:gd name="connsiteY0-222" fmla="*/ 4447 h 10000"/>
              <a:gd name="connsiteX1-223" fmla="*/ 1052 w 10956"/>
              <a:gd name="connsiteY1-224" fmla="*/ 4429 h 10000"/>
              <a:gd name="connsiteX2-225" fmla="*/ 525 w 10956"/>
              <a:gd name="connsiteY2-226" fmla="*/ 9105 h 10000"/>
              <a:gd name="connsiteX3-227" fmla="*/ 0 w 10956"/>
              <a:gd name="connsiteY3-228" fmla="*/ 4429 h 10000"/>
              <a:gd name="connsiteX4-229" fmla="*/ 0 w 10956"/>
              <a:gd name="connsiteY4-230" fmla="*/ 5373 h 10000"/>
              <a:gd name="connsiteX5-231" fmla="*/ 525 w 10956"/>
              <a:gd name="connsiteY5-232" fmla="*/ 10000 h 10000"/>
              <a:gd name="connsiteX6-233" fmla="*/ 1052 w 10956"/>
              <a:gd name="connsiteY6-234" fmla="*/ 5373 h 10000"/>
              <a:gd name="connsiteX7-235" fmla="*/ 9449 w 10956"/>
              <a:gd name="connsiteY7-236" fmla="*/ 5470 h 10000"/>
              <a:gd name="connsiteX8-237" fmla="*/ 10000 w 10956"/>
              <a:gd name="connsiteY8-238" fmla="*/ 0 h 10000"/>
              <a:gd name="connsiteX9-239" fmla="*/ 10000 w 10956"/>
              <a:gd name="connsiteY9-240" fmla="*/ 0 h 10000"/>
              <a:gd name="connsiteX10-241" fmla="*/ 9940 w 10956"/>
              <a:gd name="connsiteY10-242" fmla="*/ 1168 h 10000"/>
              <a:gd name="connsiteX11" fmla="*/ 9475 w 10956"/>
              <a:gd name="connsiteY11" fmla="*/ 4447 h 10000"/>
              <a:gd name="connsiteX0-243" fmla="*/ 9475 w 10956"/>
              <a:gd name="connsiteY0-244" fmla="*/ 4447 h 10000"/>
              <a:gd name="connsiteX1-245" fmla="*/ 1052 w 10956"/>
              <a:gd name="connsiteY1-246" fmla="*/ 4429 h 10000"/>
              <a:gd name="connsiteX2-247" fmla="*/ 525 w 10956"/>
              <a:gd name="connsiteY2-248" fmla="*/ 9105 h 10000"/>
              <a:gd name="connsiteX3-249" fmla="*/ 0 w 10956"/>
              <a:gd name="connsiteY3-250" fmla="*/ 4429 h 10000"/>
              <a:gd name="connsiteX4-251" fmla="*/ 0 w 10956"/>
              <a:gd name="connsiteY4-252" fmla="*/ 5373 h 10000"/>
              <a:gd name="connsiteX5-253" fmla="*/ 525 w 10956"/>
              <a:gd name="connsiteY5-254" fmla="*/ 10000 h 10000"/>
              <a:gd name="connsiteX6-255" fmla="*/ 1052 w 10956"/>
              <a:gd name="connsiteY6-256" fmla="*/ 5373 h 10000"/>
              <a:gd name="connsiteX7-257" fmla="*/ 9449 w 10956"/>
              <a:gd name="connsiteY7-258" fmla="*/ 5470 h 10000"/>
              <a:gd name="connsiteX8-259" fmla="*/ 10000 w 10956"/>
              <a:gd name="connsiteY8-260" fmla="*/ 0 h 10000"/>
              <a:gd name="connsiteX9-261" fmla="*/ 10000 w 10956"/>
              <a:gd name="connsiteY9-262" fmla="*/ 0 h 10000"/>
              <a:gd name="connsiteX10-263" fmla="*/ 10104 w 10956"/>
              <a:gd name="connsiteY10-264" fmla="*/ 1401 h 10000"/>
              <a:gd name="connsiteX11-265" fmla="*/ 9475 w 10956"/>
              <a:gd name="connsiteY11-266" fmla="*/ 4447 h 10000"/>
              <a:gd name="connsiteX0-267" fmla="*/ 9475 w 10966"/>
              <a:gd name="connsiteY0-268" fmla="*/ 4447 h 10000"/>
              <a:gd name="connsiteX1-269" fmla="*/ 1052 w 10966"/>
              <a:gd name="connsiteY1-270" fmla="*/ 4429 h 10000"/>
              <a:gd name="connsiteX2-271" fmla="*/ 525 w 10966"/>
              <a:gd name="connsiteY2-272" fmla="*/ 9105 h 10000"/>
              <a:gd name="connsiteX3-273" fmla="*/ 0 w 10966"/>
              <a:gd name="connsiteY3-274" fmla="*/ 4429 h 10000"/>
              <a:gd name="connsiteX4-275" fmla="*/ 0 w 10966"/>
              <a:gd name="connsiteY4-276" fmla="*/ 5373 h 10000"/>
              <a:gd name="connsiteX5-277" fmla="*/ 525 w 10966"/>
              <a:gd name="connsiteY5-278" fmla="*/ 10000 h 10000"/>
              <a:gd name="connsiteX6-279" fmla="*/ 1052 w 10966"/>
              <a:gd name="connsiteY6-280" fmla="*/ 5373 h 10000"/>
              <a:gd name="connsiteX7-281" fmla="*/ 9449 w 10966"/>
              <a:gd name="connsiteY7-282" fmla="*/ 5470 h 10000"/>
              <a:gd name="connsiteX8-283" fmla="*/ 10000 w 10966"/>
              <a:gd name="connsiteY8-284" fmla="*/ 0 h 10000"/>
              <a:gd name="connsiteX9-285" fmla="*/ 10000 w 10966"/>
              <a:gd name="connsiteY9-286" fmla="*/ 0 h 10000"/>
              <a:gd name="connsiteX10-287" fmla="*/ 9475 w 10966"/>
              <a:gd name="connsiteY10-288" fmla="*/ 4447 h 10000"/>
              <a:gd name="connsiteX0-289" fmla="*/ 9475 w 10966"/>
              <a:gd name="connsiteY0-290" fmla="*/ 4447 h 10000"/>
              <a:gd name="connsiteX1-291" fmla="*/ 1052 w 10966"/>
              <a:gd name="connsiteY1-292" fmla="*/ 4429 h 10000"/>
              <a:gd name="connsiteX2-293" fmla="*/ 525 w 10966"/>
              <a:gd name="connsiteY2-294" fmla="*/ 9105 h 10000"/>
              <a:gd name="connsiteX3-295" fmla="*/ 0 w 10966"/>
              <a:gd name="connsiteY3-296" fmla="*/ 4429 h 10000"/>
              <a:gd name="connsiteX4-297" fmla="*/ 0 w 10966"/>
              <a:gd name="connsiteY4-298" fmla="*/ 5373 h 10000"/>
              <a:gd name="connsiteX5-299" fmla="*/ 525 w 10966"/>
              <a:gd name="connsiteY5-300" fmla="*/ 10000 h 10000"/>
              <a:gd name="connsiteX6-301" fmla="*/ 1052 w 10966"/>
              <a:gd name="connsiteY6-302" fmla="*/ 5373 h 10000"/>
              <a:gd name="connsiteX7-303" fmla="*/ 9449 w 10966"/>
              <a:gd name="connsiteY7-304" fmla="*/ 5470 h 10000"/>
              <a:gd name="connsiteX8-305" fmla="*/ 10000 w 10966"/>
              <a:gd name="connsiteY8-306" fmla="*/ 0 h 10000"/>
              <a:gd name="connsiteX9-307" fmla="*/ 10060 w 10966"/>
              <a:gd name="connsiteY9-308" fmla="*/ 1567 h 10000"/>
              <a:gd name="connsiteX10-309" fmla="*/ 9475 w 10966"/>
              <a:gd name="connsiteY10-310" fmla="*/ 4447 h 10000"/>
              <a:gd name="connsiteX0-311" fmla="*/ 9475 w 10966"/>
              <a:gd name="connsiteY0-312" fmla="*/ 3647 h 9200"/>
              <a:gd name="connsiteX1-313" fmla="*/ 1052 w 10966"/>
              <a:gd name="connsiteY1-314" fmla="*/ 3629 h 9200"/>
              <a:gd name="connsiteX2-315" fmla="*/ 525 w 10966"/>
              <a:gd name="connsiteY2-316" fmla="*/ 8305 h 9200"/>
              <a:gd name="connsiteX3-317" fmla="*/ 0 w 10966"/>
              <a:gd name="connsiteY3-318" fmla="*/ 3629 h 9200"/>
              <a:gd name="connsiteX4-319" fmla="*/ 0 w 10966"/>
              <a:gd name="connsiteY4-320" fmla="*/ 4573 h 9200"/>
              <a:gd name="connsiteX5-321" fmla="*/ 525 w 10966"/>
              <a:gd name="connsiteY5-322" fmla="*/ 9200 h 9200"/>
              <a:gd name="connsiteX6-323" fmla="*/ 1052 w 10966"/>
              <a:gd name="connsiteY6-324" fmla="*/ 4573 h 9200"/>
              <a:gd name="connsiteX7-325" fmla="*/ 9449 w 10966"/>
              <a:gd name="connsiteY7-326" fmla="*/ 4670 h 9200"/>
              <a:gd name="connsiteX8-327" fmla="*/ 10099 w 10966"/>
              <a:gd name="connsiteY8-328" fmla="*/ 0 h 9200"/>
              <a:gd name="connsiteX9-329" fmla="*/ 10060 w 10966"/>
              <a:gd name="connsiteY9-330" fmla="*/ 767 h 9200"/>
              <a:gd name="connsiteX10-331" fmla="*/ 9475 w 10966"/>
              <a:gd name="connsiteY10-332" fmla="*/ 3647 h 9200"/>
              <a:gd name="connsiteX0-333" fmla="*/ 8640 w 10000"/>
              <a:gd name="connsiteY0-334" fmla="*/ 5401 h 11437"/>
              <a:gd name="connsiteX1-335" fmla="*/ 959 w 10000"/>
              <a:gd name="connsiteY1-336" fmla="*/ 5382 h 11437"/>
              <a:gd name="connsiteX2-337" fmla="*/ 479 w 10000"/>
              <a:gd name="connsiteY2-338" fmla="*/ 10464 h 11437"/>
              <a:gd name="connsiteX3-339" fmla="*/ 0 w 10000"/>
              <a:gd name="connsiteY3-340" fmla="*/ 5382 h 11437"/>
              <a:gd name="connsiteX4-341" fmla="*/ 0 w 10000"/>
              <a:gd name="connsiteY4-342" fmla="*/ 6408 h 11437"/>
              <a:gd name="connsiteX5-343" fmla="*/ 479 w 10000"/>
              <a:gd name="connsiteY5-344" fmla="*/ 11437 h 11437"/>
              <a:gd name="connsiteX6-345" fmla="*/ 959 w 10000"/>
              <a:gd name="connsiteY6-346" fmla="*/ 6408 h 11437"/>
              <a:gd name="connsiteX7-347" fmla="*/ 8617 w 10000"/>
              <a:gd name="connsiteY7-348" fmla="*/ 6513 h 11437"/>
              <a:gd name="connsiteX8-349" fmla="*/ 9209 w 10000"/>
              <a:gd name="connsiteY8-350" fmla="*/ 1437 h 11437"/>
              <a:gd name="connsiteX9-351" fmla="*/ 9119 w 10000"/>
              <a:gd name="connsiteY9-352" fmla="*/ 568 h 11437"/>
              <a:gd name="connsiteX10-353" fmla="*/ 8640 w 10000"/>
              <a:gd name="connsiteY10-354" fmla="*/ 5401 h 11437"/>
              <a:gd name="connsiteX0-355" fmla="*/ 8640 w 9228"/>
              <a:gd name="connsiteY0-356" fmla="*/ 5401 h 11437"/>
              <a:gd name="connsiteX1-357" fmla="*/ 959 w 9228"/>
              <a:gd name="connsiteY1-358" fmla="*/ 5382 h 11437"/>
              <a:gd name="connsiteX2-359" fmla="*/ 479 w 9228"/>
              <a:gd name="connsiteY2-360" fmla="*/ 10464 h 11437"/>
              <a:gd name="connsiteX3-361" fmla="*/ 0 w 9228"/>
              <a:gd name="connsiteY3-362" fmla="*/ 5382 h 11437"/>
              <a:gd name="connsiteX4-363" fmla="*/ 0 w 9228"/>
              <a:gd name="connsiteY4-364" fmla="*/ 6408 h 11437"/>
              <a:gd name="connsiteX5-365" fmla="*/ 479 w 9228"/>
              <a:gd name="connsiteY5-366" fmla="*/ 11437 h 11437"/>
              <a:gd name="connsiteX6-367" fmla="*/ 959 w 9228"/>
              <a:gd name="connsiteY6-368" fmla="*/ 6408 h 11437"/>
              <a:gd name="connsiteX7-369" fmla="*/ 8617 w 9228"/>
              <a:gd name="connsiteY7-370" fmla="*/ 6513 h 11437"/>
              <a:gd name="connsiteX8-371" fmla="*/ 9209 w 9228"/>
              <a:gd name="connsiteY8-372" fmla="*/ 1437 h 11437"/>
              <a:gd name="connsiteX9-373" fmla="*/ 9119 w 9228"/>
              <a:gd name="connsiteY9-374" fmla="*/ 568 h 11437"/>
              <a:gd name="connsiteX10-375" fmla="*/ 8640 w 9228"/>
              <a:gd name="connsiteY10-376" fmla="*/ 5401 h 11437"/>
              <a:gd name="connsiteX0-377" fmla="*/ 9363 w 10000"/>
              <a:gd name="connsiteY0-378" fmla="*/ 4722 h 10000"/>
              <a:gd name="connsiteX1-379" fmla="*/ 1039 w 10000"/>
              <a:gd name="connsiteY1-380" fmla="*/ 4706 h 10000"/>
              <a:gd name="connsiteX2-381" fmla="*/ 519 w 10000"/>
              <a:gd name="connsiteY2-382" fmla="*/ 9149 h 10000"/>
              <a:gd name="connsiteX3-383" fmla="*/ 0 w 10000"/>
              <a:gd name="connsiteY3-384" fmla="*/ 4706 h 10000"/>
              <a:gd name="connsiteX4-385" fmla="*/ 0 w 10000"/>
              <a:gd name="connsiteY4-386" fmla="*/ 5603 h 10000"/>
              <a:gd name="connsiteX5-387" fmla="*/ 519 w 10000"/>
              <a:gd name="connsiteY5-388" fmla="*/ 10000 h 10000"/>
              <a:gd name="connsiteX6-389" fmla="*/ 1039 w 10000"/>
              <a:gd name="connsiteY6-390" fmla="*/ 5603 h 10000"/>
              <a:gd name="connsiteX7-391" fmla="*/ 9338 w 10000"/>
              <a:gd name="connsiteY7-392" fmla="*/ 5695 h 10000"/>
              <a:gd name="connsiteX8-393" fmla="*/ 9979 w 10000"/>
              <a:gd name="connsiteY8-394" fmla="*/ 1256 h 10000"/>
              <a:gd name="connsiteX9-395" fmla="*/ 9882 w 10000"/>
              <a:gd name="connsiteY9-396" fmla="*/ 497 h 10000"/>
              <a:gd name="connsiteX10-397" fmla="*/ 9363 w 10000"/>
              <a:gd name="connsiteY10-398" fmla="*/ 4722 h 10000"/>
              <a:gd name="connsiteX0-399" fmla="*/ 9363 w 10000"/>
              <a:gd name="connsiteY0-400" fmla="*/ 4722 h 10000"/>
              <a:gd name="connsiteX1-401" fmla="*/ 1039 w 10000"/>
              <a:gd name="connsiteY1-402" fmla="*/ 4706 h 10000"/>
              <a:gd name="connsiteX2-403" fmla="*/ 519 w 10000"/>
              <a:gd name="connsiteY2-404" fmla="*/ 9149 h 10000"/>
              <a:gd name="connsiteX3-405" fmla="*/ 0 w 10000"/>
              <a:gd name="connsiteY3-406" fmla="*/ 4706 h 10000"/>
              <a:gd name="connsiteX4-407" fmla="*/ 0 w 10000"/>
              <a:gd name="connsiteY4-408" fmla="*/ 5603 h 10000"/>
              <a:gd name="connsiteX5-409" fmla="*/ 519 w 10000"/>
              <a:gd name="connsiteY5-410" fmla="*/ 10000 h 10000"/>
              <a:gd name="connsiteX6-411" fmla="*/ 1039 w 10000"/>
              <a:gd name="connsiteY6-412" fmla="*/ 5603 h 10000"/>
              <a:gd name="connsiteX7-413" fmla="*/ 9338 w 10000"/>
              <a:gd name="connsiteY7-414" fmla="*/ 5695 h 10000"/>
              <a:gd name="connsiteX8-415" fmla="*/ 9979 w 10000"/>
              <a:gd name="connsiteY8-416" fmla="*/ 1256 h 10000"/>
              <a:gd name="connsiteX9-417" fmla="*/ 9882 w 10000"/>
              <a:gd name="connsiteY9-418" fmla="*/ 497 h 10000"/>
              <a:gd name="connsiteX10-419" fmla="*/ 9363 w 10000"/>
              <a:gd name="connsiteY10-420" fmla="*/ 4722 h 10000"/>
              <a:gd name="connsiteX0-421" fmla="*/ 9363 w 10000"/>
              <a:gd name="connsiteY0-422" fmla="*/ 4722 h 10000"/>
              <a:gd name="connsiteX1-423" fmla="*/ 1039 w 10000"/>
              <a:gd name="connsiteY1-424" fmla="*/ 4706 h 10000"/>
              <a:gd name="connsiteX2-425" fmla="*/ 519 w 10000"/>
              <a:gd name="connsiteY2-426" fmla="*/ 9149 h 10000"/>
              <a:gd name="connsiteX3-427" fmla="*/ 0 w 10000"/>
              <a:gd name="connsiteY3-428" fmla="*/ 4706 h 10000"/>
              <a:gd name="connsiteX4-429" fmla="*/ 0 w 10000"/>
              <a:gd name="connsiteY4-430" fmla="*/ 5603 h 10000"/>
              <a:gd name="connsiteX5-431" fmla="*/ 519 w 10000"/>
              <a:gd name="connsiteY5-432" fmla="*/ 10000 h 10000"/>
              <a:gd name="connsiteX6-433" fmla="*/ 1039 w 10000"/>
              <a:gd name="connsiteY6-434" fmla="*/ 5603 h 10000"/>
              <a:gd name="connsiteX7-435" fmla="*/ 9338 w 10000"/>
              <a:gd name="connsiteY7-436" fmla="*/ 5695 h 10000"/>
              <a:gd name="connsiteX8-437" fmla="*/ 9979 w 10000"/>
              <a:gd name="connsiteY8-438" fmla="*/ 1256 h 10000"/>
              <a:gd name="connsiteX9-439" fmla="*/ 9882 w 10000"/>
              <a:gd name="connsiteY9-440" fmla="*/ 497 h 10000"/>
              <a:gd name="connsiteX10-441" fmla="*/ 9363 w 10000"/>
              <a:gd name="connsiteY10-442" fmla="*/ 4722 h 10000"/>
              <a:gd name="connsiteX0-443" fmla="*/ 9363 w 10000"/>
              <a:gd name="connsiteY0-444" fmla="*/ 4722 h 10000"/>
              <a:gd name="connsiteX1-445" fmla="*/ 1039 w 10000"/>
              <a:gd name="connsiteY1-446" fmla="*/ 4706 h 10000"/>
              <a:gd name="connsiteX2-447" fmla="*/ 519 w 10000"/>
              <a:gd name="connsiteY2-448" fmla="*/ 9149 h 10000"/>
              <a:gd name="connsiteX3-449" fmla="*/ 0 w 10000"/>
              <a:gd name="connsiteY3-450" fmla="*/ 4706 h 10000"/>
              <a:gd name="connsiteX4-451" fmla="*/ 0 w 10000"/>
              <a:gd name="connsiteY4-452" fmla="*/ 5603 h 10000"/>
              <a:gd name="connsiteX5-453" fmla="*/ 519 w 10000"/>
              <a:gd name="connsiteY5-454" fmla="*/ 10000 h 10000"/>
              <a:gd name="connsiteX6-455" fmla="*/ 1039 w 10000"/>
              <a:gd name="connsiteY6-456" fmla="*/ 5603 h 10000"/>
              <a:gd name="connsiteX7-457" fmla="*/ 9338 w 10000"/>
              <a:gd name="connsiteY7-458" fmla="*/ 5695 h 10000"/>
              <a:gd name="connsiteX8-459" fmla="*/ 9979 w 10000"/>
              <a:gd name="connsiteY8-460" fmla="*/ 1256 h 10000"/>
              <a:gd name="connsiteX9-461" fmla="*/ 9882 w 10000"/>
              <a:gd name="connsiteY9-462" fmla="*/ 497 h 10000"/>
              <a:gd name="connsiteX10-463" fmla="*/ 9363 w 10000"/>
              <a:gd name="connsiteY10-464" fmla="*/ 4722 h 10000"/>
              <a:gd name="connsiteX0-465" fmla="*/ 9363 w 10000"/>
              <a:gd name="connsiteY0-466" fmla="*/ 4722 h 10000"/>
              <a:gd name="connsiteX1-467" fmla="*/ 1039 w 10000"/>
              <a:gd name="connsiteY1-468" fmla="*/ 4706 h 10000"/>
              <a:gd name="connsiteX2-469" fmla="*/ 519 w 10000"/>
              <a:gd name="connsiteY2-470" fmla="*/ 9149 h 10000"/>
              <a:gd name="connsiteX3-471" fmla="*/ 0 w 10000"/>
              <a:gd name="connsiteY3-472" fmla="*/ 4706 h 10000"/>
              <a:gd name="connsiteX4-473" fmla="*/ 0 w 10000"/>
              <a:gd name="connsiteY4-474" fmla="*/ 5603 h 10000"/>
              <a:gd name="connsiteX5-475" fmla="*/ 519 w 10000"/>
              <a:gd name="connsiteY5-476" fmla="*/ 10000 h 10000"/>
              <a:gd name="connsiteX6-477" fmla="*/ 1039 w 10000"/>
              <a:gd name="connsiteY6-478" fmla="*/ 5603 h 10000"/>
              <a:gd name="connsiteX7-479" fmla="*/ 9338 w 10000"/>
              <a:gd name="connsiteY7-480" fmla="*/ 5695 h 10000"/>
              <a:gd name="connsiteX8-481" fmla="*/ 9979 w 10000"/>
              <a:gd name="connsiteY8-482" fmla="*/ 1256 h 10000"/>
              <a:gd name="connsiteX9-483" fmla="*/ 9882 w 10000"/>
              <a:gd name="connsiteY9-484" fmla="*/ 497 h 10000"/>
              <a:gd name="connsiteX10-485" fmla="*/ 9363 w 10000"/>
              <a:gd name="connsiteY10-486" fmla="*/ 4722 h 10000"/>
              <a:gd name="connsiteX0-487" fmla="*/ 9363 w 10000"/>
              <a:gd name="connsiteY0-488" fmla="*/ 4722 h 10000"/>
              <a:gd name="connsiteX1-489" fmla="*/ 1039 w 10000"/>
              <a:gd name="connsiteY1-490" fmla="*/ 4706 h 10000"/>
              <a:gd name="connsiteX2-491" fmla="*/ 519 w 10000"/>
              <a:gd name="connsiteY2-492" fmla="*/ 9149 h 10000"/>
              <a:gd name="connsiteX3-493" fmla="*/ 0 w 10000"/>
              <a:gd name="connsiteY3-494" fmla="*/ 4706 h 10000"/>
              <a:gd name="connsiteX4-495" fmla="*/ 0 w 10000"/>
              <a:gd name="connsiteY4-496" fmla="*/ 5603 h 10000"/>
              <a:gd name="connsiteX5-497" fmla="*/ 519 w 10000"/>
              <a:gd name="connsiteY5-498" fmla="*/ 10000 h 10000"/>
              <a:gd name="connsiteX6-499" fmla="*/ 1039 w 10000"/>
              <a:gd name="connsiteY6-500" fmla="*/ 5603 h 10000"/>
              <a:gd name="connsiteX7-501" fmla="*/ 9338 w 10000"/>
              <a:gd name="connsiteY7-502" fmla="*/ 5695 h 10000"/>
              <a:gd name="connsiteX8-503" fmla="*/ 9979 w 10000"/>
              <a:gd name="connsiteY8-504" fmla="*/ 1256 h 10000"/>
              <a:gd name="connsiteX9-505" fmla="*/ 9882 w 10000"/>
              <a:gd name="connsiteY9-506" fmla="*/ 497 h 10000"/>
              <a:gd name="connsiteX10-507" fmla="*/ 9363 w 10000"/>
              <a:gd name="connsiteY10-508" fmla="*/ 4722 h 10000"/>
              <a:gd name="connsiteX0-509" fmla="*/ 9363 w 9903"/>
              <a:gd name="connsiteY0-510" fmla="*/ 4722 h 10000"/>
              <a:gd name="connsiteX1-511" fmla="*/ 1039 w 9903"/>
              <a:gd name="connsiteY1-512" fmla="*/ 4706 h 10000"/>
              <a:gd name="connsiteX2-513" fmla="*/ 519 w 9903"/>
              <a:gd name="connsiteY2-514" fmla="*/ 9149 h 10000"/>
              <a:gd name="connsiteX3-515" fmla="*/ 0 w 9903"/>
              <a:gd name="connsiteY3-516" fmla="*/ 4706 h 10000"/>
              <a:gd name="connsiteX4-517" fmla="*/ 0 w 9903"/>
              <a:gd name="connsiteY4-518" fmla="*/ 5603 h 10000"/>
              <a:gd name="connsiteX5-519" fmla="*/ 519 w 9903"/>
              <a:gd name="connsiteY5-520" fmla="*/ 10000 h 10000"/>
              <a:gd name="connsiteX6-521" fmla="*/ 1039 w 9903"/>
              <a:gd name="connsiteY6-522" fmla="*/ 5603 h 10000"/>
              <a:gd name="connsiteX7-523" fmla="*/ 9338 w 9903"/>
              <a:gd name="connsiteY7-524" fmla="*/ 5695 h 10000"/>
              <a:gd name="connsiteX8-525" fmla="*/ 9882 w 9903"/>
              <a:gd name="connsiteY8-526" fmla="*/ 1351 h 10000"/>
              <a:gd name="connsiteX9-527" fmla="*/ 9882 w 9903"/>
              <a:gd name="connsiteY9-528" fmla="*/ 497 h 10000"/>
              <a:gd name="connsiteX10-529" fmla="*/ 9363 w 9903"/>
              <a:gd name="connsiteY10-530" fmla="*/ 4722 h 10000"/>
              <a:gd name="connsiteX0-531" fmla="*/ 9455 w 10003"/>
              <a:gd name="connsiteY0-532" fmla="*/ 4722 h 10000"/>
              <a:gd name="connsiteX1-533" fmla="*/ 1049 w 10003"/>
              <a:gd name="connsiteY1-534" fmla="*/ 4706 h 10000"/>
              <a:gd name="connsiteX2-535" fmla="*/ 524 w 10003"/>
              <a:gd name="connsiteY2-536" fmla="*/ 9149 h 10000"/>
              <a:gd name="connsiteX3-537" fmla="*/ 0 w 10003"/>
              <a:gd name="connsiteY3-538" fmla="*/ 4706 h 10000"/>
              <a:gd name="connsiteX4-539" fmla="*/ 0 w 10003"/>
              <a:gd name="connsiteY4-540" fmla="*/ 5603 h 10000"/>
              <a:gd name="connsiteX5-541" fmla="*/ 524 w 10003"/>
              <a:gd name="connsiteY5-542" fmla="*/ 10000 h 10000"/>
              <a:gd name="connsiteX6-543" fmla="*/ 1049 w 10003"/>
              <a:gd name="connsiteY6-544" fmla="*/ 5603 h 10000"/>
              <a:gd name="connsiteX7-545" fmla="*/ 9429 w 10003"/>
              <a:gd name="connsiteY7-546" fmla="*/ 5695 h 10000"/>
              <a:gd name="connsiteX8-547" fmla="*/ 9979 w 10003"/>
              <a:gd name="connsiteY8-548" fmla="*/ 1351 h 10000"/>
              <a:gd name="connsiteX9-549" fmla="*/ 9979 w 10003"/>
              <a:gd name="connsiteY9-550" fmla="*/ 497 h 10000"/>
              <a:gd name="connsiteX10-551" fmla="*/ 9455 w 10003"/>
              <a:gd name="connsiteY10-552" fmla="*/ 4722 h 10000"/>
              <a:gd name="connsiteX0-553" fmla="*/ 9455 w 10003"/>
              <a:gd name="connsiteY0-554" fmla="*/ 4722 h 10000"/>
              <a:gd name="connsiteX1-555" fmla="*/ 1049 w 10003"/>
              <a:gd name="connsiteY1-556" fmla="*/ 4706 h 10000"/>
              <a:gd name="connsiteX2-557" fmla="*/ 524 w 10003"/>
              <a:gd name="connsiteY2-558" fmla="*/ 9149 h 10000"/>
              <a:gd name="connsiteX3-559" fmla="*/ 0 w 10003"/>
              <a:gd name="connsiteY3-560" fmla="*/ 4706 h 10000"/>
              <a:gd name="connsiteX4-561" fmla="*/ 0 w 10003"/>
              <a:gd name="connsiteY4-562" fmla="*/ 5603 h 10000"/>
              <a:gd name="connsiteX5-563" fmla="*/ 524 w 10003"/>
              <a:gd name="connsiteY5-564" fmla="*/ 10000 h 10000"/>
              <a:gd name="connsiteX6-565" fmla="*/ 1049 w 10003"/>
              <a:gd name="connsiteY6-566" fmla="*/ 5603 h 10000"/>
              <a:gd name="connsiteX7-567" fmla="*/ 9429 w 10003"/>
              <a:gd name="connsiteY7-568" fmla="*/ 5695 h 10000"/>
              <a:gd name="connsiteX8-569" fmla="*/ 9979 w 10003"/>
              <a:gd name="connsiteY8-570" fmla="*/ 1351 h 10000"/>
              <a:gd name="connsiteX9-571" fmla="*/ 9979 w 10003"/>
              <a:gd name="connsiteY9-572" fmla="*/ 497 h 10000"/>
              <a:gd name="connsiteX10-573" fmla="*/ 9455 w 10003"/>
              <a:gd name="connsiteY10-574" fmla="*/ 4722 h 10000"/>
              <a:gd name="connsiteX0-575" fmla="*/ 9455 w 10003"/>
              <a:gd name="connsiteY0-576" fmla="*/ 4722 h 10000"/>
              <a:gd name="connsiteX1-577" fmla="*/ 1049 w 10003"/>
              <a:gd name="connsiteY1-578" fmla="*/ 4706 h 10000"/>
              <a:gd name="connsiteX2-579" fmla="*/ 524 w 10003"/>
              <a:gd name="connsiteY2-580" fmla="*/ 9149 h 10000"/>
              <a:gd name="connsiteX3-581" fmla="*/ 0 w 10003"/>
              <a:gd name="connsiteY3-582" fmla="*/ 4706 h 10000"/>
              <a:gd name="connsiteX4-583" fmla="*/ 0 w 10003"/>
              <a:gd name="connsiteY4-584" fmla="*/ 5603 h 10000"/>
              <a:gd name="connsiteX5-585" fmla="*/ 524 w 10003"/>
              <a:gd name="connsiteY5-586" fmla="*/ 10000 h 10000"/>
              <a:gd name="connsiteX6-587" fmla="*/ 1049 w 10003"/>
              <a:gd name="connsiteY6-588" fmla="*/ 5603 h 10000"/>
              <a:gd name="connsiteX7-589" fmla="*/ 9429 w 10003"/>
              <a:gd name="connsiteY7-590" fmla="*/ 5695 h 10000"/>
              <a:gd name="connsiteX8-591" fmla="*/ 9979 w 10003"/>
              <a:gd name="connsiteY8-592" fmla="*/ 1351 h 10000"/>
              <a:gd name="connsiteX9-593" fmla="*/ 9979 w 10003"/>
              <a:gd name="connsiteY9-594" fmla="*/ 497 h 10000"/>
              <a:gd name="connsiteX10-595" fmla="*/ 9455 w 10003"/>
              <a:gd name="connsiteY10-596" fmla="*/ 4722 h 10000"/>
              <a:gd name="connsiteX0-597" fmla="*/ 9455 w 10003"/>
              <a:gd name="connsiteY0-598" fmla="*/ 4722 h 10000"/>
              <a:gd name="connsiteX1-599" fmla="*/ 1049 w 10003"/>
              <a:gd name="connsiteY1-600" fmla="*/ 4706 h 10000"/>
              <a:gd name="connsiteX2-601" fmla="*/ 524 w 10003"/>
              <a:gd name="connsiteY2-602" fmla="*/ 9149 h 10000"/>
              <a:gd name="connsiteX3-603" fmla="*/ 0 w 10003"/>
              <a:gd name="connsiteY3-604" fmla="*/ 4706 h 10000"/>
              <a:gd name="connsiteX4-605" fmla="*/ 0 w 10003"/>
              <a:gd name="connsiteY4-606" fmla="*/ 5603 h 10000"/>
              <a:gd name="connsiteX5-607" fmla="*/ 524 w 10003"/>
              <a:gd name="connsiteY5-608" fmla="*/ 10000 h 10000"/>
              <a:gd name="connsiteX6-609" fmla="*/ 1049 w 10003"/>
              <a:gd name="connsiteY6-610" fmla="*/ 5603 h 10000"/>
              <a:gd name="connsiteX7-611" fmla="*/ 9429 w 10003"/>
              <a:gd name="connsiteY7-612" fmla="*/ 5695 h 10000"/>
              <a:gd name="connsiteX8-613" fmla="*/ 9979 w 10003"/>
              <a:gd name="connsiteY8-614" fmla="*/ 1351 h 10000"/>
              <a:gd name="connsiteX9-615" fmla="*/ 9979 w 10003"/>
              <a:gd name="connsiteY9-616" fmla="*/ 497 h 10000"/>
              <a:gd name="connsiteX10-617" fmla="*/ 9455 w 10003"/>
              <a:gd name="connsiteY10-618" fmla="*/ 4722 h 10000"/>
              <a:gd name="connsiteX0-619" fmla="*/ 9455 w 10003"/>
              <a:gd name="connsiteY0-620" fmla="*/ 4722 h 10000"/>
              <a:gd name="connsiteX1-621" fmla="*/ 1049 w 10003"/>
              <a:gd name="connsiteY1-622" fmla="*/ 4706 h 10000"/>
              <a:gd name="connsiteX2-623" fmla="*/ 524 w 10003"/>
              <a:gd name="connsiteY2-624" fmla="*/ 9149 h 10000"/>
              <a:gd name="connsiteX3-625" fmla="*/ 0 w 10003"/>
              <a:gd name="connsiteY3-626" fmla="*/ 4706 h 10000"/>
              <a:gd name="connsiteX4-627" fmla="*/ 0 w 10003"/>
              <a:gd name="connsiteY4-628" fmla="*/ 5603 h 10000"/>
              <a:gd name="connsiteX5-629" fmla="*/ 524 w 10003"/>
              <a:gd name="connsiteY5-630" fmla="*/ 10000 h 10000"/>
              <a:gd name="connsiteX6-631" fmla="*/ 1049 w 10003"/>
              <a:gd name="connsiteY6-632" fmla="*/ 5603 h 10000"/>
              <a:gd name="connsiteX7-633" fmla="*/ 9429 w 10003"/>
              <a:gd name="connsiteY7-634" fmla="*/ 5695 h 10000"/>
              <a:gd name="connsiteX8-635" fmla="*/ 9979 w 10003"/>
              <a:gd name="connsiteY8-636" fmla="*/ 1351 h 10000"/>
              <a:gd name="connsiteX9-637" fmla="*/ 9979 w 10003"/>
              <a:gd name="connsiteY9-638" fmla="*/ 497 h 10000"/>
              <a:gd name="connsiteX10-639" fmla="*/ 9455 w 10003"/>
              <a:gd name="connsiteY10-640" fmla="*/ 4722 h 10000"/>
              <a:gd name="connsiteX0-641" fmla="*/ 9455 w 9982"/>
              <a:gd name="connsiteY0-642" fmla="*/ 4722 h 10000"/>
              <a:gd name="connsiteX1-643" fmla="*/ 1049 w 9982"/>
              <a:gd name="connsiteY1-644" fmla="*/ 4706 h 10000"/>
              <a:gd name="connsiteX2-645" fmla="*/ 524 w 9982"/>
              <a:gd name="connsiteY2-646" fmla="*/ 9149 h 10000"/>
              <a:gd name="connsiteX3-647" fmla="*/ 0 w 9982"/>
              <a:gd name="connsiteY3-648" fmla="*/ 4706 h 10000"/>
              <a:gd name="connsiteX4-649" fmla="*/ 0 w 9982"/>
              <a:gd name="connsiteY4-650" fmla="*/ 5603 h 10000"/>
              <a:gd name="connsiteX5-651" fmla="*/ 524 w 9982"/>
              <a:gd name="connsiteY5-652" fmla="*/ 10000 h 10000"/>
              <a:gd name="connsiteX6-653" fmla="*/ 1049 w 9982"/>
              <a:gd name="connsiteY6-654" fmla="*/ 5603 h 10000"/>
              <a:gd name="connsiteX7-655" fmla="*/ 9429 w 9982"/>
              <a:gd name="connsiteY7-656" fmla="*/ 5695 h 10000"/>
              <a:gd name="connsiteX8-657" fmla="*/ 9979 w 9982"/>
              <a:gd name="connsiteY8-658" fmla="*/ 1351 h 10000"/>
              <a:gd name="connsiteX9-659" fmla="*/ 9979 w 9982"/>
              <a:gd name="connsiteY9-660" fmla="*/ 497 h 10000"/>
              <a:gd name="connsiteX10-661" fmla="*/ 9455 w 9982"/>
              <a:gd name="connsiteY10-662" fmla="*/ 4722 h 10000"/>
              <a:gd name="connsiteX0-663" fmla="*/ 9472 w 10005"/>
              <a:gd name="connsiteY0-664" fmla="*/ 4722 h 10000"/>
              <a:gd name="connsiteX1-665" fmla="*/ 1051 w 10005"/>
              <a:gd name="connsiteY1-666" fmla="*/ 4706 h 10000"/>
              <a:gd name="connsiteX2-667" fmla="*/ 525 w 10005"/>
              <a:gd name="connsiteY2-668" fmla="*/ 9149 h 10000"/>
              <a:gd name="connsiteX3-669" fmla="*/ 0 w 10005"/>
              <a:gd name="connsiteY3-670" fmla="*/ 4706 h 10000"/>
              <a:gd name="connsiteX4-671" fmla="*/ 0 w 10005"/>
              <a:gd name="connsiteY4-672" fmla="*/ 5603 h 10000"/>
              <a:gd name="connsiteX5-673" fmla="*/ 525 w 10005"/>
              <a:gd name="connsiteY5-674" fmla="*/ 10000 h 10000"/>
              <a:gd name="connsiteX6-675" fmla="*/ 1051 w 10005"/>
              <a:gd name="connsiteY6-676" fmla="*/ 5603 h 10000"/>
              <a:gd name="connsiteX7-677" fmla="*/ 9446 w 10005"/>
              <a:gd name="connsiteY7-678" fmla="*/ 5695 h 10000"/>
              <a:gd name="connsiteX8-679" fmla="*/ 9997 w 10005"/>
              <a:gd name="connsiteY8-680" fmla="*/ 1351 h 10000"/>
              <a:gd name="connsiteX9-681" fmla="*/ 9997 w 10005"/>
              <a:gd name="connsiteY9-682" fmla="*/ 497 h 10000"/>
              <a:gd name="connsiteX10-683" fmla="*/ 9472 w 10005"/>
              <a:gd name="connsiteY10-684" fmla="*/ 4722 h 10000"/>
              <a:gd name="connsiteX0-685" fmla="*/ 9472 w 9997"/>
              <a:gd name="connsiteY0-686" fmla="*/ 4722 h 10000"/>
              <a:gd name="connsiteX1-687" fmla="*/ 1051 w 9997"/>
              <a:gd name="connsiteY1-688" fmla="*/ 4706 h 10000"/>
              <a:gd name="connsiteX2-689" fmla="*/ 525 w 9997"/>
              <a:gd name="connsiteY2-690" fmla="*/ 9149 h 10000"/>
              <a:gd name="connsiteX3-691" fmla="*/ 0 w 9997"/>
              <a:gd name="connsiteY3-692" fmla="*/ 4706 h 10000"/>
              <a:gd name="connsiteX4-693" fmla="*/ 0 w 9997"/>
              <a:gd name="connsiteY4-694" fmla="*/ 5603 h 10000"/>
              <a:gd name="connsiteX5-695" fmla="*/ 525 w 9997"/>
              <a:gd name="connsiteY5-696" fmla="*/ 10000 h 10000"/>
              <a:gd name="connsiteX6-697" fmla="*/ 1051 w 9997"/>
              <a:gd name="connsiteY6-698" fmla="*/ 5603 h 10000"/>
              <a:gd name="connsiteX7-699" fmla="*/ 9446 w 9997"/>
              <a:gd name="connsiteY7-700" fmla="*/ 5695 h 10000"/>
              <a:gd name="connsiteX8-701" fmla="*/ 9942 w 9997"/>
              <a:gd name="connsiteY8-702" fmla="*/ 1985 h 10000"/>
              <a:gd name="connsiteX9-703" fmla="*/ 9997 w 9997"/>
              <a:gd name="connsiteY9-704" fmla="*/ 497 h 10000"/>
              <a:gd name="connsiteX10-705" fmla="*/ 9472 w 9997"/>
              <a:gd name="connsiteY10-706" fmla="*/ 4722 h 10000"/>
              <a:gd name="connsiteX0-707" fmla="*/ 9475 w 10008"/>
              <a:gd name="connsiteY0-708" fmla="*/ 4722 h 10000"/>
              <a:gd name="connsiteX1-709" fmla="*/ 1051 w 10008"/>
              <a:gd name="connsiteY1-710" fmla="*/ 4706 h 10000"/>
              <a:gd name="connsiteX2-711" fmla="*/ 525 w 10008"/>
              <a:gd name="connsiteY2-712" fmla="*/ 9149 h 10000"/>
              <a:gd name="connsiteX3-713" fmla="*/ 0 w 10008"/>
              <a:gd name="connsiteY3-714" fmla="*/ 4706 h 10000"/>
              <a:gd name="connsiteX4-715" fmla="*/ 0 w 10008"/>
              <a:gd name="connsiteY4-716" fmla="*/ 5603 h 10000"/>
              <a:gd name="connsiteX5-717" fmla="*/ 525 w 10008"/>
              <a:gd name="connsiteY5-718" fmla="*/ 10000 h 10000"/>
              <a:gd name="connsiteX6-719" fmla="*/ 1051 w 10008"/>
              <a:gd name="connsiteY6-720" fmla="*/ 5603 h 10000"/>
              <a:gd name="connsiteX7-721" fmla="*/ 9449 w 10008"/>
              <a:gd name="connsiteY7-722" fmla="*/ 5695 h 10000"/>
              <a:gd name="connsiteX8-723" fmla="*/ 10000 w 10008"/>
              <a:gd name="connsiteY8-724" fmla="*/ 1319 h 10000"/>
              <a:gd name="connsiteX9-725" fmla="*/ 10000 w 10008"/>
              <a:gd name="connsiteY9-726" fmla="*/ 497 h 10000"/>
              <a:gd name="connsiteX10-727" fmla="*/ 9475 w 10008"/>
              <a:gd name="connsiteY10-728" fmla="*/ 4722 h 10000"/>
              <a:gd name="connsiteX0-729" fmla="*/ 9475 w 10008"/>
              <a:gd name="connsiteY0-730" fmla="*/ 4722 h 10000"/>
              <a:gd name="connsiteX1-731" fmla="*/ 1051 w 10008"/>
              <a:gd name="connsiteY1-732" fmla="*/ 4706 h 10000"/>
              <a:gd name="connsiteX2-733" fmla="*/ 525 w 10008"/>
              <a:gd name="connsiteY2-734" fmla="*/ 9149 h 10000"/>
              <a:gd name="connsiteX3-735" fmla="*/ 0 w 10008"/>
              <a:gd name="connsiteY3-736" fmla="*/ 4706 h 10000"/>
              <a:gd name="connsiteX4-737" fmla="*/ 0 w 10008"/>
              <a:gd name="connsiteY4-738" fmla="*/ 5603 h 10000"/>
              <a:gd name="connsiteX5-739" fmla="*/ 525 w 10008"/>
              <a:gd name="connsiteY5-740" fmla="*/ 10000 h 10000"/>
              <a:gd name="connsiteX6-741" fmla="*/ 1051 w 10008"/>
              <a:gd name="connsiteY6-742" fmla="*/ 5603 h 10000"/>
              <a:gd name="connsiteX7-743" fmla="*/ 9449 w 10008"/>
              <a:gd name="connsiteY7-744" fmla="*/ 5695 h 10000"/>
              <a:gd name="connsiteX8-745" fmla="*/ 10000 w 10008"/>
              <a:gd name="connsiteY8-746" fmla="*/ 1224 h 10000"/>
              <a:gd name="connsiteX9-747" fmla="*/ 10000 w 10008"/>
              <a:gd name="connsiteY9-748" fmla="*/ 497 h 10000"/>
              <a:gd name="connsiteX10-749" fmla="*/ 9475 w 10008"/>
              <a:gd name="connsiteY10-750" fmla="*/ 4722 h 10000"/>
              <a:gd name="connsiteX0-751" fmla="*/ 9475 w 10008"/>
              <a:gd name="connsiteY0-752" fmla="*/ 4722 h 10000"/>
              <a:gd name="connsiteX1-753" fmla="*/ 1051 w 10008"/>
              <a:gd name="connsiteY1-754" fmla="*/ 4706 h 10000"/>
              <a:gd name="connsiteX2-755" fmla="*/ 525 w 10008"/>
              <a:gd name="connsiteY2-756" fmla="*/ 9149 h 10000"/>
              <a:gd name="connsiteX3-757" fmla="*/ 0 w 10008"/>
              <a:gd name="connsiteY3-758" fmla="*/ 4706 h 10000"/>
              <a:gd name="connsiteX4-759" fmla="*/ 0 w 10008"/>
              <a:gd name="connsiteY4-760" fmla="*/ 5603 h 10000"/>
              <a:gd name="connsiteX5-761" fmla="*/ 525 w 10008"/>
              <a:gd name="connsiteY5-762" fmla="*/ 10000 h 10000"/>
              <a:gd name="connsiteX6-763" fmla="*/ 1051 w 10008"/>
              <a:gd name="connsiteY6-764" fmla="*/ 5603 h 10000"/>
              <a:gd name="connsiteX7-765" fmla="*/ 9449 w 10008"/>
              <a:gd name="connsiteY7-766" fmla="*/ 5695 h 10000"/>
              <a:gd name="connsiteX8-767" fmla="*/ 10000 w 10008"/>
              <a:gd name="connsiteY8-768" fmla="*/ 1224 h 10000"/>
              <a:gd name="connsiteX9-769" fmla="*/ 10000 w 10008"/>
              <a:gd name="connsiteY9-770" fmla="*/ 497 h 10000"/>
              <a:gd name="connsiteX10-771" fmla="*/ 9475 w 10008"/>
              <a:gd name="connsiteY10-772" fmla="*/ 4722 h 10000"/>
              <a:gd name="connsiteX0-773" fmla="*/ 9475 w 10008"/>
              <a:gd name="connsiteY0-774" fmla="*/ 4722 h 10000"/>
              <a:gd name="connsiteX1-775" fmla="*/ 1051 w 10008"/>
              <a:gd name="connsiteY1-776" fmla="*/ 4706 h 10000"/>
              <a:gd name="connsiteX2-777" fmla="*/ 525 w 10008"/>
              <a:gd name="connsiteY2-778" fmla="*/ 9149 h 10000"/>
              <a:gd name="connsiteX3-779" fmla="*/ 0 w 10008"/>
              <a:gd name="connsiteY3-780" fmla="*/ 4706 h 10000"/>
              <a:gd name="connsiteX4-781" fmla="*/ 0 w 10008"/>
              <a:gd name="connsiteY4-782" fmla="*/ 5603 h 10000"/>
              <a:gd name="connsiteX5-783" fmla="*/ 525 w 10008"/>
              <a:gd name="connsiteY5-784" fmla="*/ 10000 h 10000"/>
              <a:gd name="connsiteX6-785" fmla="*/ 1051 w 10008"/>
              <a:gd name="connsiteY6-786" fmla="*/ 5603 h 10000"/>
              <a:gd name="connsiteX7-787" fmla="*/ 9449 w 10008"/>
              <a:gd name="connsiteY7-788" fmla="*/ 5695 h 10000"/>
              <a:gd name="connsiteX8-789" fmla="*/ 10000 w 10008"/>
              <a:gd name="connsiteY8-790" fmla="*/ 1224 h 10000"/>
              <a:gd name="connsiteX9-791" fmla="*/ 10000 w 10008"/>
              <a:gd name="connsiteY9-792" fmla="*/ 497 h 10000"/>
              <a:gd name="connsiteX10-793" fmla="*/ 9475 w 10008"/>
              <a:gd name="connsiteY10-794" fmla="*/ 4722 h 10000"/>
              <a:gd name="connsiteX0-795" fmla="*/ 9475 w 10008"/>
              <a:gd name="connsiteY0-796" fmla="*/ 4722 h 10000"/>
              <a:gd name="connsiteX1-797" fmla="*/ 1051 w 10008"/>
              <a:gd name="connsiteY1-798" fmla="*/ 4706 h 10000"/>
              <a:gd name="connsiteX2-799" fmla="*/ 525 w 10008"/>
              <a:gd name="connsiteY2-800" fmla="*/ 9149 h 10000"/>
              <a:gd name="connsiteX3-801" fmla="*/ 0 w 10008"/>
              <a:gd name="connsiteY3-802" fmla="*/ 4706 h 10000"/>
              <a:gd name="connsiteX4-803" fmla="*/ 0 w 10008"/>
              <a:gd name="connsiteY4-804" fmla="*/ 5603 h 10000"/>
              <a:gd name="connsiteX5-805" fmla="*/ 525 w 10008"/>
              <a:gd name="connsiteY5-806" fmla="*/ 10000 h 10000"/>
              <a:gd name="connsiteX6-807" fmla="*/ 1051 w 10008"/>
              <a:gd name="connsiteY6-808" fmla="*/ 5603 h 10000"/>
              <a:gd name="connsiteX7-809" fmla="*/ 9449 w 10008"/>
              <a:gd name="connsiteY7-810" fmla="*/ 5695 h 10000"/>
              <a:gd name="connsiteX8-811" fmla="*/ 10000 w 10008"/>
              <a:gd name="connsiteY8-812" fmla="*/ 1224 h 10000"/>
              <a:gd name="connsiteX9-813" fmla="*/ 10000 w 10008"/>
              <a:gd name="connsiteY9-814" fmla="*/ 497 h 10000"/>
              <a:gd name="connsiteX10-815" fmla="*/ 9475 w 10008"/>
              <a:gd name="connsiteY10-816" fmla="*/ 4722 h 10000"/>
              <a:gd name="connsiteX0-817" fmla="*/ 9475 w 10008"/>
              <a:gd name="connsiteY0-818" fmla="*/ 4722 h 10000"/>
              <a:gd name="connsiteX1-819" fmla="*/ 1051 w 10008"/>
              <a:gd name="connsiteY1-820" fmla="*/ 4706 h 10000"/>
              <a:gd name="connsiteX2-821" fmla="*/ 525 w 10008"/>
              <a:gd name="connsiteY2-822" fmla="*/ 9149 h 10000"/>
              <a:gd name="connsiteX3-823" fmla="*/ 0 w 10008"/>
              <a:gd name="connsiteY3-824" fmla="*/ 4706 h 10000"/>
              <a:gd name="connsiteX4-825" fmla="*/ 0 w 10008"/>
              <a:gd name="connsiteY4-826" fmla="*/ 5603 h 10000"/>
              <a:gd name="connsiteX5-827" fmla="*/ 525 w 10008"/>
              <a:gd name="connsiteY5-828" fmla="*/ 10000 h 10000"/>
              <a:gd name="connsiteX6-829" fmla="*/ 1051 w 10008"/>
              <a:gd name="connsiteY6-830" fmla="*/ 5603 h 10000"/>
              <a:gd name="connsiteX7-831" fmla="*/ 9449 w 10008"/>
              <a:gd name="connsiteY7-832" fmla="*/ 5695 h 10000"/>
              <a:gd name="connsiteX8-833" fmla="*/ 10000 w 10008"/>
              <a:gd name="connsiteY8-834" fmla="*/ 1224 h 10000"/>
              <a:gd name="connsiteX9-835" fmla="*/ 10000 w 10008"/>
              <a:gd name="connsiteY9-836" fmla="*/ 497 h 10000"/>
              <a:gd name="connsiteX10-837" fmla="*/ 9475 w 10008"/>
              <a:gd name="connsiteY10-838" fmla="*/ 4722 h 10000"/>
              <a:gd name="connsiteX0-839" fmla="*/ 9475 w 10008"/>
              <a:gd name="connsiteY0-840" fmla="*/ 4722 h 10000"/>
              <a:gd name="connsiteX1-841" fmla="*/ 1051 w 10008"/>
              <a:gd name="connsiteY1-842" fmla="*/ 4706 h 10000"/>
              <a:gd name="connsiteX2-843" fmla="*/ 525 w 10008"/>
              <a:gd name="connsiteY2-844" fmla="*/ 9149 h 10000"/>
              <a:gd name="connsiteX3-845" fmla="*/ 0 w 10008"/>
              <a:gd name="connsiteY3-846" fmla="*/ 4706 h 10000"/>
              <a:gd name="connsiteX4-847" fmla="*/ 0 w 10008"/>
              <a:gd name="connsiteY4-848" fmla="*/ 5603 h 10000"/>
              <a:gd name="connsiteX5-849" fmla="*/ 525 w 10008"/>
              <a:gd name="connsiteY5-850" fmla="*/ 10000 h 10000"/>
              <a:gd name="connsiteX6-851" fmla="*/ 1051 w 10008"/>
              <a:gd name="connsiteY6-852" fmla="*/ 5603 h 10000"/>
              <a:gd name="connsiteX7-853" fmla="*/ 9449 w 10008"/>
              <a:gd name="connsiteY7-854" fmla="*/ 5695 h 10000"/>
              <a:gd name="connsiteX8-855" fmla="*/ 10000 w 10008"/>
              <a:gd name="connsiteY8-856" fmla="*/ 1224 h 10000"/>
              <a:gd name="connsiteX9-857" fmla="*/ 10000 w 10008"/>
              <a:gd name="connsiteY9-858" fmla="*/ 497 h 10000"/>
              <a:gd name="connsiteX10-859" fmla="*/ 9475 w 10008"/>
              <a:gd name="connsiteY10-860" fmla="*/ 4722 h 10000"/>
              <a:gd name="connsiteX0-861" fmla="*/ 9475 w 10008"/>
              <a:gd name="connsiteY0-862" fmla="*/ 4722 h 10000"/>
              <a:gd name="connsiteX1-863" fmla="*/ 1051 w 10008"/>
              <a:gd name="connsiteY1-864" fmla="*/ 4706 h 10000"/>
              <a:gd name="connsiteX2-865" fmla="*/ 525 w 10008"/>
              <a:gd name="connsiteY2-866" fmla="*/ 9149 h 10000"/>
              <a:gd name="connsiteX3-867" fmla="*/ 0 w 10008"/>
              <a:gd name="connsiteY3-868" fmla="*/ 4706 h 10000"/>
              <a:gd name="connsiteX4-869" fmla="*/ 0 w 10008"/>
              <a:gd name="connsiteY4-870" fmla="*/ 5603 h 10000"/>
              <a:gd name="connsiteX5-871" fmla="*/ 525 w 10008"/>
              <a:gd name="connsiteY5-872" fmla="*/ 10000 h 10000"/>
              <a:gd name="connsiteX6-873" fmla="*/ 1051 w 10008"/>
              <a:gd name="connsiteY6-874" fmla="*/ 5603 h 10000"/>
              <a:gd name="connsiteX7-875" fmla="*/ 9449 w 10008"/>
              <a:gd name="connsiteY7-876" fmla="*/ 5695 h 10000"/>
              <a:gd name="connsiteX8-877" fmla="*/ 10000 w 10008"/>
              <a:gd name="connsiteY8-878" fmla="*/ 1224 h 10000"/>
              <a:gd name="connsiteX9-879" fmla="*/ 10000 w 10008"/>
              <a:gd name="connsiteY9-880" fmla="*/ 497 h 10000"/>
              <a:gd name="connsiteX10-881" fmla="*/ 9475 w 10008"/>
              <a:gd name="connsiteY10-882" fmla="*/ 4722 h 100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  <a:cxn ang="0">
                <a:pos x="connsiteX9-19" y="connsiteY9-20"/>
              </a:cxn>
              <a:cxn ang="0">
                <a:pos x="connsiteX10-21" y="connsiteY10-22"/>
              </a:cxn>
            </a:cxnLst>
            <a:rect l="l" t="t" r="r" b="b"/>
            <a:pathLst>
              <a:path w="10008" h="10000">
                <a:moveTo>
                  <a:pt x="9475" y="4722"/>
                </a:moveTo>
                <a:lnTo>
                  <a:pt x="1051" y="4706"/>
                </a:lnTo>
                <a:cubicBezTo>
                  <a:pt x="636" y="4706"/>
                  <a:pt x="525" y="9149"/>
                  <a:pt x="525" y="9149"/>
                </a:cubicBezTo>
                <a:cubicBezTo>
                  <a:pt x="525" y="9149"/>
                  <a:pt x="415" y="4706"/>
                  <a:pt x="0" y="4706"/>
                </a:cubicBezTo>
                <a:lnTo>
                  <a:pt x="0" y="5603"/>
                </a:lnTo>
                <a:cubicBezTo>
                  <a:pt x="415" y="5603"/>
                  <a:pt x="525" y="10000"/>
                  <a:pt x="525" y="10000"/>
                </a:cubicBezTo>
                <a:cubicBezTo>
                  <a:pt x="525" y="10000"/>
                  <a:pt x="636" y="5603"/>
                  <a:pt x="1051" y="5603"/>
                </a:cubicBezTo>
                <a:lnTo>
                  <a:pt x="9449" y="5695"/>
                </a:lnTo>
                <a:cubicBezTo>
                  <a:pt x="9827" y="5410"/>
                  <a:pt x="9934" y="2946"/>
                  <a:pt x="10000" y="1224"/>
                </a:cubicBezTo>
                <a:cubicBezTo>
                  <a:pt x="10008" y="1086"/>
                  <a:pt x="10001" y="0"/>
                  <a:pt x="10000" y="497"/>
                </a:cubicBezTo>
                <a:cubicBezTo>
                  <a:pt x="9937" y="1770"/>
                  <a:pt x="9819" y="4623"/>
                  <a:pt x="9475" y="4722"/>
                </a:cubicBezTo>
                <a:close/>
              </a:path>
            </a:pathLst>
          </a:custGeom>
          <a:solidFill>
            <a:srgbClr val="D5D30F"/>
          </a:solidFill>
          <a:ln w="9525">
            <a:noFill/>
            <a:rou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4078" tIns="47039" rIns="94078" bIns="47039"/>
          <a:lstStyle/>
          <a:p>
            <a:pPr defTabSz="863600">
              <a:defRPr/>
            </a:pPr>
            <a:endParaRPr lang="fr-FR" sz="1700" kern="0">
              <a:solidFill>
                <a:sysClr val="windowText" lastClr="000000"/>
              </a:solidFill>
              <a:latin typeface="Arial" panose="020B0604020202090204" pitchFamily="34" charset="0"/>
              <a:ea typeface="MS PGothic" pitchFamily="34" charset="-128"/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0" y="6018163"/>
            <a:ext cx="11522075" cy="0"/>
          </a:xfrm>
          <a:prstGeom prst="line">
            <a:avLst/>
          </a:prstGeom>
          <a:ln w="6350" cap="flat" cmpd="sng" algn="ctr">
            <a:solidFill>
              <a:srgbClr val="D5D30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51" name="Picture 12" descr="Capgemini_logo_slides.jpg"/>
          <p:cNvPicPr>
            <a:picLocks noChangeAspect="1"/>
          </p:cNvPicPr>
          <p:nvPr userDrawn="1"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402074" y="6117166"/>
            <a:ext cx="1740313" cy="303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13"/>
          <p:cNvSpPr/>
          <p:nvPr userDrawn="1"/>
        </p:nvSpPr>
        <p:spPr>
          <a:xfrm>
            <a:off x="2958534" y="6184668"/>
            <a:ext cx="5949071" cy="23550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431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60" dirty="0">
                <a:solidFill>
                  <a:prstClr val="black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The information contained in this document is proprietary and confidential. </a:t>
            </a:r>
            <a:br>
              <a:rPr lang="en-US" sz="660" dirty="0">
                <a:solidFill>
                  <a:prstClr val="black"/>
                </a:solidFill>
                <a:latin typeface="Arial" panose="020B0604020202090204" pitchFamily="34" charset="0"/>
                <a:cs typeface="Arial" panose="020B0604020202090204" pitchFamily="34" charset="0"/>
              </a:rPr>
            </a:br>
            <a:r>
              <a:rPr lang="en-US" sz="660" dirty="0">
                <a:solidFill>
                  <a:prstClr val="black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It is for Capgemini internal use only. Copyright© 2015 Capgemini. All rights reserved.</a:t>
            </a:r>
            <a:endParaRPr lang="en-GB" sz="660" dirty="0">
              <a:solidFill>
                <a:prstClr val="black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pic>
        <p:nvPicPr>
          <p:cNvPr id="11" name="Picture 10" descr="CAF_logo_color.jpg"/>
          <p:cNvPicPr>
            <a:picLocks noChangeAspect="1"/>
          </p:cNvPicPr>
          <p:nvPr userDrawn="1"/>
        </p:nvPicPr>
        <p:blipFill>
          <a:blip r:embed="rId14" cstate="print"/>
          <a:stretch>
            <a:fillRect/>
          </a:stretch>
        </p:blipFill>
        <p:spPr>
          <a:xfrm>
            <a:off x="9790206" y="117823"/>
            <a:ext cx="1464068" cy="432011"/>
          </a:xfrm>
          <a:prstGeom prst="rect">
            <a:avLst/>
          </a:prstGeom>
        </p:spPr>
      </p:pic>
      <p:pic>
        <p:nvPicPr>
          <p:cNvPr id="13" name="Picture 12" descr="Tagline01a.png"/>
          <p:cNvPicPr>
            <a:picLocks noChangeAspect="1"/>
          </p:cNvPicPr>
          <p:nvPr userDrawn="1"/>
        </p:nvPicPr>
        <p:blipFill>
          <a:blip r:embed="rId15" cstate="print"/>
          <a:stretch>
            <a:fillRect/>
          </a:stretch>
        </p:blipFill>
        <p:spPr>
          <a:xfrm>
            <a:off x="9754485" y="586203"/>
            <a:ext cx="1623564" cy="22617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40" r:id="rId2"/>
    <p:sldLayoutId id="2147483841" r:id="rId3"/>
    <p:sldLayoutId id="2147483842" r:id="rId4"/>
    <p:sldLayoutId id="2147483843" r:id="rId5"/>
    <p:sldLayoutId id="2147483844" r:id="rId6"/>
    <p:sldLayoutId id="2147483845" r:id="rId7"/>
    <p:sldLayoutId id="2147483846" r:id="rId8"/>
    <p:sldLayoutId id="2147483847" r:id="rId9"/>
    <p:sldLayoutId id="2147483848" r:id="rId10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35">
          <a:solidFill>
            <a:srgbClr val="595959"/>
          </a:solidFill>
          <a:latin typeface="Arial" panose="020B0604020202090204" pitchFamily="34" charset="0"/>
          <a:cs typeface="Arial" panose="020B0604020202090204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35">
          <a:solidFill>
            <a:srgbClr val="595959"/>
          </a:solidFill>
          <a:latin typeface="Arial" panose="020B0604020202090204" pitchFamily="34" charset="0"/>
          <a:cs typeface="Arial" panose="020B060402020209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35">
          <a:solidFill>
            <a:srgbClr val="595959"/>
          </a:solidFill>
          <a:latin typeface="Arial" panose="020B0604020202090204" pitchFamily="34" charset="0"/>
          <a:cs typeface="Arial" panose="020B060402020209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35">
          <a:solidFill>
            <a:srgbClr val="595959"/>
          </a:solidFill>
          <a:latin typeface="Arial" panose="020B0604020202090204" pitchFamily="34" charset="0"/>
          <a:cs typeface="Arial" panose="020B060402020209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35">
          <a:solidFill>
            <a:srgbClr val="595959"/>
          </a:solidFill>
          <a:latin typeface="Arial" panose="020B0604020202090204" pitchFamily="34" charset="0"/>
          <a:cs typeface="Arial" panose="020B0604020202090204" pitchFamily="34" charset="0"/>
        </a:defRPr>
      </a:lvl5pPr>
      <a:lvl6pPr marL="431800" algn="ctr" rtl="0" eaLnBrk="0" fontAlgn="base" hangingPunct="0">
        <a:spcBef>
          <a:spcPct val="0"/>
        </a:spcBef>
        <a:spcAft>
          <a:spcPct val="0"/>
        </a:spcAft>
        <a:defRPr sz="2835">
          <a:solidFill>
            <a:srgbClr val="595959"/>
          </a:solidFill>
          <a:latin typeface="Arial" panose="020B0604020202090204" pitchFamily="34" charset="0"/>
          <a:cs typeface="Arial" panose="020B0604020202090204" pitchFamily="34" charset="0"/>
        </a:defRPr>
      </a:lvl6pPr>
      <a:lvl7pPr marL="864235" algn="ctr" rtl="0" eaLnBrk="0" fontAlgn="base" hangingPunct="0">
        <a:spcBef>
          <a:spcPct val="0"/>
        </a:spcBef>
        <a:spcAft>
          <a:spcPct val="0"/>
        </a:spcAft>
        <a:defRPr sz="2835">
          <a:solidFill>
            <a:srgbClr val="595959"/>
          </a:solidFill>
          <a:latin typeface="Arial" panose="020B0604020202090204" pitchFamily="34" charset="0"/>
          <a:cs typeface="Arial" panose="020B0604020202090204" pitchFamily="34" charset="0"/>
        </a:defRPr>
      </a:lvl7pPr>
      <a:lvl8pPr marL="1296035" algn="ctr" rtl="0" eaLnBrk="0" fontAlgn="base" hangingPunct="0">
        <a:spcBef>
          <a:spcPct val="0"/>
        </a:spcBef>
        <a:spcAft>
          <a:spcPct val="0"/>
        </a:spcAft>
        <a:defRPr sz="2835">
          <a:solidFill>
            <a:srgbClr val="595959"/>
          </a:solidFill>
          <a:latin typeface="Arial" panose="020B0604020202090204" pitchFamily="34" charset="0"/>
          <a:cs typeface="Arial" panose="020B0604020202090204" pitchFamily="34" charset="0"/>
        </a:defRPr>
      </a:lvl8pPr>
      <a:lvl9pPr marL="1727835" algn="ctr" rtl="0" eaLnBrk="0" fontAlgn="base" hangingPunct="0">
        <a:spcBef>
          <a:spcPct val="0"/>
        </a:spcBef>
        <a:spcAft>
          <a:spcPct val="0"/>
        </a:spcAft>
        <a:defRPr sz="2835">
          <a:solidFill>
            <a:srgbClr val="595959"/>
          </a:solidFill>
          <a:latin typeface="Arial" panose="020B0604020202090204" pitchFamily="34" charset="0"/>
          <a:cs typeface="Arial" panose="020B0604020202090204" pitchFamily="34" charset="0"/>
        </a:defRPr>
      </a:lvl9pPr>
    </p:titleStyle>
    <p:bodyStyle>
      <a:lvl1pPr marL="323850" indent="-323850" algn="l" rtl="0" eaLnBrk="0" fontAlgn="base" hangingPunct="0">
        <a:spcBef>
          <a:spcPct val="20000"/>
        </a:spcBef>
        <a:spcAft>
          <a:spcPct val="0"/>
        </a:spcAft>
        <a:buChar char="•"/>
        <a:defRPr sz="3025">
          <a:solidFill>
            <a:schemeClr val="tx1"/>
          </a:solidFill>
          <a:latin typeface="Arial" panose="020B0604020202090204" pitchFamily="34" charset="0"/>
        </a:defRPr>
      </a:lvl1pPr>
      <a:lvl2pPr marL="702310" indent="-269875" algn="l" rtl="0" eaLnBrk="0" fontAlgn="base" hangingPunct="0">
        <a:spcBef>
          <a:spcPct val="20000"/>
        </a:spcBef>
        <a:spcAft>
          <a:spcPct val="0"/>
        </a:spcAft>
        <a:buChar char="–"/>
        <a:defRPr sz="2645">
          <a:solidFill>
            <a:schemeClr val="tx1"/>
          </a:solidFill>
          <a:latin typeface="Arial" panose="020B0604020202090204" pitchFamily="34" charset="0"/>
        </a:defRPr>
      </a:lvl2pPr>
      <a:lvl3pPr marL="1080135" indent="-215900" algn="l" rtl="0" eaLnBrk="0" fontAlgn="base" hangingPunct="0">
        <a:spcBef>
          <a:spcPct val="20000"/>
        </a:spcBef>
        <a:spcAft>
          <a:spcPct val="0"/>
        </a:spcAft>
        <a:buChar char="•"/>
        <a:defRPr sz="2270">
          <a:solidFill>
            <a:schemeClr val="tx1"/>
          </a:solidFill>
          <a:latin typeface="Arial" panose="020B0604020202090204" pitchFamily="34" charset="0"/>
        </a:defRPr>
      </a:lvl3pPr>
      <a:lvl4pPr marL="1511935" indent="-215900" algn="l" rtl="0" eaLnBrk="0" fontAlgn="base" hangingPunct="0">
        <a:spcBef>
          <a:spcPct val="20000"/>
        </a:spcBef>
        <a:spcAft>
          <a:spcPct val="0"/>
        </a:spcAft>
        <a:buChar char="–"/>
        <a:defRPr sz="1890">
          <a:solidFill>
            <a:schemeClr val="tx1"/>
          </a:solidFill>
          <a:latin typeface="Arial" panose="020B0604020202090204" pitchFamily="34" charset="0"/>
        </a:defRPr>
      </a:lvl4pPr>
      <a:lvl5pPr marL="1943735" indent="-215900" algn="l" rtl="0" eaLnBrk="0" fontAlgn="base" hangingPunct="0">
        <a:spcBef>
          <a:spcPct val="20000"/>
        </a:spcBef>
        <a:spcAft>
          <a:spcPct val="0"/>
        </a:spcAft>
        <a:buChar char="»"/>
        <a:defRPr sz="1890">
          <a:solidFill>
            <a:schemeClr val="tx1"/>
          </a:solidFill>
          <a:latin typeface="Arial" panose="020B0604020202090204" pitchFamily="34" charset="0"/>
        </a:defRPr>
      </a:lvl5pPr>
      <a:lvl6pPr marL="2376170" indent="-215900" algn="l" rtl="0" eaLnBrk="0" fontAlgn="base" hangingPunct="0">
        <a:spcBef>
          <a:spcPct val="20000"/>
        </a:spcBef>
        <a:spcAft>
          <a:spcPct val="0"/>
        </a:spcAft>
        <a:buChar char="»"/>
        <a:defRPr sz="1890">
          <a:solidFill>
            <a:schemeClr val="tx1"/>
          </a:solidFill>
          <a:latin typeface="Arial" panose="020B0604020202090204" pitchFamily="34" charset="0"/>
        </a:defRPr>
      </a:lvl6pPr>
      <a:lvl7pPr marL="2807970" indent="-215900" algn="l" rtl="0" eaLnBrk="0" fontAlgn="base" hangingPunct="0">
        <a:spcBef>
          <a:spcPct val="20000"/>
        </a:spcBef>
        <a:spcAft>
          <a:spcPct val="0"/>
        </a:spcAft>
        <a:buChar char="»"/>
        <a:defRPr sz="1890">
          <a:solidFill>
            <a:schemeClr val="tx1"/>
          </a:solidFill>
          <a:latin typeface="Arial" panose="020B0604020202090204" pitchFamily="34" charset="0"/>
        </a:defRPr>
      </a:lvl7pPr>
      <a:lvl8pPr marL="3239770" indent="-215900" algn="l" rtl="0" eaLnBrk="0" fontAlgn="base" hangingPunct="0">
        <a:spcBef>
          <a:spcPct val="20000"/>
        </a:spcBef>
        <a:spcAft>
          <a:spcPct val="0"/>
        </a:spcAft>
        <a:buChar char="»"/>
        <a:defRPr sz="1890">
          <a:solidFill>
            <a:schemeClr val="tx1"/>
          </a:solidFill>
          <a:latin typeface="Arial" panose="020B0604020202090204" pitchFamily="34" charset="0"/>
        </a:defRPr>
      </a:lvl8pPr>
      <a:lvl9pPr marL="3672205" indent="-215900" algn="l" rtl="0" eaLnBrk="0" fontAlgn="base" hangingPunct="0">
        <a:spcBef>
          <a:spcPct val="20000"/>
        </a:spcBef>
        <a:spcAft>
          <a:spcPct val="0"/>
        </a:spcAft>
        <a:buChar char="»"/>
        <a:defRPr sz="1890">
          <a:solidFill>
            <a:schemeClr val="tx1"/>
          </a:solidFill>
          <a:latin typeface="Arial" panose="020B0604020202090204" pitchFamily="34" charset="0"/>
        </a:defRPr>
      </a:lvl9pPr>
    </p:bodyStyle>
    <p:otherStyle/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5" name="Rectangle 1"/>
          <p:cNvSpPr>
            <a:spLocks noGrp="1"/>
          </p:cNvSpPr>
          <p:nvPr>
            <p:ph type="title"/>
          </p:nvPr>
        </p:nvSpPr>
        <p:spPr bwMode="auto">
          <a:xfrm>
            <a:off x="2072624" y="168755"/>
            <a:ext cx="7376078" cy="14340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71437" tIns="71437" rIns="71437" bIns="71437" numCol="1" anchor="ctr" anchorCtr="0" compatLnSpc="1"/>
          <a:lstStyle/>
          <a:p>
            <a:pPr lvl="0"/>
            <a:r>
              <a:rPr lang="zh-CN" altLang="zh-CN">
                <a:sym typeface="Helvetica Neue Medium" charset="0"/>
              </a:rPr>
              <a:t>Click to edit Master title style</a:t>
            </a:r>
          </a:p>
        </p:txBody>
      </p:sp>
      <p:sp>
        <p:nvSpPr>
          <p:cNvPr id="1026" name="Rectangle 2"/>
          <p:cNvSpPr>
            <a:spLocks noGrp="1"/>
          </p:cNvSpPr>
          <p:nvPr>
            <p:ph type="body" idx="1"/>
          </p:nvPr>
        </p:nvSpPr>
        <p:spPr bwMode="auto">
          <a:xfrm>
            <a:off x="2072624" y="1721297"/>
            <a:ext cx="7376078" cy="4176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71437" tIns="71437" rIns="71437" bIns="71437" numCol="1" anchor="ctr" anchorCtr="0" compatLnSpc="1"/>
          <a:lstStyle/>
          <a:p>
            <a:pPr lvl="0"/>
            <a:r>
              <a:rPr lang="zh-CN" altLang="zh-CN">
                <a:sym typeface="Helvetica Neue" panose="02000503000000020004" charset="0"/>
              </a:rPr>
              <a:t>Click to edit Master text styles</a:t>
            </a:r>
          </a:p>
          <a:p>
            <a:pPr lvl="1"/>
            <a:r>
              <a:rPr lang="zh-CN" altLang="zh-CN">
                <a:sym typeface="Helvetica Neue" panose="02000503000000020004" charset="0"/>
              </a:rPr>
              <a:t>Second level</a:t>
            </a:r>
          </a:p>
          <a:p>
            <a:pPr lvl="2"/>
            <a:r>
              <a:rPr lang="zh-CN" altLang="zh-CN">
                <a:sym typeface="Helvetica Neue" panose="02000503000000020004" charset="0"/>
              </a:rPr>
              <a:t>Third level</a:t>
            </a:r>
          </a:p>
          <a:p>
            <a:pPr lvl="3"/>
            <a:r>
              <a:rPr lang="zh-CN" altLang="zh-CN">
                <a:sym typeface="Helvetica Neue" panose="02000503000000020004" charset="0"/>
              </a:rPr>
              <a:t>Fourth level</a:t>
            </a:r>
          </a:p>
          <a:p>
            <a:pPr lvl="4"/>
            <a:r>
              <a:rPr lang="zh-CN" altLang="zh-CN">
                <a:sym typeface="Helvetica Neue" panose="02000503000000020004" charset="0"/>
              </a:rPr>
              <a:t>Fifth level</a:t>
            </a:r>
          </a:p>
        </p:txBody>
      </p:sp>
      <p:sp>
        <p:nvSpPr>
          <p:cNvPr id="1027" name="Rectangle 3"/>
          <p:cNvSpPr>
            <a:spLocks noGrp="1"/>
          </p:cNvSpPr>
          <p:nvPr>
            <p:ph type="sldNum" sz="quarter" idx="2"/>
          </p:nvPr>
        </p:nvSpPr>
        <p:spPr bwMode="auto">
          <a:xfrm>
            <a:off x="5648517" y="6176417"/>
            <a:ext cx="219790" cy="2250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71437" tIns="71437" rIns="71437" bIns="71437" numCol="1" anchor="t" anchorCtr="0" compatLnSpc="1"/>
          <a:lstStyle>
            <a:lvl1pPr>
              <a:defRPr sz="1040" b="0">
                <a:latin typeface="Helvetica Neue Light" charset="0"/>
                <a:ea typeface="Helvetica Neue Light" charset="0"/>
                <a:cs typeface="Helvetica Neue Light" charset="0"/>
                <a:sym typeface="Helvetica Neue Light" charset="0"/>
              </a:defRPr>
            </a:lvl1pPr>
          </a:lstStyle>
          <a:p>
            <a:pPr algn="ctr" defTabSz="387350" fontAlgn="base" hangingPunct="0">
              <a:spcBef>
                <a:spcPct val="0"/>
              </a:spcBef>
              <a:spcAft>
                <a:spcPct val="0"/>
              </a:spcAft>
            </a:pPr>
            <a:fld id="{FA5EEF78-6ACC-475E-B39D-A7E3753F8D51}" type="slidenum">
              <a:rPr lang="zh-CN" altLang="zh-CN" smtClean="0">
                <a:solidFill>
                  <a:srgbClr val="000000"/>
                </a:solidFill>
              </a:rPr>
              <a:t>‹#›</a:t>
            </a:fld>
            <a:endParaRPr lang="zh-CN" altLang="zh-CN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58" r:id="rId4"/>
    <p:sldLayoutId id="2147483659" r:id="rId5"/>
    <p:sldLayoutId id="2147483660" r:id="rId6"/>
    <p:sldLayoutId id="2147483661" r:id="rId7"/>
    <p:sldLayoutId id="2147483662" r:id="rId8"/>
    <p:sldLayoutId id="2147483663" r:id="rId9"/>
    <p:sldLayoutId id="2147483664" r:id="rId10"/>
    <p:sldLayoutId id="2147483665" r:id="rId11"/>
  </p:sldLayoutIdLst>
  <p:txStyles>
    <p:titleStyle>
      <a:lvl1pPr algn="ctr" defTabSz="387350" rtl="0" fontAlgn="base" hangingPunct="0">
        <a:spcBef>
          <a:spcPct val="0"/>
        </a:spcBef>
        <a:spcAft>
          <a:spcPct val="0"/>
        </a:spcAft>
        <a:defRPr sz="5290" kern="1200">
          <a:solidFill>
            <a:srgbClr val="000000"/>
          </a:solidFill>
          <a:latin typeface="+mj-lt"/>
          <a:ea typeface="+mj-ea"/>
          <a:cs typeface="+mj-cs"/>
          <a:sym typeface="Helvetica Neue Medium" charset="0"/>
        </a:defRPr>
      </a:lvl1pPr>
      <a:lvl2pPr algn="ctr" defTabSz="387350" rtl="0" fontAlgn="base" hangingPunct="0">
        <a:spcBef>
          <a:spcPct val="0"/>
        </a:spcBef>
        <a:spcAft>
          <a:spcPct val="0"/>
        </a:spcAft>
        <a:defRPr sz="5290">
          <a:solidFill>
            <a:srgbClr val="000000"/>
          </a:solidFill>
          <a:latin typeface="Helvetica Neue Medium" charset="0"/>
          <a:ea typeface="Helvetica Neue Medium" charset="0"/>
          <a:cs typeface="Helvetica Neue Medium" charset="0"/>
          <a:sym typeface="Helvetica Neue Medium" charset="0"/>
        </a:defRPr>
      </a:lvl2pPr>
      <a:lvl3pPr algn="ctr" defTabSz="387350" rtl="0" fontAlgn="base" hangingPunct="0">
        <a:spcBef>
          <a:spcPct val="0"/>
        </a:spcBef>
        <a:spcAft>
          <a:spcPct val="0"/>
        </a:spcAft>
        <a:defRPr sz="5290">
          <a:solidFill>
            <a:srgbClr val="000000"/>
          </a:solidFill>
          <a:latin typeface="Helvetica Neue Medium" charset="0"/>
          <a:ea typeface="Helvetica Neue Medium" charset="0"/>
          <a:cs typeface="Helvetica Neue Medium" charset="0"/>
          <a:sym typeface="Helvetica Neue Medium" charset="0"/>
        </a:defRPr>
      </a:lvl3pPr>
      <a:lvl4pPr algn="ctr" defTabSz="387350" rtl="0" fontAlgn="base" hangingPunct="0">
        <a:spcBef>
          <a:spcPct val="0"/>
        </a:spcBef>
        <a:spcAft>
          <a:spcPct val="0"/>
        </a:spcAft>
        <a:defRPr sz="5290">
          <a:solidFill>
            <a:srgbClr val="000000"/>
          </a:solidFill>
          <a:latin typeface="Helvetica Neue Medium" charset="0"/>
          <a:ea typeface="Helvetica Neue Medium" charset="0"/>
          <a:cs typeface="Helvetica Neue Medium" charset="0"/>
          <a:sym typeface="Helvetica Neue Medium" charset="0"/>
        </a:defRPr>
      </a:lvl4pPr>
      <a:lvl5pPr algn="ctr" defTabSz="387350" rtl="0" fontAlgn="base" hangingPunct="0">
        <a:spcBef>
          <a:spcPct val="0"/>
        </a:spcBef>
        <a:spcAft>
          <a:spcPct val="0"/>
        </a:spcAft>
        <a:defRPr sz="5290">
          <a:solidFill>
            <a:srgbClr val="000000"/>
          </a:solidFill>
          <a:latin typeface="Helvetica Neue Medium" charset="0"/>
          <a:ea typeface="Helvetica Neue Medium" charset="0"/>
          <a:cs typeface="Helvetica Neue Medium" charset="0"/>
          <a:sym typeface="Helvetica Neue Medium" charset="0"/>
        </a:defRPr>
      </a:lvl5pPr>
      <a:lvl6pPr marL="215900" algn="ctr" defTabSz="387350" rtl="0" fontAlgn="base" hangingPunct="0">
        <a:spcBef>
          <a:spcPct val="0"/>
        </a:spcBef>
        <a:spcAft>
          <a:spcPct val="0"/>
        </a:spcAft>
        <a:defRPr sz="5290">
          <a:solidFill>
            <a:srgbClr val="000000"/>
          </a:solidFill>
          <a:latin typeface="Helvetica Neue Medium" charset="0"/>
          <a:ea typeface="Helvetica Neue Medium" charset="0"/>
          <a:cs typeface="Helvetica Neue Medium" charset="0"/>
          <a:sym typeface="Helvetica Neue Medium" charset="0"/>
        </a:defRPr>
      </a:lvl6pPr>
      <a:lvl7pPr marL="431800" algn="ctr" defTabSz="387350" rtl="0" fontAlgn="base" hangingPunct="0">
        <a:spcBef>
          <a:spcPct val="0"/>
        </a:spcBef>
        <a:spcAft>
          <a:spcPct val="0"/>
        </a:spcAft>
        <a:defRPr sz="5290">
          <a:solidFill>
            <a:srgbClr val="000000"/>
          </a:solidFill>
          <a:latin typeface="Helvetica Neue Medium" charset="0"/>
          <a:ea typeface="Helvetica Neue Medium" charset="0"/>
          <a:cs typeface="Helvetica Neue Medium" charset="0"/>
          <a:sym typeface="Helvetica Neue Medium" charset="0"/>
        </a:defRPr>
      </a:lvl7pPr>
      <a:lvl8pPr marL="648335" algn="ctr" defTabSz="387350" rtl="0" fontAlgn="base" hangingPunct="0">
        <a:spcBef>
          <a:spcPct val="0"/>
        </a:spcBef>
        <a:spcAft>
          <a:spcPct val="0"/>
        </a:spcAft>
        <a:defRPr sz="5290">
          <a:solidFill>
            <a:srgbClr val="000000"/>
          </a:solidFill>
          <a:latin typeface="Helvetica Neue Medium" charset="0"/>
          <a:ea typeface="Helvetica Neue Medium" charset="0"/>
          <a:cs typeface="Helvetica Neue Medium" charset="0"/>
          <a:sym typeface="Helvetica Neue Medium" charset="0"/>
        </a:defRPr>
      </a:lvl8pPr>
      <a:lvl9pPr marL="864235" algn="ctr" defTabSz="387350" rtl="0" fontAlgn="base" hangingPunct="0">
        <a:spcBef>
          <a:spcPct val="0"/>
        </a:spcBef>
        <a:spcAft>
          <a:spcPct val="0"/>
        </a:spcAft>
        <a:defRPr sz="5290">
          <a:solidFill>
            <a:srgbClr val="000000"/>
          </a:solidFill>
          <a:latin typeface="Helvetica Neue Medium" charset="0"/>
          <a:ea typeface="Helvetica Neue Medium" charset="0"/>
          <a:cs typeface="Helvetica Neue Medium" charset="0"/>
          <a:sym typeface="Helvetica Neue Medium" charset="0"/>
        </a:defRPr>
      </a:lvl9pPr>
    </p:titleStyle>
    <p:bodyStyle>
      <a:lvl1pPr marL="288925" indent="-288925" algn="l" defTabSz="387350" rtl="0" fontAlgn="base" hangingPunct="0">
        <a:spcBef>
          <a:spcPts val="2790"/>
        </a:spcBef>
        <a:spcAft>
          <a:spcPct val="0"/>
        </a:spcAft>
        <a:buSzPct val="145000"/>
        <a:buChar char="•"/>
        <a:defRPr sz="2080" kern="1200">
          <a:solidFill>
            <a:srgbClr val="000000"/>
          </a:solidFill>
          <a:latin typeface="+mn-lt"/>
          <a:ea typeface="+mn-ea"/>
          <a:cs typeface="+mn-cs"/>
          <a:sym typeface="Helvetica Neue" panose="02000503000000020004" charset="0"/>
        </a:defRPr>
      </a:lvl1pPr>
      <a:lvl2pPr marL="499110" indent="-288925" algn="l" defTabSz="387350" rtl="0" fontAlgn="base" hangingPunct="0">
        <a:spcBef>
          <a:spcPts val="2790"/>
        </a:spcBef>
        <a:spcAft>
          <a:spcPct val="0"/>
        </a:spcAft>
        <a:buSzPct val="145000"/>
        <a:buChar char="•"/>
        <a:defRPr sz="2080" kern="1200">
          <a:solidFill>
            <a:srgbClr val="000000"/>
          </a:solidFill>
          <a:latin typeface="+mn-lt"/>
          <a:ea typeface="+mn-ea"/>
          <a:cs typeface="+mn-cs"/>
          <a:sym typeface="Helvetica Neue" panose="02000503000000020004" charset="0"/>
        </a:defRPr>
      </a:lvl2pPr>
      <a:lvl3pPr marL="708660" indent="-288925" algn="l" defTabSz="387350" rtl="0" fontAlgn="base" hangingPunct="0">
        <a:spcBef>
          <a:spcPts val="2790"/>
        </a:spcBef>
        <a:spcAft>
          <a:spcPct val="0"/>
        </a:spcAft>
        <a:buSzPct val="145000"/>
        <a:buChar char="•"/>
        <a:defRPr sz="2080" kern="1200">
          <a:solidFill>
            <a:srgbClr val="000000"/>
          </a:solidFill>
          <a:latin typeface="+mn-lt"/>
          <a:ea typeface="+mn-ea"/>
          <a:cs typeface="+mn-cs"/>
          <a:sym typeface="Helvetica Neue" panose="02000503000000020004" charset="0"/>
        </a:defRPr>
      </a:lvl3pPr>
      <a:lvl4pPr marL="918845" indent="-288925" algn="l" defTabSz="387350" rtl="0" fontAlgn="base" hangingPunct="0">
        <a:spcBef>
          <a:spcPts val="2790"/>
        </a:spcBef>
        <a:spcAft>
          <a:spcPct val="0"/>
        </a:spcAft>
        <a:buSzPct val="145000"/>
        <a:buChar char="•"/>
        <a:defRPr sz="2080" kern="1200">
          <a:solidFill>
            <a:srgbClr val="000000"/>
          </a:solidFill>
          <a:latin typeface="+mn-lt"/>
          <a:ea typeface="+mn-ea"/>
          <a:cs typeface="+mn-cs"/>
          <a:sym typeface="Helvetica Neue" panose="02000503000000020004" charset="0"/>
        </a:defRPr>
      </a:lvl4pPr>
      <a:lvl5pPr marL="1129030" indent="-288925" algn="l" defTabSz="387350" rtl="0" fontAlgn="base" hangingPunct="0">
        <a:spcBef>
          <a:spcPts val="2790"/>
        </a:spcBef>
        <a:spcAft>
          <a:spcPct val="0"/>
        </a:spcAft>
        <a:buSzPct val="145000"/>
        <a:buChar char="•"/>
        <a:defRPr sz="2080" kern="1200">
          <a:solidFill>
            <a:srgbClr val="000000"/>
          </a:solidFill>
          <a:latin typeface="+mn-lt"/>
          <a:ea typeface="+mn-ea"/>
          <a:cs typeface="+mn-cs"/>
          <a:sym typeface="Helvetica Neue" panose="02000503000000020004" charset="0"/>
        </a:defRPr>
      </a:lvl5pPr>
      <a:lvl6pPr marL="1188085" indent="-107950" algn="l" defTabSz="431800" rtl="0" eaLnBrk="1" latinLnBrk="0" hangingPunct="1">
        <a:lnSpc>
          <a:spcPct val="90000"/>
        </a:lnSpc>
        <a:spcBef>
          <a:spcPts val="235"/>
        </a:spcBef>
        <a:buFont typeface="Arial" panose="020B0604020202090204" pitchFamily="34" charset="0"/>
        <a:buChar char="•"/>
        <a:defRPr sz="850" kern="1200">
          <a:solidFill>
            <a:schemeClr val="tx1"/>
          </a:solidFill>
          <a:latin typeface="+mn-lt"/>
          <a:ea typeface="+mn-ea"/>
          <a:cs typeface="+mn-cs"/>
        </a:defRPr>
      </a:lvl6pPr>
      <a:lvl7pPr marL="1403985" indent="-107950" algn="l" defTabSz="431800" rtl="0" eaLnBrk="1" latinLnBrk="0" hangingPunct="1">
        <a:lnSpc>
          <a:spcPct val="90000"/>
        </a:lnSpc>
        <a:spcBef>
          <a:spcPts val="235"/>
        </a:spcBef>
        <a:buFont typeface="Arial" panose="020B0604020202090204" pitchFamily="34" charset="0"/>
        <a:buChar char="•"/>
        <a:defRPr sz="850" kern="1200">
          <a:solidFill>
            <a:schemeClr val="tx1"/>
          </a:solidFill>
          <a:latin typeface="+mn-lt"/>
          <a:ea typeface="+mn-ea"/>
          <a:cs typeface="+mn-cs"/>
        </a:defRPr>
      </a:lvl7pPr>
      <a:lvl8pPr marL="1620520" indent="-107950" algn="l" defTabSz="431800" rtl="0" eaLnBrk="1" latinLnBrk="0" hangingPunct="1">
        <a:lnSpc>
          <a:spcPct val="90000"/>
        </a:lnSpc>
        <a:spcBef>
          <a:spcPts val="235"/>
        </a:spcBef>
        <a:buFont typeface="Arial" panose="020B0604020202090204" pitchFamily="34" charset="0"/>
        <a:buChar char="•"/>
        <a:defRPr sz="850" kern="1200">
          <a:solidFill>
            <a:schemeClr val="tx1"/>
          </a:solidFill>
          <a:latin typeface="+mn-lt"/>
          <a:ea typeface="+mn-ea"/>
          <a:cs typeface="+mn-cs"/>
        </a:defRPr>
      </a:lvl8pPr>
      <a:lvl9pPr marL="1836420" indent="-107950" algn="l" defTabSz="431800" rtl="0" eaLnBrk="1" latinLnBrk="0" hangingPunct="1">
        <a:lnSpc>
          <a:spcPct val="90000"/>
        </a:lnSpc>
        <a:spcBef>
          <a:spcPts val="235"/>
        </a:spcBef>
        <a:buFont typeface="Arial" panose="020B0604020202090204" pitchFamily="34" charset="0"/>
        <a:buChar char="•"/>
        <a:defRPr sz="8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431800" rtl="0" eaLnBrk="1" latinLnBrk="0" hangingPunct="1">
        <a:defRPr sz="850" kern="1200">
          <a:solidFill>
            <a:schemeClr val="tx1"/>
          </a:solidFill>
          <a:latin typeface="+mn-lt"/>
          <a:ea typeface="+mn-ea"/>
          <a:cs typeface="+mn-cs"/>
        </a:defRPr>
      </a:lvl1pPr>
      <a:lvl2pPr marL="215900" algn="l" defTabSz="431800" rtl="0" eaLnBrk="1" latinLnBrk="0" hangingPunct="1">
        <a:defRPr sz="850" kern="1200">
          <a:solidFill>
            <a:schemeClr val="tx1"/>
          </a:solidFill>
          <a:latin typeface="+mn-lt"/>
          <a:ea typeface="+mn-ea"/>
          <a:cs typeface="+mn-cs"/>
        </a:defRPr>
      </a:lvl2pPr>
      <a:lvl3pPr marL="431800" algn="l" defTabSz="431800" rtl="0" eaLnBrk="1" latinLnBrk="0" hangingPunct="1">
        <a:defRPr sz="850" kern="1200">
          <a:solidFill>
            <a:schemeClr val="tx1"/>
          </a:solidFill>
          <a:latin typeface="+mn-lt"/>
          <a:ea typeface="+mn-ea"/>
          <a:cs typeface="+mn-cs"/>
        </a:defRPr>
      </a:lvl3pPr>
      <a:lvl4pPr marL="648335" algn="l" defTabSz="431800" rtl="0" eaLnBrk="1" latinLnBrk="0" hangingPunct="1">
        <a:defRPr sz="850" kern="1200">
          <a:solidFill>
            <a:schemeClr val="tx1"/>
          </a:solidFill>
          <a:latin typeface="+mn-lt"/>
          <a:ea typeface="+mn-ea"/>
          <a:cs typeface="+mn-cs"/>
        </a:defRPr>
      </a:lvl4pPr>
      <a:lvl5pPr marL="864235" algn="l" defTabSz="431800" rtl="0" eaLnBrk="1" latinLnBrk="0" hangingPunct="1">
        <a:defRPr sz="850" kern="1200">
          <a:solidFill>
            <a:schemeClr val="tx1"/>
          </a:solidFill>
          <a:latin typeface="+mn-lt"/>
          <a:ea typeface="+mn-ea"/>
          <a:cs typeface="+mn-cs"/>
        </a:defRPr>
      </a:lvl5pPr>
      <a:lvl6pPr marL="1080135" algn="l" defTabSz="431800" rtl="0" eaLnBrk="1" latinLnBrk="0" hangingPunct="1">
        <a:defRPr sz="850" kern="1200">
          <a:solidFill>
            <a:schemeClr val="tx1"/>
          </a:solidFill>
          <a:latin typeface="+mn-lt"/>
          <a:ea typeface="+mn-ea"/>
          <a:cs typeface="+mn-cs"/>
        </a:defRPr>
      </a:lvl6pPr>
      <a:lvl7pPr marL="1296035" algn="l" defTabSz="431800" rtl="0" eaLnBrk="1" latinLnBrk="0" hangingPunct="1">
        <a:defRPr sz="850" kern="1200">
          <a:solidFill>
            <a:schemeClr val="tx1"/>
          </a:solidFill>
          <a:latin typeface="+mn-lt"/>
          <a:ea typeface="+mn-ea"/>
          <a:cs typeface="+mn-cs"/>
        </a:defRPr>
      </a:lvl7pPr>
      <a:lvl8pPr marL="1511935" algn="l" defTabSz="431800" rtl="0" eaLnBrk="1" latinLnBrk="0" hangingPunct="1">
        <a:defRPr sz="850" kern="1200">
          <a:solidFill>
            <a:schemeClr val="tx1"/>
          </a:solidFill>
          <a:latin typeface="+mn-lt"/>
          <a:ea typeface="+mn-ea"/>
          <a:cs typeface="+mn-cs"/>
        </a:defRPr>
      </a:lvl8pPr>
      <a:lvl9pPr marL="1728470" algn="l" defTabSz="431800" rtl="0" eaLnBrk="1" latinLnBrk="0" hangingPunct="1">
        <a:defRPr sz="8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87995" y="388195"/>
            <a:ext cx="10522965" cy="1014002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87995" y="1402209"/>
            <a:ext cx="10522965" cy="4013965"/>
          </a:xfrm>
          <a:prstGeom prst="rect">
            <a:avLst/>
          </a:prstGeom>
        </p:spPr>
        <p:txBody>
          <a:bodyPr vert="horz" lIns="8099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682564" y="5813601"/>
            <a:ext cx="6454429" cy="34016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135">
                <a:solidFill>
                  <a:srgbClr val="7F7F7F"/>
                </a:solidFill>
              </a:defRPr>
            </a:lvl1pPr>
          </a:lstStyle>
          <a:p>
            <a:pPr defTabSz="860425"/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487949" y="5813601"/>
            <a:ext cx="864181" cy="34016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135">
                <a:solidFill>
                  <a:srgbClr val="7F7F7F"/>
                </a:solidFill>
              </a:defRPr>
            </a:lvl1pPr>
          </a:lstStyle>
          <a:p>
            <a:pPr defTabSz="860425"/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c" descr="LBI - Microsoft"/>
          <p:cNvSpPr txBox="1"/>
          <p:nvPr userDrawn="1"/>
        </p:nvSpPr>
        <p:spPr>
          <a:xfrm>
            <a:off x="0" y="6208168"/>
            <a:ext cx="11522075" cy="280882"/>
          </a:xfrm>
          <a:prstGeom prst="rect">
            <a:avLst/>
          </a:prstGeom>
          <a:noFill/>
        </p:spPr>
        <p:txBody>
          <a:bodyPr vert="horz" lIns="86144" tIns="43071" rIns="86144" bIns="43071" rtlCol="0">
            <a:spAutoFit/>
          </a:bodyPr>
          <a:lstStyle/>
          <a:p>
            <a:pPr algn="ctr" defTabSz="860425"/>
            <a:r>
              <a:rPr lang="en-US" altLang="zh-CN" sz="1260" b="1">
                <a:solidFill>
                  <a:srgbClr val="3E8430"/>
                </a:solidFill>
                <a:latin typeface="Arial" panose="020B0604020202090204" pitchFamily="34" charset="0"/>
              </a:rPr>
              <a:t>LBI - Microsoft</a:t>
            </a:r>
            <a:endParaRPr lang="zh-CN" altLang="en-US" sz="1260" b="1">
              <a:solidFill>
                <a:srgbClr val="3E8430"/>
              </a:solidFill>
              <a:latin typeface="Arial" panose="020B060402020209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  <p:sldLayoutId id="2147483678" r:id="rId12"/>
    <p:sldLayoutId id="2147483679" r:id="rId13"/>
    <p:sldLayoutId id="2147483680" r:id="rId14"/>
    <p:sldLayoutId id="2147483681" r:id="rId15"/>
    <p:sldLayoutId id="2147483682" r:id="rId16"/>
    <p:sldLayoutId id="2147483683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861060" rtl="0" eaLnBrk="1" latinLnBrk="0" hangingPunct="1">
        <a:spcBef>
          <a:spcPct val="0"/>
        </a:spcBef>
        <a:buNone/>
        <a:defRPr sz="34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861060" rtl="0" eaLnBrk="1" latinLnBrk="0" hangingPunct="1">
        <a:spcBef>
          <a:spcPts val="0"/>
        </a:spcBef>
        <a:spcAft>
          <a:spcPts val="945"/>
        </a:spcAft>
        <a:buFont typeface="Wingdings" panose="05000000000000000000" pitchFamily="2" charset="2"/>
        <a:buChar char="§"/>
        <a:defRPr sz="214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1pPr>
      <a:lvl2pPr marL="760730" indent="-257175" algn="l" defTabSz="861060" rtl="0" eaLnBrk="1" latinLnBrk="0" hangingPunct="1">
        <a:spcBef>
          <a:spcPts val="0"/>
        </a:spcBef>
        <a:spcAft>
          <a:spcPts val="945"/>
        </a:spcAft>
        <a:buFont typeface="Symbol" panose="05050102010706020507" pitchFamily="18" charset="2"/>
        <a:buChar char="-"/>
        <a:defRPr sz="189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2pPr>
      <a:lvl3pPr marL="1017905" indent="-167640" algn="l" defTabSz="861060" rtl="0" eaLnBrk="1" latinLnBrk="0" hangingPunct="1">
        <a:spcBef>
          <a:spcPts val="0"/>
        </a:spcBef>
        <a:spcAft>
          <a:spcPts val="945"/>
        </a:spcAft>
        <a:buFont typeface="Symbol" panose="05050102010706020507" pitchFamily="18" charset="2"/>
        <a:buChar char="-"/>
        <a:defRPr sz="1765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3pPr>
      <a:lvl4pPr marL="1353185" indent="-167640" algn="l" defTabSz="861060" rtl="0" eaLnBrk="1" latinLnBrk="0" hangingPunct="1">
        <a:spcBef>
          <a:spcPts val="0"/>
        </a:spcBef>
        <a:spcAft>
          <a:spcPts val="945"/>
        </a:spcAft>
        <a:buFont typeface="Symbol" panose="05050102010706020507" pitchFamily="18" charset="2"/>
        <a:buChar char="-"/>
        <a:defRPr sz="151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4pPr>
      <a:lvl5pPr marL="1689100" indent="-168910" algn="l" defTabSz="861060" rtl="0" eaLnBrk="1" latinLnBrk="0" hangingPunct="1">
        <a:spcBef>
          <a:spcPts val="0"/>
        </a:spcBef>
        <a:spcAft>
          <a:spcPts val="945"/>
        </a:spcAft>
        <a:buFont typeface="Symbol" panose="05050102010706020507" pitchFamily="18" charset="2"/>
        <a:buChar char="-"/>
        <a:defRPr sz="151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5pPr>
      <a:lvl6pPr marL="2367915" indent="-215265" algn="l" defTabSz="861060" rtl="0" eaLnBrk="1" latinLnBrk="0" hangingPunct="1">
        <a:spcBef>
          <a:spcPct val="20000"/>
        </a:spcBef>
        <a:buFont typeface="Arial" panose="020B060402020209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6pPr>
      <a:lvl7pPr marL="2798445" indent="-215265" algn="l" defTabSz="861060" rtl="0" eaLnBrk="1" latinLnBrk="0" hangingPunct="1">
        <a:spcBef>
          <a:spcPct val="20000"/>
        </a:spcBef>
        <a:buFont typeface="Arial" panose="020B060402020209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7pPr>
      <a:lvl8pPr marL="3228975" indent="-215265" algn="l" defTabSz="861060" rtl="0" eaLnBrk="1" latinLnBrk="0" hangingPunct="1">
        <a:spcBef>
          <a:spcPct val="20000"/>
        </a:spcBef>
        <a:buFont typeface="Arial" panose="020B060402020209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8pPr>
      <a:lvl9pPr marL="3659505" indent="-215265" algn="l" defTabSz="861060" rtl="0" eaLnBrk="1" latinLnBrk="0" hangingPunct="1">
        <a:spcBef>
          <a:spcPct val="20000"/>
        </a:spcBef>
        <a:buFont typeface="Arial" panose="020B060402020209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86106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30530" algn="l" defTabSz="86106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861060" algn="l" defTabSz="86106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291590" algn="l" defTabSz="86106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722120" algn="l" defTabSz="86106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152650" algn="l" defTabSz="86106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583180" algn="l" defTabSz="86106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013710" algn="l" defTabSz="86106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444240" algn="l" defTabSz="86106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87983" y="388195"/>
            <a:ext cx="10522965" cy="1014002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87983" y="1402209"/>
            <a:ext cx="10522965" cy="4013965"/>
          </a:xfrm>
          <a:prstGeom prst="rect">
            <a:avLst/>
          </a:prstGeom>
        </p:spPr>
        <p:txBody>
          <a:bodyPr vert="horz" lIns="8099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682564" y="5813601"/>
            <a:ext cx="6454429" cy="34016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135">
                <a:solidFill>
                  <a:srgbClr val="7F7F7F"/>
                </a:solidFill>
              </a:defRPr>
            </a:lvl1pPr>
          </a:lstStyle>
          <a:p>
            <a:pPr defTabSz="861695"/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487949" y="5813601"/>
            <a:ext cx="864181" cy="34016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135">
                <a:solidFill>
                  <a:srgbClr val="7F7F7F"/>
                </a:solidFill>
              </a:defRPr>
            </a:lvl1pPr>
          </a:lstStyle>
          <a:p>
            <a:pPr defTabSz="861695"/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c"/>
          <p:cNvSpPr txBox="1"/>
          <p:nvPr userDrawn="1"/>
        </p:nvSpPr>
        <p:spPr>
          <a:xfrm>
            <a:off x="0" y="6208168"/>
            <a:ext cx="11522075" cy="280959"/>
          </a:xfrm>
          <a:prstGeom prst="rect">
            <a:avLst/>
          </a:prstGeom>
          <a:noFill/>
        </p:spPr>
        <p:txBody>
          <a:bodyPr vert="horz" lIns="86220" tIns="43109" rIns="86220" bIns="43109" rtlCol="0">
            <a:spAutoFit/>
          </a:bodyPr>
          <a:lstStyle/>
          <a:p>
            <a:pPr algn="ctr" defTabSz="861695"/>
            <a:endParaRPr lang="zh-CN" altLang="en-US" sz="1260" b="1">
              <a:solidFill>
                <a:srgbClr val="3E8430"/>
              </a:solidFill>
              <a:latin typeface="Arial" panose="020B060402020209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  <p:sldLayoutId id="2147483702" r:id="rId1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861695" rtl="0" eaLnBrk="1" latinLnBrk="0" hangingPunct="1">
        <a:spcBef>
          <a:spcPct val="0"/>
        </a:spcBef>
        <a:buNone/>
        <a:defRPr sz="34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861695" rtl="0" eaLnBrk="1" latinLnBrk="0" hangingPunct="1">
        <a:spcBef>
          <a:spcPts val="0"/>
        </a:spcBef>
        <a:spcAft>
          <a:spcPts val="945"/>
        </a:spcAft>
        <a:buFont typeface="Wingdings" panose="05000000000000000000" pitchFamily="2" charset="2"/>
        <a:buChar char="§"/>
        <a:defRPr sz="214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1pPr>
      <a:lvl2pPr marL="762000" indent="-257175" algn="l" defTabSz="861695" rtl="0" eaLnBrk="1" latinLnBrk="0" hangingPunct="1">
        <a:spcBef>
          <a:spcPts val="0"/>
        </a:spcBef>
        <a:spcAft>
          <a:spcPts val="945"/>
        </a:spcAft>
        <a:buFont typeface="Symbol" panose="05050102010706020507" pitchFamily="18" charset="2"/>
        <a:buChar char="-"/>
        <a:defRPr sz="189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2pPr>
      <a:lvl3pPr marL="1019175" indent="-167640" algn="l" defTabSz="861695" rtl="0" eaLnBrk="1" latinLnBrk="0" hangingPunct="1">
        <a:spcBef>
          <a:spcPts val="0"/>
        </a:spcBef>
        <a:spcAft>
          <a:spcPts val="945"/>
        </a:spcAft>
        <a:buFont typeface="Symbol" panose="05050102010706020507" pitchFamily="18" charset="2"/>
        <a:buChar char="-"/>
        <a:defRPr sz="1765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3pPr>
      <a:lvl4pPr marL="1354455" indent="-167640" algn="l" defTabSz="861695" rtl="0" eaLnBrk="1" latinLnBrk="0" hangingPunct="1">
        <a:spcBef>
          <a:spcPts val="0"/>
        </a:spcBef>
        <a:spcAft>
          <a:spcPts val="945"/>
        </a:spcAft>
        <a:buFont typeface="Symbol" panose="05050102010706020507" pitchFamily="18" charset="2"/>
        <a:buChar char="-"/>
        <a:defRPr sz="151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4pPr>
      <a:lvl5pPr marL="1691005" indent="-168910" algn="l" defTabSz="861695" rtl="0" eaLnBrk="1" latinLnBrk="0" hangingPunct="1">
        <a:spcBef>
          <a:spcPts val="0"/>
        </a:spcBef>
        <a:spcAft>
          <a:spcPts val="945"/>
        </a:spcAft>
        <a:buFont typeface="Symbol" panose="05050102010706020507" pitchFamily="18" charset="2"/>
        <a:buChar char="-"/>
        <a:defRPr sz="151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5pPr>
      <a:lvl6pPr marL="2370455" indent="-215265" algn="l" defTabSz="861695" rtl="0" eaLnBrk="1" latinLnBrk="0" hangingPunct="1">
        <a:spcBef>
          <a:spcPct val="20000"/>
        </a:spcBef>
        <a:buFont typeface="Arial" panose="020B060402020209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6pPr>
      <a:lvl7pPr marL="2801620" indent="-215265" algn="l" defTabSz="861695" rtl="0" eaLnBrk="1" latinLnBrk="0" hangingPunct="1">
        <a:spcBef>
          <a:spcPct val="20000"/>
        </a:spcBef>
        <a:buFont typeface="Arial" panose="020B060402020209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7pPr>
      <a:lvl8pPr marL="3232150" indent="-215265" algn="l" defTabSz="861695" rtl="0" eaLnBrk="1" latinLnBrk="0" hangingPunct="1">
        <a:spcBef>
          <a:spcPct val="20000"/>
        </a:spcBef>
        <a:buFont typeface="Arial" panose="020B060402020209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8pPr>
      <a:lvl9pPr marL="3663315" indent="-215265" algn="l" defTabSz="861695" rtl="0" eaLnBrk="1" latinLnBrk="0" hangingPunct="1">
        <a:spcBef>
          <a:spcPct val="20000"/>
        </a:spcBef>
        <a:buFont typeface="Arial" panose="020B060402020209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861695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31165" algn="l" defTabSz="861695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861695" algn="l" defTabSz="861695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292860" algn="l" defTabSz="861695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724025" algn="l" defTabSz="861695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155190" algn="l" defTabSz="861695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585720" algn="l" defTabSz="861695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016885" algn="l" defTabSz="861695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448050" algn="l" defTabSz="861695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87983" y="388195"/>
            <a:ext cx="10522965" cy="1014002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87983" y="1402209"/>
            <a:ext cx="10522965" cy="4013965"/>
          </a:xfrm>
          <a:prstGeom prst="rect">
            <a:avLst/>
          </a:prstGeom>
        </p:spPr>
        <p:txBody>
          <a:bodyPr vert="horz" lIns="8099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682564" y="5813601"/>
            <a:ext cx="6454429" cy="34016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135">
                <a:solidFill>
                  <a:srgbClr val="7F7F7F"/>
                </a:solidFill>
              </a:defRPr>
            </a:lvl1pPr>
          </a:lstStyle>
          <a:p>
            <a:pPr defTabSz="861695"/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487949" y="5813601"/>
            <a:ext cx="864181" cy="34016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135">
                <a:solidFill>
                  <a:srgbClr val="7F7F7F"/>
                </a:solidFill>
              </a:defRPr>
            </a:lvl1pPr>
          </a:lstStyle>
          <a:p>
            <a:pPr defTabSz="861695"/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c"/>
          <p:cNvSpPr txBox="1"/>
          <p:nvPr userDrawn="1"/>
        </p:nvSpPr>
        <p:spPr>
          <a:xfrm>
            <a:off x="0" y="6208168"/>
            <a:ext cx="11522075" cy="280959"/>
          </a:xfrm>
          <a:prstGeom prst="rect">
            <a:avLst/>
          </a:prstGeom>
          <a:noFill/>
        </p:spPr>
        <p:txBody>
          <a:bodyPr vert="horz" lIns="86220" tIns="43109" rIns="86220" bIns="43109" rtlCol="0">
            <a:spAutoFit/>
          </a:bodyPr>
          <a:lstStyle/>
          <a:p>
            <a:pPr algn="ctr" defTabSz="861695"/>
            <a:endParaRPr lang="zh-CN" altLang="en-US" sz="1260" b="1">
              <a:solidFill>
                <a:srgbClr val="3E8430"/>
              </a:solidFill>
              <a:latin typeface="Arial" panose="020B060402020209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  <p:sldLayoutId id="2147483715" r:id="rId12"/>
    <p:sldLayoutId id="2147483716" r:id="rId13"/>
    <p:sldLayoutId id="2147483717" r:id="rId14"/>
    <p:sldLayoutId id="2147483718" r:id="rId15"/>
    <p:sldLayoutId id="2147483719" r:id="rId16"/>
    <p:sldLayoutId id="2147483720" r:id="rId17"/>
    <p:sldLayoutId id="2147483721" r:id="rId1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861695" rtl="0" eaLnBrk="1" latinLnBrk="0" hangingPunct="1">
        <a:spcBef>
          <a:spcPct val="0"/>
        </a:spcBef>
        <a:buNone/>
        <a:defRPr sz="34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861695" rtl="0" eaLnBrk="1" latinLnBrk="0" hangingPunct="1">
        <a:spcBef>
          <a:spcPts val="0"/>
        </a:spcBef>
        <a:spcAft>
          <a:spcPts val="945"/>
        </a:spcAft>
        <a:buFont typeface="Wingdings" panose="05000000000000000000" pitchFamily="2" charset="2"/>
        <a:buChar char="§"/>
        <a:defRPr sz="214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1pPr>
      <a:lvl2pPr marL="762000" indent="-257175" algn="l" defTabSz="861695" rtl="0" eaLnBrk="1" latinLnBrk="0" hangingPunct="1">
        <a:spcBef>
          <a:spcPts val="0"/>
        </a:spcBef>
        <a:spcAft>
          <a:spcPts val="945"/>
        </a:spcAft>
        <a:buFont typeface="Symbol" panose="05050102010706020507" pitchFamily="18" charset="2"/>
        <a:buChar char="-"/>
        <a:defRPr sz="189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2pPr>
      <a:lvl3pPr marL="1019175" indent="-167640" algn="l" defTabSz="861695" rtl="0" eaLnBrk="1" latinLnBrk="0" hangingPunct="1">
        <a:spcBef>
          <a:spcPts val="0"/>
        </a:spcBef>
        <a:spcAft>
          <a:spcPts val="945"/>
        </a:spcAft>
        <a:buFont typeface="Symbol" panose="05050102010706020507" pitchFamily="18" charset="2"/>
        <a:buChar char="-"/>
        <a:defRPr sz="1765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3pPr>
      <a:lvl4pPr marL="1354455" indent="-167640" algn="l" defTabSz="861695" rtl="0" eaLnBrk="1" latinLnBrk="0" hangingPunct="1">
        <a:spcBef>
          <a:spcPts val="0"/>
        </a:spcBef>
        <a:spcAft>
          <a:spcPts val="945"/>
        </a:spcAft>
        <a:buFont typeface="Symbol" panose="05050102010706020507" pitchFamily="18" charset="2"/>
        <a:buChar char="-"/>
        <a:defRPr sz="151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4pPr>
      <a:lvl5pPr marL="1691005" indent="-168910" algn="l" defTabSz="861695" rtl="0" eaLnBrk="1" latinLnBrk="0" hangingPunct="1">
        <a:spcBef>
          <a:spcPts val="0"/>
        </a:spcBef>
        <a:spcAft>
          <a:spcPts val="945"/>
        </a:spcAft>
        <a:buFont typeface="Symbol" panose="05050102010706020507" pitchFamily="18" charset="2"/>
        <a:buChar char="-"/>
        <a:defRPr sz="151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5pPr>
      <a:lvl6pPr marL="2370455" indent="-215265" algn="l" defTabSz="861695" rtl="0" eaLnBrk="1" latinLnBrk="0" hangingPunct="1">
        <a:spcBef>
          <a:spcPct val="20000"/>
        </a:spcBef>
        <a:buFont typeface="Arial" panose="020B060402020209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6pPr>
      <a:lvl7pPr marL="2801620" indent="-215265" algn="l" defTabSz="861695" rtl="0" eaLnBrk="1" latinLnBrk="0" hangingPunct="1">
        <a:spcBef>
          <a:spcPct val="20000"/>
        </a:spcBef>
        <a:buFont typeface="Arial" panose="020B060402020209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7pPr>
      <a:lvl8pPr marL="3232150" indent="-215265" algn="l" defTabSz="861695" rtl="0" eaLnBrk="1" latinLnBrk="0" hangingPunct="1">
        <a:spcBef>
          <a:spcPct val="20000"/>
        </a:spcBef>
        <a:buFont typeface="Arial" panose="020B060402020209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8pPr>
      <a:lvl9pPr marL="3663315" indent="-215265" algn="l" defTabSz="861695" rtl="0" eaLnBrk="1" latinLnBrk="0" hangingPunct="1">
        <a:spcBef>
          <a:spcPct val="20000"/>
        </a:spcBef>
        <a:buFont typeface="Arial" panose="020B060402020209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861695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31165" algn="l" defTabSz="861695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861695" algn="l" defTabSz="861695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292860" algn="l" defTabSz="861695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724025" algn="l" defTabSz="861695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155190" algn="l" defTabSz="861695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585720" algn="l" defTabSz="861695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016885" algn="l" defTabSz="861695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448050" algn="l" defTabSz="861695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0" cstate="print">
            <a:lum/>
          </a:blip>
          <a:srcRect/>
          <a:stretch>
            <a:fillRect b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c"/>
          <p:cNvSpPr txBox="1"/>
          <p:nvPr userDrawn="1"/>
        </p:nvSpPr>
        <p:spPr>
          <a:xfrm>
            <a:off x="0" y="6169767"/>
            <a:ext cx="11522075" cy="325025"/>
          </a:xfrm>
          <a:prstGeom prst="rect">
            <a:avLst/>
          </a:prstGeom>
        </p:spPr>
        <p:txBody>
          <a:bodyPr vert="horz" rtlCol="0">
            <a:spAutoFit/>
          </a:bodyPr>
          <a:lstStyle/>
          <a:p>
            <a:pPr marL="160020" indent="-160020" algn="ctr" defTabSz="431165">
              <a:lnSpc>
                <a:spcPct val="120000"/>
              </a:lnSpc>
              <a:spcBef>
                <a:spcPts val="285"/>
              </a:spcBef>
              <a:buClr>
                <a:srgbClr val="0098C7"/>
              </a:buClr>
              <a:buSzPct val="80000"/>
              <a:buFont typeface="Arial" panose="020B0604020202090204" pitchFamily="34" charset="0"/>
              <a:buChar char="•"/>
            </a:pPr>
            <a:endParaRPr lang="zh-CN" altLang="en-US" sz="1260" b="1" kern="0" dirty="0">
              <a:solidFill>
                <a:srgbClr val="3E8430"/>
              </a:solidFill>
              <a:latin typeface="Arial" panose="020B0604020202090204" pitchFamily="34" charset="0"/>
              <a:ea typeface="Arial" panose="020B0604020202090204"/>
              <a:cs typeface="Arial" panose="020B0604020202090204"/>
              <a:sym typeface="Arial" panose="020B0604020202090204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</p:sldLayoutIdLst>
  <p:transition xmlns:p14="http://schemas.microsoft.com/office/powerpoint/2010/main" spd="med"/>
  <p:txStyles>
    <p:titleStyle>
      <a:lvl1pPr defTabSz="431165">
        <a:lnSpc>
          <a:spcPct val="85000"/>
        </a:lnSpc>
        <a:defRPr sz="3655" b="1">
          <a:solidFill>
            <a:srgbClr val="009AC7"/>
          </a:solidFill>
          <a:latin typeface="+mj-lt"/>
          <a:ea typeface="Arial Bold"/>
          <a:cs typeface="Arial Bold"/>
          <a:sym typeface="Arial Bold"/>
        </a:defRPr>
      </a:lvl1pPr>
      <a:lvl2pPr defTabSz="431165">
        <a:lnSpc>
          <a:spcPct val="85000"/>
        </a:lnSpc>
        <a:defRPr sz="3655">
          <a:solidFill>
            <a:srgbClr val="009AC7"/>
          </a:solidFill>
          <a:latin typeface="Arial Bold"/>
          <a:ea typeface="Arial Bold"/>
          <a:cs typeface="Arial Bold"/>
          <a:sym typeface="Arial Bold"/>
        </a:defRPr>
      </a:lvl2pPr>
      <a:lvl3pPr defTabSz="431165">
        <a:lnSpc>
          <a:spcPct val="85000"/>
        </a:lnSpc>
        <a:defRPr sz="3655">
          <a:solidFill>
            <a:srgbClr val="009AC7"/>
          </a:solidFill>
          <a:latin typeface="Arial Bold"/>
          <a:ea typeface="Arial Bold"/>
          <a:cs typeface="Arial Bold"/>
          <a:sym typeface="Arial Bold"/>
        </a:defRPr>
      </a:lvl3pPr>
      <a:lvl4pPr defTabSz="431165">
        <a:lnSpc>
          <a:spcPct val="85000"/>
        </a:lnSpc>
        <a:defRPr sz="3655">
          <a:solidFill>
            <a:srgbClr val="009AC7"/>
          </a:solidFill>
          <a:latin typeface="Arial Bold"/>
          <a:ea typeface="Arial Bold"/>
          <a:cs typeface="Arial Bold"/>
          <a:sym typeface="Arial Bold"/>
        </a:defRPr>
      </a:lvl4pPr>
      <a:lvl5pPr defTabSz="431165">
        <a:lnSpc>
          <a:spcPct val="85000"/>
        </a:lnSpc>
        <a:defRPr sz="3655">
          <a:solidFill>
            <a:srgbClr val="009AC7"/>
          </a:solidFill>
          <a:latin typeface="Arial Bold"/>
          <a:ea typeface="Arial Bold"/>
          <a:cs typeface="Arial Bold"/>
          <a:sym typeface="Arial Bold"/>
        </a:defRPr>
      </a:lvl5pPr>
      <a:lvl6pPr defTabSz="431165">
        <a:lnSpc>
          <a:spcPct val="85000"/>
        </a:lnSpc>
        <a:defRPr sz="3655">
          <a:solidFill>
            <a:srgbClr val="009AC7"/>
          </a:solidFill>
          <a:latin typeface="Arial Bold"/>
          <a:ea typeface="Arial Bold"/>
          <a:cs typeface="Arial Bold"/>
          <a:sym typeface="Arial Bold"/>
        </a:defRPr>
      </a:lvl6pPr>
      <a:lvl7pPr defTabSz="431165">
        <a:lnSpc>
          <a:spcPct val="85000"/>
        </a:lnSpc>
        <a:defRPr sz="3655">
          <a:solidFill>
            <a:srgbClr val="009AC7"/>
          </a:solidFill>
          <a:latin typeface="Arial Bold"/>
          <a:ea typeface="Arial Bold"/>
          <a:cs typeface="Arial Bold"/>
          <a:sym typeface="Arial Bold"/>
        </a:defRPr>
      </a:lvl7pPr>
      <a:lvl8pPr defTabSz="431165">
        <a:lnSpc>
          <a:spcPct val="85000"/>
        </a:lnSpc>
        <a:defRPr sz="3655">
          <a:solidFill>
            <a:srgbClr val="009AC7"/>
          </a:solidFill>
          <a:latin typeface="Arial Bold"/>
          <a:ea typeface="Arial Bold"/>
          <a:cs typeface="Arial Bold"/>
          <a:sym typeface="Arial Bold"/>
        </a:defRPr>
      </a:lvl8pPr>
      <a:lvl9pPr defTabSz="431165">
        <a:lnSpc>
          <a:spcPct val="85000"/>
        </a:lnSpc>
        <a:defRPr sz="3655">
          <a:solidFill>
            <a:srgbClr val="009AC7"/>
          </a:solidFill>
          <a:latin typeface="Arial Bold"/>
          <a:ea typeface="Arial Bold"/>
          <a:cs typeface="Arial Bold"/>
          <a:sym typeface="Arial Bold"/>
        </a:defRPr>
      </a:lvl9pPr>
    </p:titleStyle>
    <p:bodyStyle>
      <a:lvl1pPr marL="160020" indent="-160020" defTabSz="431165">
        <a:lnSpc>
          <a:spcPct val="120000"/>
        </a:lnSpc>
        <a:spcBef>
          <a:spcPts val="285"/>
        </a:spcBef>
        <a:buClr>
          <a:srgbClr val="0098C7"/>
        </a:buClr>
        <a:buSzPct val="80000"/>
        <a:buFont typeface="Arial" panose="020B0604020202090204" pitchFamily="34" charset="0"/>
        <a:buChar char="•"/>
        <a:defRPr sz="1890">
          <a:solidFill>
            <a:srgbClr val="5E5E5E"/>
          </a:solidFill>
          <a:latin typeface="+mj-lt"/>
          <a:ea typeface="Arial" panose="020B0604020202090204"/>
          <a:cs typeface="Arial" panose="020B0604020202090204"/>
          <a:sym typeface="Arial" panose="020B0604020202090204"/>
        </a:defRPr>
      </a:lvl1pPr>
      <a:lvl2pPr marL="369570" indent="-189230" defTabSz="431165">
        <a:lnSpc>
          <a:spcPct val="120000"/>
        </a:lnSpc>
        <a:spcBef>
          <a:spcPts val="285"/>
        </a:spcBef>
        <a:buClr>
          <a:srgbClr val="0098C7"/>
        </a:buClr>
        <a:buSzPct val="100000"/>
        <a:buFont typeface="Arial" panose="020B0604020202090204" pitchFamily="34" charset="0"/>
        <a:buChar char="•"/>
        <a:defRPr sz="1890">
          <a:solidFill>
            <a:srgbClr val="5E5E5E"/>
          </a:solidFill>
          <a:latin typeface="+mj-lt"/>
          <a:ea typeface="Arial" panose="020B0604020202090204"/>
          <a:cs typeface="Arial" panose="020B0604020202090204"/>
          <a:sym typeface="Arial" panose="020B0604020202090204"/>
        </a:defRPr>
      </a:lvl2pPr>
      <a:lvl3pPr marL="396240" indent="-215900" defTabSz="431165">
        <a:lnSpc>
          <a:spcPct val="120000"/>
        </a:lnSpc>
        <a:spcBef>
          <a:spcPts val="285"/>
        </a:spcBef>
        <a:buClr>
          <a:srgbClr val="0098C7"/>
        </a:buClr>
        <a:buSzPct val="100000"/>
        <a:buFont typeface="Arial" panose="020B0604020202090204" pitchFamily="34" charset="0"/>
        <a:buChar char="•"/>
        <a:defRPr sz="1890">
          <a:solidFill>
            <a:srgbClr val="5E5E5E"/>
          </a:solidFill>
          <a:latin typeface="+mj-lt"/>
          <a:ea typeface="Arial" panose="020B0604020202090204"/>
          <a:cs typeface="Arial" panose="020B0604020202090204"/>
          <a:sym typeface="Arial" panose="020B0604020202090204"/>
        </a:defRPr>
      </a:lvl3pPr>
      <a:lvl4pPr marL="509905" indent="-252095" defTabSz="431165">
        <a:lnSpc>
          <a:spcPct val="120000"/>
        </a:lnSpc>
        <a:spcBef>
          <a:spcPts val="285"/>
        </a:spcBef>
        <a:buClr>
          <a:srgbClr val="0098C7"/>
        </a:buClr>
        <a:buSzPct val="100000"/>
        <a:buFont typeface="Arial" panose="020B0604020202090204" pitchFamily="34" charset="0"/>
        <a:buChar char="•"/>
        <a:defRPr sz="1890">
          <a:solidFill>
            <a:srgbClr val="5E5E5E"/>
          </a:solidFill>
          <a:latin typeface="+mj-lt"/>
          <a:ea typeface="Arial" panose="020B0604020202090204"/>
          <a:cs typeface="Arial" panose="020B0604020202090204"/>
          <a:sym typeface="Arial" panose="020B0604020202090204"/>
        </a:defRPr>
      </a:lvl4pPr>
      <a:lvl5pPr marL="594995" indent="-234950" defTabSz="431165">
        <a:lnSpc>
          <a:spcPct val="120000"/>
        </a:lnSpc>
        <a:spcBef>
          <a:spcPts val="285"/>
        </a:spcBef>
        <a:buClr>
          <a:srgbClr val="0098C7"/>
        </a:buClr>
        <a:buSzPct val="100000"/>
        <a:buFont typeface="Arial" panose="020B0604020202090204" pitchFamily="34" charset="0"/>
        <a:buChar char="•"/>
        <a:defRPr sz="1890">
          <a:solidFill>
            <a:srgbClr val="5E5E5E"/>
          </a:solidFill>
          <a:latin typeface="+mj-lt"/>
          <a:ea typeface="Arial" panose="020B0604020202090204"/>
          <a:cs typeface="Arial" panose="020B0604020202090204"/>
          <a:sym typeface="Arial" panose="020B0604020202090204"/>
        </a:defRPr>
      </a:lvl5pPr>
      <a:lvl6pPr marL="1098550" indent="-213360" defTabSz="431165">
        <a:lnSpc>
          <a:spcPct val="120000"/>
        </a:lnSpc>
        <a:spcBef>
          <a:spcPts val="285"/>
        </a:spcBef>
        <a:buClr>
          <a:srgbClr val="0098C7"/>
        </a:buClr>
        <a:buSzPct val="100000"/>
        <a:buFont typeface="Wingdings" panose="05000000000000000000"/>
        <a:buChar char="•"/>
        <a:defRPr sz="1890">
          <a:solidFill>
            <a:srgbClr val="5E5E5E"/>
          </a:solidFill>
          <a:latin typeface="Arial" panose="020B0604020202090204"/>
          <a:ea typeface="Arial" panose="020B0604020202090204"/>
          <a:cs typeface="Arial" panose="020B0604020202090204"/>
          <a:sym typeface="Arial" panose="020B0604020202090204"/>
        </a:defRPr>
      </a:lvl6pPr>
      <a:lvl7pPr marL="1314450" indent="-213360" defTabSz="431165">
        <a:lnSpc>
          <a:spcPct val="120000"/>
        </a:lnSpc>
        <a:spcBef>
          <a:spcPts val="285"/>
        </a:spcBef>
        <a:buClr>
          <a:srgbClr val="0098C7"/>
        </a:buClr>
        <a:buSzPct val="100000"/>
        <a:buFont typeface="Wingdings" panose="05000000000000000000"/>
        <a:buChar char="•"/>
        <a:defRPr sz="1890">
          <a:solidFill>
            <a:srgbClr val="5E5E5E"/>
          </a:solidFill>
          <a:latin typeface="Arial" panose="020B0604020202090204"/>
          <a:ea typeface="Arial" panose="020B0604020202090204"/>
          <a:cs typeface="Arial" panose="020B0604020202090204"/>
          <a:sym typeface="Arial" panose="020B0604020202090204"/>
        </a:defRPr>
      </a:lvl7pPr>
      <a:lvl8pPr marL="1530350" indent="-213360" defTabSz="431165">
        <a:lnSpc>
          <a:spcPct val="120000"/>
        </a:lnSpc>
        <a:spcBef>
          <a:spcPts val="285"/>
        </a:spcBef>
        <a:buClr>
          <a:srgbClr val="0098C7"/>
        </a:buClr>
        <a:buSzPct val="100000"/>
        <a:buFont typeface="Wingdings" panose="05000000000000000000"/>
        <a:buChar char="•"/>
        <a:defRPr sz="1890">
          <a:solidFill>
            <a:srgbClr val="5E5E5E"/>
          </a:solidFill>
          <a:latin typeface="Arial" panose="020B0604020202090204"/>
          <a:ea typeface="Arial" panose="020B0604020202090204"/>
          <a:cs typeface="Arial" panose="020B0604020202090204"/>
          <a:sym typeface="Arial" panose="020B0604020202090204"/>
        </a:defRPr>
      </a:lvl8pPr>
      <a:lvl9pPr marL="1746885" indent="-213360" defTabSz="431165">
        <a:lnSpc>
          <a:spcPct val="120000"/>
        </a:lnSpc>
        <a:spcBef>
          <a:spcPts val="285"/>
        </a:spcBef>
        <a:buClr>
          <a:srgbClr val="0098C7"/>
        </a:buClr>
        <a:buSzPct val="100000"/>
        <a:buFont typeface="Wingdings" panose="05000000000000000000"/>
        <a:buChar char="•"/>
        <a:defRPr sz="1890">
          <a:solidFill>
            <a:srgbClr val="5E5E5E"/>
          </a:solidFill>
          <a:latin typeface="Arial" panose="020B0604020202090204"/>
          <a:ea typeface="Arial" panose="020B0604020202090204"/>
          <a:cs typeface="Arial" panose="020B0604020202090204"/>
          <a:sym typeface="Arial" panose="020B0604020202090204"/>
        </a:defRPr>
      </a:lvl9pPr>
    </p:bodyStyle>
    <p:otherStyle>
      <a:lvl1pPr algn="r" defTabSz="452120">
        <a:defRPr sz="630">
          <a:solidFill>
            <a:schemeClr val="tx1"/>
          </a:solidFill>
          <a:latin typeface="+mn-lt"/>
          <a:ea typeface="+mn-ea"/>
          <a:cs typeface="+mn-cs"/>
          <a:sym typeface="Arial" panose="020B0604020202090204"/>
        </a:defRPr>
      </a:lvl1pPr>
      <a:lvl2pPr algn="r" defTabSz="452120">
        <a:defRPr sz="630">
          <a:solidFill>
            <a:schemeClr val="tx1"/>
          </a:solidFill>
          <a:latin typeface="+mn-lt"/>
          <a:ea typeface="+mn-ea"/>
          <a:cs typeface="+mn-cs"/>
          <a:sym typeface="Arial" panose="020B0604020202090204"/>
        </a:defRPr>
      </a:lvl2pPr>
      <a:lvl3pPr algn="r" defTabSz="452120">
        <a:defRPr sz="630">
          <a:solidFill>
            <a:schemeClr val="tx1"/>
          </a:solidFill>
          <a:latin typeface="+mn-lt"/>
          <a:ea typeface="+mn-ea"/>
          <a:cs typeface="+mn-cs"/>
          <a:sym typeface="Arial" panose="020B0604020202090204"/>
        </a:defRPr>
      </a:lvl3pPr>
      <a:lvl4pPr algn="r" defTabSz="452120">
        <a:defRPr sz="630">
          <a:solidFill>
            <a:schemeClr val="tx1"/>
          </a:solidFill>
          <a:latin typeface="+mn-lt"/>
          <a:ea typeface="+mn-ea"/>
          <a:cs typeface="+mn-cs"/>
          <a:sym typeface="Arial" panose="020B0604020202090204"/>
        </a:defRPr>
      </a:lvl4pPr>
      <a:lvl5pPr algn="r" defTabSz="452120">
        <a:defRPr sz="630">
          <a:solidFill>
            <a:schemeClr val="tx1"/>
          </a:solidFill>
          <a:latin typeface="+mn-lt"/>
          <a:ea typeface="+mn-ea"/>
          <a:cs typeface="+mn-cs"/>
          <a:sym typeface="Arial" panose="020B0604020202090204"/>
        </a:defRPr>
      </a:lvl5pPr>
      <a:lvl6pPr algn="r" defTabSz="452120">
        <a:defRPr sz="630">
          <a:solidFill>
            <a:schemeClr val="tx1"/>
          </a:solidFill>
          <a:latin typeface="+mn-lt"/>
          <a:ea typeface="+mn-ea"/>
          <a:cs typeface="+mn-cs"/>
          <a:sym typeface="Arial" panose="020B0604020202090204"/>
        </a:defRPr>
      </a:lvl6pPr>
      <a:lvl7pPr algn="r" defTabSz="452120">
        <a:defRPr sz="630">
          <a:solidFill>
            <a:schemeClr val="tx1"/>
          </a:solidFill>
          <a:latin typeface="+mn-lt"/>
          <a:ea typeface="+mn-ea"/>
          <a:cs typeface="+mn-cs"/>
          <a:sym typeface="Arial" panose="020B0604020202090204"/>
        </a:defRPr>
      </a:lvl7pPr>
      <a:lvl8pPr algn="r" defTabSz="452120">
        <a:defRPr sz="630">
          <a:solidFill>
            <a:schemeClr val="tx1"/>
          </a:solidFill>
          <a:latin typeface="+mn-lt"/>
          <a:ea typeface="+mn-ea"/>
          <a:cs typeface="+mn-cs"/>
          <a:sym typeface="Arial" panose="020B0604020202090204"/>
        </a:defRPr>
      </a:lvl8pPr>
      <a:lvl9pPr algn="r" defTabSz="452120">
        <a:defRPr sz="630">
          <a:solidFill>
            <a:schemeClr val="tx1"/>
          </a:solidFill>
          <a:latin typeface="+mn-lt"/>
          <a:ea typeface="+mn-ea"/>
          <a:cs typeface="+mn-cs"/>
          <a:sym typeface="Arial" panose="020B0604020202090204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87970" y="388195"/>
            <a:ext cx="10522965" cy="1014002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87970" y="1402209"/>
            <a:ext cx="10522965" cy="4013965"/>
          </a:xfrm>
          <a:prstGeom prst="rect">
            <a:avLst/>
          </a:prstGeom>
        </p:spPr>
        <p:txBody>
          <a:bodyPr vert="horz" lIns="8099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682564" y="5813601"/>
            <a:ext cx="6454429" cy="34016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135">
                <a:solidFill>
                  <a:srgbClr val="7F7F7F"/>
                </a:solidFill>
              </a:defRPr>
            </a:lvl1pPr>
          </a:lstStyle>
          <a:p>
            <a:pPr defTabSz="862330"/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487949" y="5813601"/>
            <a:ext cx="864181" cy="34016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135">
                <a:solidFill>
                  <a:srgbClr val="7F7F7F"/>
                </a:solidFill>
              </a:defRPr>
            </a:lvl1pPr>
          </a:lstStyle>
          <a:p>
            <a:pPr defTabSz="862330"/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c" descr="LBI - Microsoft"/>
          <p:cNvSpPr txBox="1"/>
          <p:nvPr userDrawn="1"/>
        </p:nvSpPr>
        <p:spPr>
          <a:xfrm>
            <a:off x="0" y="6208167"/>
            <a:ext cx="11522075" cy="281036"/>
          </a:xfrm>
          <a:prstGeom prst="rect">
            <a:avLst/>
          </a:prstGeom>
          <a:noFill/>
        </p:spPr>
        <p:txBody>
          <a:bodyPr vert="horz" lIns="86295" tIns="43147" rIns="86295" bIns="43147" rtlCol="0">
            <a:spAutoFit/>
          </a:bodyPr>
          <a:lstStyle/>
          <a:p>
            <a:pPr algn="ctr" defTabSz="862330"/>
            <a:r>
              <a:rPr lang="en-US" altLang="zh-CN" sz="1260" b="1">
                <a:solidFill>
                  <a:srgbClr val="3E8430"/>
                </a:solidFill>
                <a:latin typeface="Arial" panose="020B0604020202090204" pitchFamily="34" charset="0"/>
              </a:rPr>
              <a:t>LBI - Microsoft</a:t>
            </a:r>
            <a:endParaRPr lang="zh-CN" altLang="en-US" sz="1260" b="1">
              <a:solidFill>
                <a:srgbClr val="3E8430"/>
              </a:solidFill>
              <a:latin typeface="Arial" panose="020B060402020209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  <p:sldLayoutId id="2147483741" r:id="rId10"/>
    <p:sldLayoutId id="2147483742" r:id="rId11"/>
    <p:sldLayoutId id="2147483743" r:id="rId12"/>
    <p:sldLayoutId id="2147483744" r:id="rId13"/>
    <p:sldLayoutId id="2147483745" r:id="rId14"/>
    <p:sldLayoutId id="2147483746" r:id="rId15"/>
    <p:sldLayoutId id="2147483747" r:id="rId16"/>
    <p:sldLayoutId id="2147483748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862330" rtl="0" eaLnBrk="1" latinLnBrk="0" hangingPunct="1">
        <a:spcBef>
          <a:spcPct val="0"/>
        </a:spcBef>
        <a:buNone/>
        <a:defRPr sz="34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810" indent="-257810" algn="l" defTabSz="862330" rtl="0" eaLnBrk="1" latinLnBrk="0" hangingPunct="1">
        <a:spcBef>
          <a:spcPts val="0"/>
        </a:spcBef>
        <a:spcAft>
          <a:spcPts val="945"/>
        </a:spcAft>
        <a:buFont typeface="Wingdings" panose="05000000000000000000" pitchFamily="2" charset="2"/>
        <a:buChar char="§"/>
        <a:defRPr sz="214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1pPr>
      <a:lvl2pPr marL="762635" indent="-257810" algn="l" defTabSz="862330" rtl="0" eaLnBrk="1" latinLnBrk="0" hangingPunct="1">
        <a:spcBef>
          <a:spcPts val="0"/>
        </a:spcBef>
        <a:spcAft>
          <a:spcPts val="945"/>
        </a:spcAft>
        <a:buFont typeface="Symbol" panose="05050102010706020507" pitchFamily="18" charset="2"/>
        <a:buChar char="-"/>
        <a:defRPr sz="189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2pPr>
      <a:lvl3pPr marL="1019810" indent="-167640" algn="l" defTabSz="862330" rtl="0" eaLnBrk="1" latinLnBrk="0" hangingPunct="1">
        <a:spcBef>
          <a:spcPts val="0"/>
        </a:spcBef>
        <a:spcAft>
          <a:spcPts val="945"/>
        </a:spcAft>
        <a:buFont typeface="Symbol" panose="05050102010706020507" pitchFamily="18" charset="2"/>
        <a:buChar char="-"/>
        <a:defRPr sz="1765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3pPr>
      <a:lvl4pPr marL="1355725" indent="-167640" algn="l" defTabSz="862330" rtl="0" eaLnBrk="1" latinLnBrk="0" hangingPunct="1">
        <a:spcBef>
          <a:spcPts val="0"/>
        </a:spcBef>
        <a:spcAft>
          <a:spcPts val="945"/>
        </a:spcAft>
        <a:buFont typeface="Symbol" panose="05050102010706020507" pitchFamily="18" charset="2"/>
        <a:buChar char="-"/>
        <a:defRPr sz="151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4pPr>
      <a:lvl5pPr marL="1692910" indent="-169545" algn="l" defTabSz="862330" rtl="0" eaLnBrk="1" latinLnBrk="0" hangingPunct="1">
        <a:spcBef>
          <a:spcPts val="0"/>
        </a:spcBef>
        <a:spcAft>
          <a:spcPts val="945"/>
        </a:spcAft>
        <a:buFont typeface="Symbol" panose="05050102010706020507" pitchFamily="18" charset="2"/>
        <a:buChar char="-"/>
        <a:defRPr sz="151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5pPr>
      <a:lvl6pPr marL="2372995" indent="-215900" algn="l" defTabSz="862330" rtl="0" eaLnBrk="1" latinLnBrk="0" hangingPunct="1">
        <a:spcBef>
          <a:spcPct val="20000"/>
        </a:spcBef>
        <a:buFont typeface="Arial" panose="020B060402020209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6pPr>
      <a:lvl7pPr marL="2804160" indent="-215900" algn="l" defTabSz="862330" rtl="0" eaLnBrk="1" latinLnBrk="0" hangingPunct="1">
        <a:spcBef>
          <a:spcPct val="20000"/>
        </a:spcBef>
        <a:buFont typeface="Arial" panose="020B060402020209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7pPr>
      <a:lvl8pPr marL="3235325" indent="-215900" algn="l" defTabSz="862330" rtl="0" eaLnBrk="1" latinLnBrk="0" hangingPunct="1">
        <a:spcBef>
          <a:spcPct val="20000"/>
        </a:spcBef>
        <a:buFont typeface="Arial" panose="020B060402020209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8pPr>
      <a:lvl9pPr marL="3667125" indent="-215900" algn="l" defTabSz="862330" rtl="0" eaLnBrk="1" latinLnBrk="0" hangingPunct="1">
        <a:spcBef>
          <a:spcPct val="20000"/>
        </a:spcBef>
        <a:buFont typeface="Arial" panose="020B060402020209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86233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31165" algn="l" defTabSz="86233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862965" algn="l" defTabSz="86233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294130" algn="l" defTabSz="86233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725930" algn="l" defTabSz="86233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157095" algn="l" defTabSz="86233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588260" algn="l" defTabSz="86233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020060" algn="l" defTabSz="86233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451225" algn="l" defTabSz="86233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88027" y="388195"/>
            <a:ext cx="10522965" cy="1014002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88027" y="1402209"/>
            <a:ext cx="10522965" cy="4013965"/>
          </a:xfrm>
          <a:prstGeom prst="rect">
            <a:avLst/>
          </a:prstGeom>
        </p:spPr>
        <p:txBody>
          <a:bodyPr vert="horz" lIns="8099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682564" y="5813601"/>
            <a:ext cx="6454429" cy="34016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135">
                <a:solidFill>
                  <a:srgbClr val="7F7F7F"/>
                </a:solidFill>
              </a:defRPr>
            </a:lvl1pPr>
          </a:lstStyle>
          <a:p>
            <a:pPr defTabSz="858520"/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487949" y="5813601"/>
            <a:ext cx="864181" cy="34016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135">
                <a:solidFill>
                  <a:srgbClr val="7F7F7F"/>
                </a:solidFill>
              </a:defRPr>
            </a:lvl1pPr>
          </a:lstStyle>
          <a:p>
            <a:pPr defTabSz="858520"/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c" descr="LBI - Microsoft"/>
          <p:cNvSpPr txBox="1"/>
          <p:nvPr userDrawn="1"/>
        </p:nvSpPr>
        <p:spPr>
          <a:xfrm>
            <a:off x="0" y="6208168"/>
            <a:ext cx="11522075" cy="280693"/>
          </a:xfrm>
          <a:prstGeom prst="rect">
            <a:avLst/>
          </a:prstGeom>
          <a:noFill/>
        </p:spPr>
        <p:txBody>
          <a:bodyPr vert="horz" lIns="85955" tIns="42977" rIns="85955" bIns="42977" rtlCol="0">
            <a:spAutoFit/>
          </a:bodyPr>
          <a:lstStyle/>
          <a:p>
            <a:pPr algn="ctr" defTabSz="858520"/>
            <a:r>
              <a:rPr lang="en-US" altLang="zh-CN" sz="1260" b="1">
                <a:solidFill>
                  <a:srgbClr val="3E8430"/>
                </a:solidFill>
                <a:latin typeface="Arial" panose="020B0604020202090204" pitchFamily="34" charset="0"/>
              </a:rPr>
              <a:t>LBI - Microsoft</a:t>
            </a:r>
            <a:endParaRPr lang="zh-CN" altLang="en-US" sz="1260" b="1">
              <a:solidFill>
                <a:srgbClr val="3E8430"/>
              </a:solidFill>
              <a:latin typeface="Arial" panose="020B060402020209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  <p:sldLayoutId id="2147483760" r:id="rId11"/>
    <p:sldLayoutId id="2147483761" r:id="rId12"/>
    <p:sldLayoutId id="2147483762" r:id="rId13"/>
    <p:sldLayoutId id="2147483763" r:id="rId14"/>
    <p:sldLayoutId id="2147483764" r:id="rId15"/>
    <p:sldLayoutId id="2147483765" r:id="rId1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858520" rtl="0" eaLnBrk="1" latinLnBrk="0" hangingPunct="1">
        <a:spcBef>
          <a:spcPct val="0"/>
        </a:spcBef>
        <a:buNone/>
        <a:defRPr sz="34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6540" indent="-256540" algn="l" defTabSz="858520" rtl="0" eaLnBrk="1" latinLnBrk="0" hangingPunct="1">
        <a:spcBef>
          <a:spcPts val="0"/>
        </a:spcBef>
        <a:spcAft>
          <a:spcPts val="945"/>
        </a:spcAft>
        <a:buFont typeface="Wingdings" panose="05000000000000000000" pitchFamily="2" charset="2"/>
        <a:buChar char="§"/>
        <a:defRPr sz="214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1pPr>
      <a:lvl2pPr marL="758825" indent="-256540" algn="l" defTabSz="858520" rtl="0" eaLnBrk="1" latinLnBrk="0" hangingPunct="1">
        <a:spcBef>
          <a:spcPts val="0"/>
        </a:spcBef>
        <a:spcAft>
          <a:spcPts val="945"/>
        </a:spcAft>
        <a:buFont typeface="Symbol" panose="05050102010706020507" pitchFamily="18" charset="2"/>
        <a:buChar char="-"/>
        <a:defRPr sz="189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2pPr>
      <a:lvl3pPr marL="1015365" indent="-167005" algn="l" defTabSz="858520" rtl="0" eaLnBrk="1" latinLnBrk="0" hangingPunct="1">
        <a:spcBef>
          <a:spcPts val="0"/>
        </a:spcBef>
        <a:spcAft>
          <a:spcPts val="945"/>
        </a:spcAft>
        <a:buFont typeface="Symbol" panose="05050102010706020507" pitchFamily="18" charset="2"/>
        <a:buChar char="-"/>
        <a:defRPr sz="1765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3pPr>
      <a:lvl4pPr marL="1349375" indent="-167005" algn="l" defTabSz="858520" rtl="0" eaLnBrk="1" latinLnBrk="0" hangingPunct="1">
        <a:spcBef>
          <a:spcPts val="0"/>
        </a:spcBef>
        <a:spcAft>
          <a:spcPts val="945"/>
        </a:spcAft>
        <a:buFont typeface="Symbol" panose="05050102010706020507" pitchFamily="18" charset="2"/>
        <a:buChar char="-"/>
        <a:defRPr sz="151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4pPr>
      <a:lvl5pPr marL="1685290" indent="-168275" algn="l" defTabSz="858520" rtl="0" eaLnBrk="1" latinLnBrk="0" hangingPunct="1">
        <a:spcBef>
          <a:spcPts val="0"/>
        </a:spcBef>
        <a:spcAft>
          <a:spcPts val="945"/>
        </a:spcAft>
        <a:buFont typeface="Symbol" panose="05050102010706020507" pitchFamily="18" charset="2"/>
        <a:buChar char="-"/>
        <a:defRPr sz="151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5pPr>
      <a:lvl6pPr marL="2362200" indent="-214630" algn="l" defTabSz="858520" rtl="0" eaLnBrk="1" latinLnBrk="0" hangingPunct="1">
        <a:spcBef>
          <a:spcPct val="20000"/>
        </a:spcBef>
        <a:buFont typeface="Arial" panose="020B060402020209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6pPr>
      <a:lvl7pPr marL="2791460" indent="-214630" algn="l" defTabSz="858520" rtl="0" eaLnBrk="1" latinLnBrk="0" hangingPunct="1">
        <a:spcBef>
          <a:spcPct val="20000"/>
        </a:spcBef>
        <a:buFont typeface="Arial" panose="020B060402020209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7pPr>
      <a:lvl8pPr marL="3221355" indent="-214630" algn="l" defTabSz="858520" rtl="0" eaLnBrk="1" latinLnBrk="0" hangingPunct="1">
        <a:spcBef>
          <a:spcPct val="20000"/>
        </a:spcBef>
        <a:buFont typeface="Arial" panose="020B060402020209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8pPr>
      <a:lvl9pPr marL="3650615" indent="-214630" algn="l" defTabSz="858520" rtl="0" eaLnBrk="1" latinLnBrk="0" hangingPunct="1">
        <a:spcBef>
          <a:spcPct val="20000"/>
        </a:spcBef>
        <a:buFont typeface="Arial" panose="020B060402020209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85852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29260" algn="l" defTabSz="85852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859155" algn="l" defTabSz="85852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288415" algn="l" defTabSz="85852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717675" algn="l" defTabSz="85852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147570" algn="l" defTabSz="85852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576830" algn="l" defTabSz="85852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006090" algn="l" defTabSz="85852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435985" algn="l" defTabSz="85852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87981" y="388195"/>
            <a:ext cx="10522965" cy="1014002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87981" y="1402209"/>
            <a:ext cx="10522965" cy="4013965"/>
          </a:xfrm>
          <a:prstGeom prst="rect">
            <a:avLst/>
          </a:prstGeom>
        </p:spPr>
        <p:txBody>
          <a:bodyPr vert="horz" lIns="8099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682564" y="5813601"/>
            <a:ext cx="6454429" cy="34016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135">
                <a:solidFill>
                  <a:srgbClr val="7F7F7F"/>
                </a:solidFill>
              </a:defRPr>
            </a:lvl1pPr>
          </a:lstStyle>
          <a:p>
            <a:pPr defTabSz="861695"/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487949" y="5813601"/>
            <a:ext cx="864181" cy="34016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135">
                <a:solidFill>
                  <a:srgbClr val="7F7F7F"/>
                </a:solidFill>
              </a:defRPr>
            </a:lvl1pPr>
          </a:lstStyle>
          <a:p>
            <a:pPr defTabSz="861695"/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c"/>
          <p:cNvSpPr txBox="1"/>
          <p:nvPr userDrawn="1"/>
        </p:nvSpPr>
        <p:spPr>
          <a:xfrm>
            <a:off x="0" y="6208167"/>
            <a:ext cx="11522075" cy="280967"/>
          </a:xfrm>
          <a:prstGeom prst="rect">
            <a:avLst/>
          </a:prstGeom>
          <a:noFill/>
        </p:spPr>
        <p:txBody>
          <a:bodyPr vert="horz" lIns="86227" tIns="43113" rIns="86227" bIns="43113" rtlCol="0">
            <a:spAutoFit/>
          </a:bodyPr>
          <a:lstStyle/>
          <a:p>
            <a:pPr algn="ctr" defTabSz="861695"/>
            <a:endParaRPr lang="zh-CN" altLang="en-US" sz="1260" b="1">
              <a:solidFill>
                <a:srgbClr val="3E8430"/>
              </a:solidFill>
              <a:latin typeface="Arial" panose="020B060402020209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  <p:sldLayoutId id="2147483769" r:id="rId3"/>
    <p:sldLayoutId id="2147483770" r:id="rId4"/>
    <p:sldLayoutId id="2147483771" r:id="rId5"/>
    <p:sldLayoutId id="2147483772" r:id="rId6"/>
    <p:sldLayoutId id="2147483773" r:id="rId7"/>
    <p:sldLayoutId id="2147483774" r:id="rId8"/>
    <p:sldLayoutId id="2147483775" r:id="rId9"/>
    <p:sldLayoutId id="2147483776" r:id="rId10"/>
    <p:sldLayoutId id="2147483777" r:id="rId11"/>
    <p:sldLayoutId id="2147483778" r:id="rId12"/>
    <p:sldLayoutId id="2147483779" r:id="rId13"/>
    <p:sldLayoutId id="2147483780" r:id="rId14"/>
    <p:sldLayoutId id="2147483781" r:id="rId15"/>
    <p:sldLayoutId id="2147483782" r:id="rId16"/>
    <p:sldLayoutId id="2147483783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861695" rtl="0" eaLnBrk="1" latinLnBrk="0" hangingPunct="1">
        <a:spcBef>
          <a:spcPct val="0"/>
        </a:spcBef>
        <a:buNone/>
        <a:defRPr sz="34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861695" rtl="0" eaLnBrk="1" latinLnBrk="0" hangingPunct="1">
        <a:spcBef>
          <a:spcPts val="0"/>
        </a:spcBef>
        <a:spcAft>
          <a:spcPts val="945"/>
        </a:spcAft>
        <a:buFont typeface="Wingdings" panose="05000000000000000000" pitchFamily="2" charset="2"/>
        <a:buChar char="§"/>
        <a:defRPr sz="214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1pPr>
      <a:lvl2pPr marL="762000" indent="-257175" algn="l" defTabSz="861695" rtl="0" eaLnBrk="1" latinLnBrk="0" hangingPunct="1">
        <a:spcBef>
          <a:spcPts val="0"/>
        </a:spcBef>
        <a:spcAft>
          <a:spcPts val="945"/>
        </a:spcAft>
        <a:buFont typeface="Symbol" panose="05050102010706020507" pitchFamily="18" charset="2"/>
        <a:buChar char="-"/>
        <a:defRPr sz="189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2pPr>
      <a:lvl3pPr marL="1019175" indent="-167640" algn="l" defTabSz="861695" rtl="0" eaLnBrk="1" latinLnBrk="0" hangingPunct="1">
        <a:spcBef>
          <a:spcPts val="0"/>
        </a:spcBef>
        <a:spcAft>
          <a:spcPts val="945"/>
        </a:spcAft>
        <a:buFont typeface="Symbol" panose="05050102010706020507" pitchFamily="18" charset="2"/>
        <a:buChar char="-"/>
        <a:defRPr sz="1765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3pPr>
      <a:lvl4pPr marL="1354455" indent="-167640" algn="l" defTabSz="861695" rtl="0" eaLnBrk="1" latinLnBrk="0" hangingPunct="1">
        <a:spcBef>
          <a:spcPts val="0"/>
        </a:spcBef>
        <a:spcAft>
          <a:spcPts val="945"/>
        </a:spcAft>
        <a:buFont typeface="Symbol" panose="05050102010706020507" pitchFamily="18" charset="2"/>
        <a:buChar char="-"/>
        <a:defRPr sz="151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4pPr>
      <a:lvl5pPr marL="1691005" indent="-168910" algn="l" defTabSz="861695" rtl="0" eaLnBrk="1" latinLnBrk="0" hangingPunct="1">
        <a:spcBef>
          <a:spcPts val="0"/>
        </a:spcBef>
        <a:spcAft>
          <a:spcPts val="945"/>
        </a:spcAft>
        <a:buFont typeface="Symbol" panose="05050102010706020507" pitchFamily="18" charset="2"/>
        <a:buChar char="-"/>
        <a:defRPr sz="151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5pPr>
      <a:lvl6pPr marL="2370455" indent="-215265" algn="l" defTabSz="861695" rtl="0" eaLnBrk="1" latinLnBrk="0" hangingPunct="1">
        <a:spcBef>
          <a:spcPct val="20000"/>
        </a:spcBef>
        <a:buFont typeface="Arial" panose="020B060402020209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6pPr>
      <a:lvl7pPr marL="2801620" indent="-215265" algn="l" defTabSz="861695" rtl="0" eaLnBrk="1" latinLnBrk="0" hangingPunct="1">
        <a:spcBef>
          <a:spcPct val="20000"/>
        </a:spcBef>
        <a:buFont typeface="Arial" panose="020B060402020209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7pPr>
      <a:lvl8pPr marL="3232785" indent="-215265" algn="l" defTabSz="861695" rtl="0" eaLnBrk="1" latinLnBrk="0" hangingPunct="1">
        <a:spcBef>
          <a:spcPct val="20000"/>
        </a:spcBef>
        <a:buFont typeface="Arial" panose="020B060402020209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8pPr>
      <a:lvl9pPr marL="3663950" indent="-215265" algn="l" defTabSz="861695" rtl="0" eaLnBrk="1" latinLnBrk="0" hangingPunct="1">
        <a:spcBef>
          <a:spcPct val="20000"/>
        </a:spcBef>
        <a:buFont typeface="Arial" panose="020B060402020209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861695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31165" algn="l" defTabSz="861695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862330" algn="l" defTabSz="861695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292860" algn="l" defTabSz="861695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724025" algn="l" defTabSz="861695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155190" algn="l" defTabSz="861695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586355" algn="l" defTabSz="861695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016885" algn="l" defTabSz="861695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448050" algn="l" defTabSz="861695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4" Type="http://schemas.openxmlformats.org/officeDocument/2006/relationships/image" Target="../media/image59.png"/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4" Type="http://schemas.openxmlformats.org/officeDocument/2006/relationships/diagramLayout" Target="../diagrams/layout2.xml"/><Relationship Id="rId5" Type="http://schemas.openxmlformats.org/officeDocument/2006/relationships/diagramQuickStyle" Target="../diagrams/quickStyle2.xml"/><Relationship Id="rId6" Type="http://schemas.openxmlformats.org/officeDocument/2006/relationships/diagramColors" Target="../diagrams/colors2.xml"/><Relationship Id="rId7" Type="http://schemas.microsoft.com/office/2007/relationships/diagramDrawing" Target="../diagrams/drawing2.xml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4" Type="http://schemas.openxmlformats.org/officeDocument/2006/relationships/diagramLayout" Target="../diagrams/layout3.xml"/><Relationship Id="rId5" Type="http://schemas.openxmlformats.org/officeDocument/2006/relationships/diagramQuickStyle" Target="../diagrams/quickStyle3.xml"/><Relationship Id="rId6" Type="http://schemas.openxmlformats.org/officeDocument/2006/relationships/diagramColors" Target="../diagrams/colors3.xml"/><Relationship Id="rId7" Type="http://schemas.microsoft.com/office/2007/relationships/diagramDrawing" Target="../diagrams/drawing3.xml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4" Type="http://schemas.openxmlformats.org/officeDocument/2006/relationships/image" Target="../media/image59.png"/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60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4" Type="http://schemas.openxmlformats.org/officeDocument/2006/relationships/diagramLayout" Target="../diagrams/layout1.xml"/><Relationship Id="rId5" Type="http://schemas.openxmlformats.org/officeDocument/2006/relationships/diagramQuickStyle" Target="../diagrams/quickStyle1.xml"/><Relationship Id="rId6" Type="http://schemas.openxmlformats.org/officeDocument/2006/relationships/diagramColors" Target="../diagrams/colors1.xml"/><Relationship Id="rId7" Type="http://schemas.microsoft.com/office/2007/relationships/diagramDrawing" Target="../diagrams/drawing1.xml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7" name="Picture 1" descr="幻灯片封面-06c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241"/>
            <a:ext cx="11520311" cy="6480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4099" name="Rectangle 3"/>
          <p:cNvSpPr/>
          <p:nvPr/>
        </p:nvSpPr>
        <p:spPr bwMode="auto">
          <a:xfrm>
            <a:off x="930157" y="1320589"/>
            <a:ext cx="3049146" cy="6221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33751" tIns="33751" rIns="33751" bIns="33751" anchor="ctr">
            <a:spAutoFit/>
          </a:bodyPr>
          <a:lstStyle/>
          <a:p>
            <a:pPr defTabSz="387350" fontAlgn="base" hangingPunct="0">
              <a:lnSpc>
                <a:spcPct val="7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480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Source Han Sans CN Bold Bold" charset="0"/>
              </a:rPr>
              <a:t>OKR</a:t>
            </a:r>
            <a:r>
              <a:rPr lang="zh-CN" altLang="en-US" sz="480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Source Han Sans CN Bold Bold" charset="0"/>
              </a:rPr>
              <a:t>小</a:t>
            </a:r>
            <a:r>
              <a:rPr lang="en-US" altLang="zh-CN" sz="480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Source Han Sans CN Bold Bold" charset="0"/>
              </a:rPr>
              <a:t>tips</a:t>
            </a:r>
            <a:endParaRPr lang="zh-CN" altLang="en-US" sz="48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Source Han Sans CN Bold Bold" charset="0"/>
            </a:endParaRPr>
          </a:p>
        </p:txBody>
      </p:sp>
      <p:sp>
        <p:nvSpPr>
          <p:cNvPr id="4102" name="Line 6"/>
          <p:cNvSpPr>
            <a:spLocks noChangeShapeType="1"/>
          </p:cNvSpPr>
          <p:nvPr/>
        </p:nvSpPr>
        <p:spPr bwMode="auto">
          <a:xfrm>
            <a:off x="1001409" y="5442146"/>
            <a:ext cx="2827576" cy="0"/>
          </a:xfrm>
          <a:prstGeom prst="line">
            <a:avLst/>
          </a:prstGeom>
          <a:noFill/>
          <a:ln w="12700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33751" tIns="33751" rIns="33751" bIns="33751" anchor="ctr"/>
          <a:lstStyle/>
          <a:p>
            <a:pPr algn="ctr" defTabSz="387350" fontAlgn="base" hangingPunct="0">
              <a:spcBef>
                <a:spcPct val="0"/>
              </a:spcBef>
              <a:spcAft>
                <a:spcPct val="0"/>
              </a:spcAft>
            </a:pPr>
            <a:endParaRPr lang="zh-CN" altLang="zh-CN" sz="1420">
              <a:solidFill>
                <a:srgbClr val="FFFFFF"/>
              </a:solidFill>
              <a:latin typeface="Helvetica Neue Medium" charset="0"/>
              <a:ea typeface="Helvetica Neue Medium" charset="0"/>
              <a:cs typeface="Helvetica Neue Medium" charset="0"/>
              <a:sym typeface="Helvetica Neue Medium" charset="0"/>
            </a:endParaRPr>
          </a:p>
        </p:txBody>
      </p:sp>
      <p:pic>
        <p:nvPicPr>
          <p:cNvPr id="4103" name="Picture 7" descr="pasted-image.pdf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2159" y="5591401"/>
            <a:ext cx="2826076" cy="2370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6" name="Rectangle 3"/>
          <p:cNvSpPr/>
          <p:nvPr/>
        </p:nvSpPr>
        <p:spPr bwMode="auto">
          <a:xfrm>
            <a:off x="1296541" y="2159967"/>
            <a:ext cx="2592288" cy="2528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33751" tIns="33751" rIns="33751" bIns="33751" anchor="ctr">
            <a:spAutoFit/>
          </a:bodyPr>
          <a:lstStyle/>
          <a:p>
            <a:pPr defTabSz="387350" fontAlgn="base" hangingPunct="0">
              <a:lnSpc>
                <a:spcPct val="7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60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Source Han Sans CN Bold Bold" charset="0"/>
              </a:rPr>
              <a:t>社区与平台事业群</a:t>
            </a:r>
            <a:r>
              <a:rPr lang="en-US" altLang="zh-CN" sz="160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Source Han Sans CN Bold Bold" charset="0"/>
              </a:rPr>
              <a:t>  </a:t>
            </a:r>
            <a:r>
              <a:rPr lang="zh-CN" altLang="en-US" sz="160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Source Han Sans CN Bold Bold" charset="0"/>
              </a:rPr>
              <a:t>余磊</a:t>
            </a:r>
            <a:endParaRPr lang="zh-CN" altLang="en-US" sz="16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Source Han Sans CN Bold Bold" charset="0"/>
            </a:endParaRPr>
          </a:p>
        </p:txBody>
      </p:sp>
    </p:spTree>
  </p:cSld>
  <p:clrMapOvr>
    <a:masterClrMapping/>
  </p:clrMapOvr>
  <p:transition xmlns:p14="http://schemas.microsoft.com/office/powerpoint/2010/main" spd="med"/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>
          <a:xfrm>
            <a:off x="360437" y="31926"/>
            <a:ext cx="8474757" cy="647700"/>
          </a:xfrm>
        </p:spPr>
        <p:txBody>
          <a:bodyPr/>
          <a:lstStyle/>
          <a:p>
            <a:r>
              <a:rPr lang="en-US" altLang="zh-CN" dirty="0" smtClean="0"/>
              <a:t>OKR</a:t>
            </a:r>
            <a:r>
              <a:rPr lang="zh-CN" altLang="en-US" dirty="0" smtClean="0"/>
              <a:t>案例：如何制定</a:t>
            </a:r>
            <a:r>
              <a:rPr lang="en-US" altLang="zh-CN" dirty="0" smtClean="0"/>
              <a:t>OKR</a:t>
            </a:r>
            <a:endParaRPr dirty="0"/>
          </a:p>
        </p:txBody>
      </p:sp>
      <p:graphicFrame>
        <p:nvGraphicFramePr>
          <p:cNvPr id="3" name="图表 2"/>
          <p:cNvGraphicFramePr/>
          <p:nvPr>
            <p:extLst>
              <p:ext uri="{D42A27DB-BD31-4B8C-83A1-F6EECF244321}">
                <p14:modId xmlns:p14="http://schemas.microsoft.com/office/powerpoint/2010/main" val="78441304"/>
              </p:ext>
            </p:extLst>
          </p:nvPr>
        </p:nvGraphicFramePr>
        <p:xfrm>
          <a:off x="1920346" y="679626"/>
          <a:ext cx="7681383" cy="51209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30874048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>
          <a:xfrm>
            <a:off x="360437" y="31926"/>
            <a:ext cx="8474757" cy="647700"/>
          </a:xfrm>
        </p:spPr>
        <p:txBody>
          <a:bodyPr/>
          <a:lstStyle/>
          <a:p>
            <a:r>
              <a:rPr lang="en-US" altLang="zh-CN" dirty="0" smtClean="0"/>
              <a:t>OKR</a:t>
            </a:r>
            <a:r>
              <a:rPr lang="zh-CN" altLang="en-US" dirty="0" smtClean="0"/>
              <a:t>案例：化目标为行动</a:t>
            </a:r>
            <a:endParaRPr dirty="0"/>
          </a:p>
        </p:txBody>
      </p:sp>
      <p:graphicFrame>
        <p:nvGraphicFramePr>
          <p:cNvPr id="3" name="图表 2"/>
          <p:cNvGraphicFramePr/>
          <p:nvPr>
            <p:extLst>
              <p:ext uri="{D42A27DB-BD31-4B8C-83A1-F6EECF244321}">
                <p14:modId xmlns:p14="http://schemas.microsoft.com/office/powerpoint/2010/main" val="1323419263"/>
              </p:ext>
            </p:extLst>
          </p:nvPr>
        </p:nvGraphicFramePr>
        <p:xfrm>
          <a:off x="1920346" y="679626"/>
          <a:ext cx="7681383" cy="51209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05671036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>
          <a:xfrm>
            <a:off x="360437" y="31926"/>
            <a:ext cx="8474757" cy="647700"/>
          </a:xfrm>
        </p:spPr>
        <p:txBody>
          <a:bodyPr/>
          <a:lstStyle/>
          <a:p>
            <a:r>
              <a:rPr lang="en-US" altLang="zh-CN" dirty="0" smtClean="0"/>
              <a:t>OKR</a:t>
            </a:r>
            <a:r>
              <a:rPr lang="zh-CN" altLang="en-US" dirty="0" smtClean="0"/>
              <a:t>案例：团队</a:t>
            </a:r>
            <a:r>
              <a:rPr lang="en-US" altLang="zh-CN" dirty="0" smtClean="0"/>
              <a:t>OKR</a:t>
            </a:r>
            <a:endParaRPr dirty="0"/>
          </a:p>
        </p:txBody>
      </p:sp>
      <p:sp>
        <p:nvSpPr>
          <p:cNvPr id="4" name="文本框 3"/>
          <p:cNvSpPr txBox="1"/>
          <p:nvPr/>
        </p:nvSpPr>
        <p:spPr>
          <a:xfrm>
            <a:off x="404727" y="1007839"/>
            <a:ext cx="6436430" cy="255454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/>
            <a:r>
              <a:rPr lang="zh-CN" altLang="en-US" dirty="0" smtClean="0">
                <a:solidFill>
                  <a:schemeClr val="tx1"/>
                </a:solidFill>
                <a:sym typeface="+mn-ea"/>
              </a:rPr>
              <a:t>目标（</a:t>
            </a:r>
            <a:r>
              <a:rPr lang="en-US" altLang="zh-CN" dirty="0" smtClean="0">
                <a:solidFill>
                  <a:schemeClr val="tx1"/>
                </a:solidFill>
                <a:sym typeface="+mn-ea"/>
              </a:rPr>
              <a:t>O</a:t>
            </a:r>
            <a:r>
              <a:rPr lang="zh-CN" altLang="en-US" dirty="0" smtClean="0">
                <a:solidFill>
                  <a:schemeClr val="tx1"/>
                </a:solidFill>
                <a:sym typeface="+mn-ea"/>
              </a:rPr>
              <a:t>）：</a:t>
            </a:r>
            <a:r>
              <a:rPr lang="zh-CN" altLang="en-US" dirty="0"/>
              <a:t>显著提升</a:t>
            </a:r>
            <a:r>
              <a:rPr lang="zh-CN" altLang="en-US" dirty="0" smtClean="0"/>
              <a:t>今年的团队活动收入</a:t>
            </a:r>
            <a:endParaRPr lang="en-US" altLang="zh-CN" dirty="0" smtClean="0"/>
          </a:p>
          <a:p>
            <a:pPr lvl="0"/>
            <a:r>
              <a:rPr lang="zh-CN" altLang="en-US" dirty="0" smtClean="0"/>
              <a:t>关键结果（</a:t>
            </a:r>
            <a:r>
              <a:rPr lang="en-US" altLang="zh-CN" dirty="0" smtClean="0"/>
              <a:t>KRs</a:t>
            </a:r>
            <a:r>
              <a:rPr lang="zh-CN" altLang="en-US" dirty="0" smtClean="0"/>
              <a:t>）：</a:t>
            </a:r>
            <a:endParaRPr lang="zh-CN" altLang="en-US" dirty="0"/>
          </a:p>
          <a:p>
            <a:pPr lvl="0"/>
            <a:r>
              <a:rPr lang="en-US" altLang="zh-CN" dirty="0" smtClean="0">
                <a:solidFill>
                  <a:schemeClr val="tx1"/>
                </a:solidFill>
                <a:sym typeface="+mn-ea"/>
              </a:rPr>
              <a:t>KR1</a:t>
            </a:r>
            <a:r>
              <a:rPr lang="zh-CN" altLang="en-US" dirty="0" smtClean="0">
                <a:solidFill>
                  <a:schemeClr val="tx1"/>
                </a:solidFill>
                <a:sym typeface="+mn-ea"/>
              </a:rPr>
              <a:t>：</a:t>
            </a:r>
            <a:r>
              <a:rPr lang="zh-CN" altLang="en-US" dirty="0"/>
              <a:t>团队活动年收入比去年提升</a:t>
            </a:r>
            <a:r>
              <a:rPr lang="en-US" altLang="zh-CN" dirty="0"/>
              <a:t>50%</a:t>
            </a:r>
            <a:r>
              <a:rPr lang="zh-CN" altLang="en-US" dirty="0"/>
              <a:t>，达到</a:t>
            </a:r>
            <a:r>
              <a:rPr lang="en-US" altLang="zh-CN" dirty="0"/>
              <a:t>3000</a:t>
            </a:r>
            <a:r>
              <a:rPr lang="zh-CN" altLang="en-US" dirty="0"/>
              <a:t>万</a:t>
            </a:r>
            <a:r>
              <a:rPr lang="zh-CN" altLang="en-US" dirty="0" smtClean="0"/>
              <a:t>美元</a:t>
            </a:r>
          </a:p>
          <a:p>
            <a:pPr lvl="0"/>
            <a:r>
              <a:rPr lang="en-US" altLang="zh-CN" dirty="0" smtClean="0">
                <a:sym typeface="+mn-ea"/>
              </a:rPr>
              <a:t>KR2</a:t>
            </a:r>
            <a:r>
              <a:rPr lang="zh-CN" altLang="en-US" dirty="0" smtClean="0">
                <a:sym typeface="+mn-ea"/>
              </a:rPr>
              <a:t>：</a:t>
            </a:r>
            <a:r>
              <a:rPr lang="zh-CN" altLang="en-US" dirty="0"/>
              <a:t>全年新增</a:t>
            </a:r>
            <a:r>
              <a:rPr lang="en-US" altLang="zh-CN" dirty="0"/>
              <a:t>50</a:t>
            </a:r>
            <a:r>
              <a:rPr lang="zh-CN" altLang="en-US" dirty="0"/>
              <a:t>个团体客户</a:t>
            </a:r>
          </a:p>
          <a:p>
            <a:pPr lvl="0"/>
            <a:r>
              <a:rPr lang="en-US" altLang="zh-CN" dirty="0" smtClean="0">
                <a:sym typeface="+mn-ea"/>
              </a:rPr>
              <a:t>KR3</a:t>
            </a:r>
            <a:r>
              <a:rPr lang="zh-CN" altLang="en-US" dirty="0" smtClean="0">
                <a:sym typeface="+mn-ea"/>
              </a:rPr>
              <a:t>：</a:t>
            </a:r>
            <a:r>
              <a:rPr lang="zh-CN" altLang="en-US" dirty="0"/>
              <a:t>将每单平均成交额比去年提高</a:t>
            </a:r>
            <a:r>
              <a:rPr lang="en-US" altLang="zh-CN" dirty="0"/>
              <a:t>15</a:t>
            </a:r>
            <a:r>
              <a:rPr lang="en-US" altLang="zh-CN" dirty="0" smtClean="0"/>
              <a:t>%</a:t>
            </a:r>
            <a:endParaRPr lang="zh-CN" altLang="en-US" dirty="0"/>
          </a:p>
          <a:p>
            <a:pPr lvl="0"/>
            <a:r>
              <a:rPr lang="zh-CN" altLang="en-US" dirty="0" smtClean="0"/>
              <a:t>关键行动（</a:t>
            </a:r>
            <a:r>
              <a:rPr lang="en-US" altLang="zh-CN" dirty="0" smtClean="0"/>
              <a:t>KAs</a:t>
            </a:r>
            <a:r>
              <a:rPr lang="zh-CN" altLang="en-US" dirty="0" smtClean="0"/>
              <a:t>）：</a:t>
            </a:r>
            <a:endParaRPr lang="en-US" altLang="zh-CN" dirty="0" smtClean="0"/>
          </a:p>
          <a:p>
            <a:pPr lvl="0"/>
            <a:r>
              <a:rPr lang="en-US" altLang="zh-CN" dirty="0" smtClean="0">
                <a:sym typeface="+mn-ea"/>
              </a:rPr>
              <a:t>KA1</a:t>
            </a:r>
            <a:r>
              <a:rPr lang="zh-CN" altLang="en-US" dirty="0" smtClean="0">
                <a:sym typeface="+mn-ea"/>
              </a:rPr>
              <a:t>：</a:t>
            </a:r>
            <a:r>
              <a:rPr lang="zh-CN" altLang="en-US" dirty="0"/>
              <a:t>每个客户经理每周完成两次有成效的客户现场参观</a:t>
            </a:r>
          </a:p>
          <a:p>
            <a:pPr lvl="0"/>
            <a:r>
              <a:rPr lang="en-US" altLang="zh-CN" dirty="0" smtClean="0">
                <a:sym typeface="+mn-ea"/>
              </a:rPr>
              <a:t>KA</a:t>
            </a:r>
            <a:r>
              <a:rPr lang="zh-CN" altLang="zh-CN" dirty="0">
                <a:sym typeface="+mn-ea"/>
              </a:rPr>
              <a:t>2</a:t>
            </a:r>
            <a:r>
              <a:rPr lang="zh-CN" altLang="en-US" dirty="0" smtClean="0">
                <a:sym typeface="+mn-ea"/>
              </a:rPr>
              <a:t>：</a:t>
            </a:r>
            <a:r>
              <a:rPr lang="zh-CN" altLang="en-US" dirty="0"/>
              <a:t>在</a:t>
            </a:r>
            <a:r>
              <a:rPr lang="en-US" altLang="zh-CN" dirty="0"/>
              <a:t>90%</a:t>
            </a:r>
            <a:r>
              <a:rPr lang="zh-CN" altLang="en-US" dirty="0"/>
              <a:t>的业务中推广我们的酒吧增值服务</a:t>
            </a:r>
          </a:p>
        </p:txBody>
      </p:sp>
    </p:spTree>
    <p:extLst>
      <p:ext uri="{BB962C8B-B14F-4D97-AF65-F5344CB8AC3E}">
        <p14:creationId xmlns:p14="http://schemas.microsoft.com/office/powerpoint/2010/main" val="165718197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7" name="Picture 1" descr="幻灯片封面-06c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11520311" cy="6480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4099" name="Rectangle 3"/>
          <p:cNvSpPr/>
          <p:nvPr/>
        </p:nvSpPr>
        <p:spPr bwMode="auto">
          <a:xfrm>
            <a:off x="930157" y="1330463"/>
            <a:ext cx="2530374" cy="6024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33751" tIns="33751" rIns="33751" bIns="33751" anchor="ctr">
            <a:spAutoFit/>
          </a:bodyPr>
          <a:lstStyle/>
          <a:p>
            <a:pPr defTabSz="387350" fontAlgn="base" hangingPunct="0">
              <a:lnSpc>
                <a:spcPct val="7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48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Source Han Sans CN Bold Bold" charset="0"/>
              </a:rPr>
              <a:t>感谢观看</a:t>
            </a:r>
            <a:endParaRPr lang="zh-CN" altLang="zh-CN" sz="48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Source Han Sans CN Bold Bold" charset="0"/>
            </a:endParaRPr>
          </a:p>
        </p:txBody>
      </p:sp>
      <p:sp>
        <p:nvSpPr>
          <p:cNvPr id="4102" name="Line 6"/>
          <p:cNvSpPr>
            <a:spLocks noChangeShapeType="1"/>
          </p:cNvSpPr>
          <p:nvPr/>
        </p:nvSpPr>
        <p:spPr bwMode="auto">
          <a:xfrm>
            <a:off x="1001409" y="5442146"/>
            <a:ext cx="2827576" cy="0"/>
          </a:xfrm>
          <a:prstGeom prst="line">
            <a:avLst/>
          </a:prstGeom>
          <a:noFill/>
          <a:ln w="12700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33751" tIns="33751" rIns="33751" bIns="33751" anchor="ctr"/>
          <a:lstStyle/>
          <a:p>
            <a:pPr algn="ctr" defTabSz="387350" fontAlgn="base" hangingPunct="0">
              <a:spcBef>
                <a:spcPct val="0"/>
              </a:spcBef>
              <a:spcAft>
                <a:spcPct val="0"/>
              </a:spcAft>
            </a:pPr>
            <a:endParaRPr lang="zh-CN" altLang="zh-CN" sz="1420">
              <a:solidFill>
                <a:srgbClr val="FFFFFF"/>
              </a:solidFill>
              <a:latin typeface="Helvetica Neue Medium" charset="0"/>
              <a:ea typeface="Helvetica Neue Medium" charset="0"/>
              <a:cs typeface="Helvetica Neue Medium" charset="0"/>
              <a:sym typeface="Helvetica Neue Medium" charset="0"/>
            </a:endParaRPr>
          </a:p>
        </p:txBody>
      </p:sp>
      <p:pic>
        <p:nvPicPr>
          <p:cNvPr id="4103" name="Picture 7" descr="pasted-image.pdf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2159" y="5591401"/>
            <a:ext cx="2826076" cy="2370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xmlns:p14="http://schemas.microsoft.com/office/powerpoint/2010/main" spd="med"/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>
          <a:xfrm>
            <a:off x="288429" y="59664"/>
            <a:ext cx="8474757" cy="647700"/>
          </a:xfrm>
        </p:spPr>
        <p:txBody>
          <a:bodyPr/>
          <a:lstStyle/>
          <a:p>
            <a:r>
              <a:rPr lang="en-US" altLang="zh-CN" dirty="0" smtClean="0"/>
              <a:t>OKR VS. KPI</a:t>
            </a:r>
            <a:endParaRPr lang="zh-CN" altLang="en-US" dirty="0"/>
          </a:p>
        </p:txBody>
      </p:sp>
      <p:graphicFrame>
        <p:nvGraphicFramePr>
          <p:cNvPr id="3" name="表格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8077956"/>
              </p:ext>
            </p:extLst>
          </p:nvPr>
        </p:nvGraphicFramePr>
        <p:xfrm>
          <a:off x="1872605" y="1079847"/>
          <a:ext cx="8064896" cy="4602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32448"/>
                <a:gridCol w="4032448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 smtClean="0"/>
                        <a:t>KPI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 smtClean="0"/>
                        <a:t>OKR</a:t>
                      </a:r>
                      <a:endParaRPr lang="zh-CN" alt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altLang="zh-CN" dirty="0" smtClean="0"/>
                        <a:t>KPI</a:t>
                      </a:r>
                      <a:r>
                        <a:rPr lang="zh-CN" altLang="en-US" dirty="0" smtClean="0"/>
                        <a:t>是</a:t>
                      </a:r>
                      <a:r>
                        <a:rPr lang="en-US" altLang="zh-CN" dirty="0" smtClean="0"/>
                        <a:t>KR</a:t>
                      </a:r>
                      <a:r>
                        <a:rPr lang="zh-CN" altLang="en-US" dirty="0" smtClean="0"/>
                        <a:t>的一种，是对目标达成结果的极简描述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dirty="0" smtClean="0"/>
                        <a:t>KR</a:t>
                      </a:r>
                      <a:r>
                        <a:rPr lang="zh-CN" altLang="en-US" dirty="0" smtClean="0"/>
                        <a:t>不仅限于</a:t>
                      </a:r>
                      <a:r>
                        <a:rPr lang="en-US" altLang="zh-CN" dirty="0" smtClean="0"/>
                        <a:t>KPI</a:t>
                      </a:r>
                      <a:r>
                        <a:rPr lang="zh-CN" altLang="en-US" dirty="0" smtClean="0"/>
                        <a:t>，可以是对目标达成结果、策略甚至行动的描述</a:t>
                      </a:r>
                      <a:endParaRPr lang="zh-CN" alt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zh-CN" altLang="en-US" dirty="0" smtClean="0"/>
                        <a:t>设定科学合理的</a:t>
                      </a:r>
                      <a:r>
                        <a:rPr lang="en-US" altLang="zh-CN" dirty="0" smtClean="0"/>
                        <a:t>KPI</a:t>
                      </a:r>
                      <a:r>
                        <a:rPr lang="zh-CN" altLang="en-US" dirty="0" smtClean="0"/>
                        <a:t>不容易，适用于稳定的环境、成熟的业务和组织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dirty="0" smtClean="0"/>
                        <a:t>可灵活设定</a:t>
                      </a:r>
                      <a:r>
                        <a:rPr lang="en-US" altLang="zh-CN" dirty="0" smtClean="0"/>
                        <a:t>KR</a:t>
                      </a:r>
                      <a:r>
                        <a:rPr lang="zh-CN" altLang="en-US" dirty="0" smtClean="0"/>
                        <a:t>，目标管理更敏捷，适用于更多业务场景</a:t>
                      </a:r>
                      <a:endParaRPr lang="zh-CN" alt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zh-CN" altLang="en-US" dirty="0" smtClean="0"/>
                        <a:t>忽视</a:t>
                      </a:r>
                      <a:r>
                        <a:rPr lang="en-US" altLang="zh-CN" dirty="0" smtClean="0"/>
                        <a:t>O</a:t>
                      </a:r>
                      <a:r>
                        <a:rPr lang="zh-CN" altLang="en-US" dirty="0" smtClean="0"/>
                        <a:t>，容易导致短视行为和绩效主义文化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dirty="0" smtClean="0"/>
                        <a:t>突出</a:t>
                      </a:r>
                      <a:r>
                        <a:rPr lang="en-US" altLang="zh-CN" dirty="0" smtClean="0"/>
                        <a:t>O</a:t>
                      </a:r>
                      <a:r>
                        <a:rPr lang="zh-CN" altLang="en-US" dirty="0" smtClean="0"/>
                        <a:t>，强调目标背后的目的和意义，不忘“初心”</a:t>
                      </a:r>
                      <a:endParaRPr lang="zh-CN" alt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zh-CN" altLang="en-US" dirty="0" smtClean="0"/>
                        <a:t>关注目标的完成度，与绩效考核直接绑定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dirty="0" smtClean="0"/>
                        <a:t>鼓励挑战不可能，关注实际贡献，与绩效考核间接关联</a:t>
                      </a:r>
                      <a:endParaRPr lang="zh-CN" alt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zh-CN" altLang="en-US" dirty="0" smtClean="0"/>
                        <a:t>容易从结果导向异化为“结果至上”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dirty="0" smtClean="0"/>
                        <a:t>从结果导向正确有效的行动，结果与过程并重</a:t>
                      </a:r>
                      <a:endParaRPr lang="zh-CN" alt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zh-CN" altLang="en-US" dirty="0" smtClean="0"/>
                        <a:t>自上而下，不透明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dirty="0" smtClean="0"/>
                        <a:t>自上而下与自下而上相结合，透明公开</a:t>
                      </a:r>
                      <a:endParaRPr lang="zh-CN" altLang="en-US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>
          <a:xfrm>
            <a:off x="288429" y="59664"/>
            <a:ext cx="8474757" cy="647700"/>
          </a:xfrm>
        </p:spPr>
        <p:txBody>
          <a:bodyPr/>
          <a:lstStyle/>
          <a:p>
            <a:r>
              <a:rPr lang="en-US" altLang="zh-CN" dirty="0" smtClean="0"/>
              <a:t>OKR</a:t>
            </a:r>
            <a:r>
              <a:rPr lang="zh-CN" altLang="en-US" dirty="0" smtClean="0"/>
              <a:t>体系</a:t>
            </a:r>
            <a:endParaRPr lang="zh-CN" altLang="en-US" dirty="0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8509" y="702404"/>
            <a:ext cx="9343423" cy="5777771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>
          <a:xfrm>
            <a:off x="288429" y="59664"/>
            <a:ext cx="8474757" cy="647700"/>
          </a:xfrm>
        </p:spPr>
        <p:txBody>
          <a:bodyPr/>
          <a:lstStyle/>
          <a:p>
            <a:r>
              <a:rPr lang="en-US" altLang="zh-CN" dirty="0" smtClean="0"/>
              <a:t>Objective</a:t>
            </a:r>
            <a:r>
              <a:rPr lang="zh-CN" altLang="en-US" dirty="0" smtClean="0"/>
              <a:t>的制定原则</a:t>
            </a:r>
            <a:endParaRPr lang="zh-CN" altLang="en-US" dirty="0"/>
          </a:p>
        </p:txBody>
      </p:sp>
      <p:sp>
        <p:nvSpPr>
          <p:cNvPr id="3" name="文本框 2"/>
          <p:cNvSpPr txBox="1"/>
          <p:nvPr/>
        </p:nvSpPr>
        <p:spPr>
          <a:xfrm>
            <a:off x="404727" y="1007839"/>
            <a:ext cx="7705956" cy="3477875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marL="342900" indent="-342900">
              <a:buFont typeface="Arial"/>
              <a:buChar char="•"/>
            </a:pPr>
            <a:r>
              <a:rPr lang="en-US" altLang="zh-CN" dirty="0" smtClean="0">
                <a:solidFill>
                  <a:schemeClr val="tx1"/>
                </a:solidFill>
                <a:sym typeface="+mn-ea"/>
              </a:rPr>
              <a:t>Objective</a:t>
            </a:r>
            <a:r>
              <a:rPr lang="zh-CN" altLang="en-US" dirty="0" smtClean="0">
                <a:solidFill>
                  <a:schemeClr val="tx1"/>
                </a:solidFill>
                <a:sym typeface="+mn-ea"/>
              </a:rPr>
              <a:t>是对驱动我们期望方向前进的一种简洁描述</a:t>
            </a:r>
            <a:endParaRPr lang="en-US" altLang="zh-CN" dirty="0" smtClean="0">
              <a:solidFill>
                <a:schemeClr val="tx1"/>
              </a:solidFill>
              <a:sym typeface="+mn-ea"/>
            </a:endParaRPr>
          </a:p>
          <a:p>
            <a:pPr marL="342900" indent="-342900">
              <a:buFont typeface="Arial"/>
              <a:buChar char="•"/>
            </a:pPr>
            <a:r>
              <a:rPr lang="en-US" altLang="zh-CN" dirty="0" smtClean="0">
                <a:sym typeface="+mn-ea"/>
              </a:rPr>
              <a:t>O</a:t>
            </a:r>
            <a:r>
              <a:rPr lang="zh-CN" altLang="en-US" dirty="0" smtClean="0">
                <a:sym typeface="+mn-ea"/>
              </a:rPr>
              <a:t>要回答的一个基本问题是：我们想做什么？</a:t>
            </a:r>
            <a:endParaRPr lang="en-US" altLang="zh-CN" dirty="0" smtClean="0">
              <a:sym typeface="+mn-ea"/>
            </a:endParaRPr>
          </a:p>
          <a:p>
            <a:pPr marL="342900" indent="-342900">
              <a:buFont typeface="Arial"/>
              <a:buChar char="•"/>
            </a:pPr>
            <a:r>
              <a:rPr lang="en-US" altLang="zh-CN" dirty="0" smtClean="0">
                <a:sym typeface="+mn-ea"/>
              </a:rPr>
              <a:t>O</a:t>
            </a:r>
            <a:r>
              <a:rPr lang="zh-CN" altLang="en-US" dirty="0" smtClean="0">
                <a:sym typeface="+mn-ea"/>
              </a:rPr>
              <a:t>的制定原则：</a:t>
            </a:r>
            <a:endParaRPr lang="en-US" altLang="zh-CN" dirty="0" smtClean="0">
              <a:sym typeface="+mn-ea"/>
            </a:endParaRPr>
          </a:p>
          <a:p>
            <a:pPr marL="857250" lvl="1" indent="-342900">
              <a:buFont typeface="Arial"/>
              <a:buChar char="•"/>
            </a:pPr>
            <a:r>
              <a:rPr lang="zh-CN" altLang="en-US" dirty="0" smtClean="0">
                <a:sym typeface="+mn-ea"/>
              </a:rPr>
              <a:t>应该是具体明确的，包含动词</a:t>
            </a:r>
            <a:endParaRPr lang="en-US" altLang="zh-CN" dirty="0" smtClean="0">
              <a:sym typeface="+mn-ea"/>
            </a:endParaRPr>
          </a:p>
          <a:p>
            <a:pPr marL="857250" lvl="1" indent="-342900">
              <a:buFont typeface="Arial"/>
              <a:buChar char="•"/>
            </a:pPr>
            <a:r>
              <a:rPr lang="zh-CN" altLang="en-US" dirty="0" smtClean="0">
                <a:sym typeface="+mn-ea"/>
              </a:rPr>
              <a:t>应该尽量阐明目的和意图</a:t>
            </a:r>
            <a:endParaRPr lang="en-US" altLang="zh-CN" dirty="0" smtClean="0">
              <a:sym typeface="+mn-ea"/>
            </a:endParaRPr>
          </a:p>
          <a:p>
            <a:pPr marL="857250" lvl="1" indent="-342900">
              <a:buFont typeface="Arial"/>
              <a:buChar char="•"/>
            </a:pPr>
            <a:r>
              <a:rPr lang="zh-CN" altLang="en-US" dirty="0" smtClean="0">
                <a:sym typeface="+mn-ea"/>
              </a:rPr>
              <a:t>不是例常维持性关注，应该是重要且有意义的，能鼓舞人心</a:t>
            </a:r>
            <a:endParaRPr lang="en-US" altLang="zh-CN" dirty="0" smtClean="0">
              <a:sym typeface="+mn-ea"/>
            </a:endParaRPr>
          </a:p>
          <a:p>
            <a:pPr marL="857250" lvl="1" indent="-342900">
              <a:buFont typeface="Arial"/>
              <a:buChar char="•"/>
            </a:pPr>
            <a:r>
              <a:rPr lang="zh-CN" altLang="en-US" dirty="0" smtClean="0">
                <a:sym typeface="+mn-ea"/>
              </a:rPr>
              <a:t>通过是定性的描述，有时可借助数字来描述其意义</a:t>
            </a:r>
            <a:endParaRPr lang="en-US" altLang="zh-CN" dirty="0" smtClean="0">
              <a:sym typeface="+mn-ea"/>
            </a:endParaRPr>
          </a:p>
          <a:p>
            <a:pPr marL="857250" lvl="1" indent="-342900">
              <a:buFont typeface="Arial"/>
              <a:buChar char="•"/>
            </a:pPr>
            <a:r>
              <a:rPr lang="zh-CN" altLang="en-US" dirty="0" smtClean="0">
                <a:sym typeface="+mn-ea"/>
              </a:rPr>
              <a:t>应该在该</a:t>
            </a:r>
            <a:r>
              <a:rPr lang="en-US" altLang="zh-CN" dirty="0" smtClean="0">
                <a:sym typeface="+mn-ea"/>
              </a:rPr>
              <a:t>O</a:t>
            </a:r>
            <a:r>
              <a:rPr lang="zh-CN" altLang="en-US" dirty="0" smtClean="0">
                <a:sym typeface="+mn-ea"/>
              </a:rPr>
              <a:t>责任人的可控或可主导的范围之内</a:t>
            </a:r>
            <a:endParaRPr lang="en-US" altLang="zh-CN" dirty="0" smtClean="0">
              <a:sym typeface="+mn-ea"/>
            </a:endParaRPr>
          </a:p>
          <a:p>
            <a:pPr marL="342900" indent="-342900">
              <a:buFont typeface="Arial"/>
              <a:buChar char="•"/>
            </a:pPr>
            <a:r>
              <a:rPr lang="en-US" altLang="zh-CN" dirty="0">
                <a:sym typeface="+mn-ea"/>
              </a:rPr>
              <a:t>O</a:t>
            </a:r>
            <a:r>
              <a:rPr lang="zh-CN" altLang="en-US" dirty="0">
                <a:sym typeface="+mn-ea"/>
              </a:rPr>
              <a:t>要回答的一个基本问题是：我们想做什么？</a:t>
            </a:r>
            <a:endParaRPr lang="en-US" altLang="zh-CN" dirty="0">
              <a:sym typeface="+mn-ea"/>
            </a:endParaRPr>
          </a:p>
          <a:p>
            <a:pPr marL="342900" indent="-342900">
              <a:buFont typeface="Arial"/>
              <a:buChar char="•"/>
            </a:pPr>
            <a:r>
              <a:rPr lang="en-US" altLang="zh-CN" dirty="0" smtClean="0">
                <a:sym typeface="+mn-ea"/>
              </a:rPr>
              <a:t>O</a:t>
            </a:r>
            <a:r>
              <a:rPr lang="zh-CN" altLang="en-US" dirty="0" smtClean="0">
                <a:sym typeface="+mn-ea"/>
              </a:rPr>
              <a:t>要聚焦，在一个</a:t>
            </a:r>
            <a:r>
              <a:rPr lang="en-US" altLang="zh-CN" dirty="0" smtClean="0">
                <a:sym typeface="+mn-ea"/>
              </a:rPr>
              <a:t>OKR</a:t>
            </a:r>
            <a:r>
              <a:rPr lang="zh-CN" altLang="en-US" dirty="0" smtClean="0">
                <a:sym typeface="+mn-ea"/>
              </a:rPr>
              <a:t>周期内，建议不要超过</a:t>
            </a:r>
            <a:r>
              <a:rPr lang="en-US" altLang="zh-CN" dirty="0" smtClean="0">
                <a:sym typeface="+mn-ea"/>
              </a:rPr>
              <a:t>3</a:t>
            </a:r>
            <a:r>
              <a:rPr lang="zh-CN" altLang="en-US" dirty="0" smtClean="0">
                <a:sym typeface="+mn-ea"/>
              </a:rPr>
              <a:t>个</a:t>
            </a:r>
            <a:r>
              <a:rPr lang="en-US" altLang="zh-CN" dirty="0" smtClean="0">
                <a:sym typeface="+mn-ea"/>
              </a:rPr>
              <a:t>O</a:t>
            </a:r>
            <a:endParaRPr lang="en-US" altLang="zh-CN" dirty="0">
              <a:sym typeface="+mn-ea"/>
            </a:endParaRPr>
          </a:p>
          <a:p>
            <a:pPr marL="342900" indent="-342900">
              <a:buFont typeface="Arial"/>
              <a:buChar char="•"/>
            </a:pPr>
            <a:endParaRPr lang="en-US" altLang="zh-CN" dirty="0" smtClean="0">
              <a:solidFill>
                <a:schemeClr val="tx1"/>
              </a:solidFill>
              <a:sym typeface="+mn-ea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>
          <a:xfrm>
            <a:off x="360437" y="31926"/>
            <a:ext cx="8474757" cy="647700"/>
          </a:xfrm>
        </p:spPr>
        <p:txBody>
          <a:bodyPr/>
          <a:lstStyle/>
          <a:p>
            <a:r>
              <a:rPr lang="en-US" altLang="zh-CN" dirty="0" smtClean="0"/>
              <a:t>Key Results</a:t>
            </a:r>
            <a:r>
              <a:rPr lang="zh-CN" altLang="en-US" dirty="0" smtClean="0"/>
              <a:t>的类型</a:t>
            </a:r>
            <a:endParaRPr dirty="0"/>
          </a:p>
        </p:txBody>
      </p:sp>
      <p:sp>
        <p:nvSpPr>
          <p:cNvPr id="12" name="文本框 11"/>
          <p:cNvSpPr txBox="1"/>
          <p:nvPr/>
        </p:nvSpPr>
        <p:spPr>
          <a:xfrm>
            <a:off x="404727" y="1007839"/>
            <a:ext cx="6436430" cy="255454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342900" indent="-342900">
              <a:buFont typeface="Arial"/>
              <a:buChar char="•"/>
            </a:pPr>
            <a:r>
              <a:rPr lang="zh-CN" altLang="en-US" dirty="0" smtClean="0">
                <a:solidFill>
                  <a:schemeClr val="tx1"/>
                </a:solidFill>
                <a:sym typeface="+mn-ea"/>
              </a:rPr>
              <a:t>结果型</a:t>
            </a:r>
            <a:r>
              <a:rPr lang="en-US" altLang="zh-CN" dirty="0" smtClean="0">
                <a:solidFill>
                  <a:schemeClr val="tx1"/>
                </a:solidFill>
                <a:sym typeface="+mn-ea"/>
              </a:rPr>
              <a:t>KR</a:t>
            </a:r>
            <a:r>
              <a:rPr lang="zh-CN" altLang="en-US" dirty="0" smtClean="0">
                <a:solidFill>
                  <a:schemeClr val="tx1"/>
                </a:solidFill>
                <a:sym typeface="+mn-ea"/>
              </a:rPr>
              <a:t>：衡量是否达成</a:t>
            </a:r>
            <a:r>
              <a:rPr lang="en-US" altLang="zh-CN" dirty="0" smtClean="0">
                <a:solidFill>
                  <a:schemeClr val="tx1"/>
                </a:solidFill>
                <a:sym typeface="+mn-ea"/>
              </a:rPr>
              <a:t>O</a:t>
            </a:r>
            <a:r>
              <a:rPr lang="zh-CN" altLang="en-US" dirty="0" smtClean="0">
                <a:solidFill>
                  <a:schemeClr val="tx1"/>
                </a:solidFill>
                <a:sym typeface="+mn-ea"/>
              </a:rPr>
              <a:t>的结果性指标</a:t>
            </a:r>
            <a:endParaRPr lang="en-US" altLang="zh-CN" dirty="0" smtClean="0">
              <a:solidFill>
                <a:schemeClr val="tx1"/>
              </a:solidFill>
              <a:sym typeface="+mn-ea"/>
            </a:endParaRPr>
          </a:p>
          <a:p>
            <a:pPr marL="857250" lvl="1" indent="-342900">
              <a:buFont typeface="Arial"/>
              <a:buChar char="•"/>
            </a:pPr>
            <a:r>
              <a:rPr lang="zh-CN" altLang="en-US" dirty="0" smtClean="0">
                <a:solidFill>
                  <a:schemeClr val="tx1"/>
                </a:solidFill>
                <a:sym typeface="+mn-ea"/>
              </a:rPr>
              <a:t>综合结果型</a:t>
            </a:r>
            <a:r>
              <a:rPr lang="en-US" altLang="zh-CN" dirty="0" smtClean="0">
                <a:solidFill>
                  <a:schemeClr val="tx1"/>
                </a:solidFill>
                <a:sym typeface="+mn-ea"/>
              </a:rPr>
              <a:t>KR——</a:t>
            </a:r>
            <a:r>
              <a:rPr lang="zh-CN" altLang="en-US" dirty="0" smtClean="0">
                <a:solidFill>
                  <a:schemeClr val="tx1"/>
                </a:solidFill>
                <a:sym typeface="+mn-ea"/>
              </a:rPr>
              <a:t>类似于</a:t>
            </a:r>
            <a:r>
              <a:rPr lang="en-US" altLang="zh-CN" dirty="0" smtClean="0">
                <a:solidFill>
                  <a:schemeClr val="tx1"/>
                </a:solidFill>
                <a:sym typeface="+mn-ea"/>
              </a:rPr>
              <a:t>KPI</a:t>
            </a:r>
          </a:p>
          <a:p>
            <a:pPr marL="857250" lvl="1" indent="-342900">
              <a:buFont typeface="Arial"/>
              <a:buChar char="•"/>
            </a:pPr>
            <a:r>
              <a:rPr lang="zh-CN" altLang="en-US" dirty="0" smtClean="0">
                <a:sym typeface="+mn-ea"/>
              </a:rPr>
              <a:t>局部或阶段结果型</a:t>
            </a:r>
            <a:r>
              <a:rPr lang="en-US" altLang="zh-CN" dirty="0" smtClean="0">
                <a:sym typeface="+mn-ea"/>
              </a:rPr>
              <a:t>KR——</a:t>
            </a:r>
            <a:r>
              <a:rPr lang="zh-CN" altLang="en-US" dirty="0" smtClean="0">
                <a:sym typeface="+mn-ea"/>
              </a:rPr>
              <a:t>是综合结果型</a:t>
            </a:r>
            <a:r>
              <a:rPr lang="en-US" altLang="zh-CN" dirty="0" smtClean="0">
                <a:sym typeface="+mn-ea"/>
              </a:rPr>
              <a:t>KR</a:t>
            </a:r>
            <a:r>
              <a:rPr lang="zh-CN" altLang="en-US" dirty="0" smtClean="0">
                <a:sym typeface="+mn-ea"/>
              </a:rPr>
              <a:t>在某个局部或某个阶段的分解</a:t>
            </a:r>
            <a:endParaRPr lang="en-US" altLang="zh-CN" dirty="0" smtClean="0">
              <a:sym typeface="+mn-ea"/>
            </a:endParaRPr>
          </a:p>
          <a:p>
            <a:pPr marL="342900" indent="-342900">
              <a:buFont typeface="Arial"/>
              <a:buChar char="•"/>
            </a:pPr>
            <a:r>
              <a:rPr lang="zh-CN" altLang="en-US" dirty="0" smtClean="0">
                <a:sym typeface="+mn-ea"/>
              </a:rPr>
              <a:t>策略型</a:t>
            </a:r>
            <a:r>
              <a:rPr lang="en-US" altLang="zh-CN" dirty="0">
                <a:sym typeface="+mn-ea"/>
              </a:rPr>
              <a:t>KR</a:t>
            </a:r>
            <a:r>
              <a:rPr lang="zh-CN" altLang="en-US" dirty="0" smtClean="0">
                <a:sym typeface="+mn-ea"/>
              </a:rPr>
              <a:t>：反映了达成结果型</a:t>
            </a:r>
            <a:r>
              <a:rPr lang="en-US" altLang="zh-CN" dirty="0" smtClean="0">
                <a:sym typeface="+mn-ea"/>
              </a:rPr>
              <a:t>KR</a:t>
            </a:r>
            <a:r>
              <a:rPr lang="zh-CN" altLang="en-US" dirty="0" smtClean="0">
                <a:sym typeface="+mn-ea"/>
              </a:rPr>
              <a:t>的策略途径，对结果型</a:t>
            </a:r>
            <a:r>
              <a:rPr lang="en-US" altLang="zh-CN" dirty="0" smtClean="0">
                <a:sym typeface="+mn-ea"/>
              </a:rPr>
              <a:t>KR</a:t>
            </a:r>
            <a:r>
              <a:rPr lang="zh-CN" altLang="en-US" dirty="0" smtClean="0">
                <a:sym typeface="+mn-ea"/>
              </a:rPr>
              <a:t>或</a:t>
            </a:r>
            <a:r>
              <a:rPr lang="en-US" altLang="zh-CN" dirty="0" smtClean="0">
                <a:sym typeface="+mn-ea"/>
              </a:rPr>
              <a:t>O</a:t>
            </a:r>
            <a:r>
              <a:rPr lang="zh-CN" altLang="en-US" dirty="0" smtClean="0">
                <a:sym typeface="+mn-ea"/>
              </a:rPr>
              <a:t>有关键驱动作用的衡量指标</a:t>
            </a:r>
            <a:endParaRPr lang="en-US" altLang="zh-CN" dirty="0" smtClean="0">
              <a:sym typeface="+mn-ea"/>
            </a:endParaRPr>
          </a:p>
          <a:p>
            <a:pPr marL="342900" indent="-342900">
              <a:buFont typeface="Arial"/>
              <a:buChar char="•"/>
            </a:pPr>
            <a:r>
              <a:rPr lang="zh-CN" altLang="en-US" dirty="0" smtClean="0">
                <a:sym typeface="+mn-ea"/>
              </a:rPr>
              <a:t>行动型</a:t>
            </a:r>
            <a:r>
              <a:rPr lang="en-US" altLang="zh-CN" dirty="0" smtClean="0">
                <a:sym typeface="+mn-ea"/>
              </a:rPr>
              <a:t>KR</a:t>
            </a:r>
            <a:r>
              <a:rPr lang="zh-CN" altLang="en-US" dirty="0" smtClean="0">
                <a:sym typeface="+mn-ea"/>
              </a:rPr>
              <a:t>：达成结果型</a:t>
            </a:r>
            <a:r>
              <a:rPr lang="en-US" altLang="zh-CN" dirty="0" smtClean="0">
                <a:sym typeface="+mn-ea"/>
              </a:rPr>
              <a:t>KR</a:t>
            </a:r>
            <a:r>
              <a:rPr lang="zh-CN" altLang="en-US" dirty="0" smtClean="0">
                <a:sym typeface="+mn-ea"/>
              </a:rPr>
              <a:t>或策略型</a:t>
            </a:r>
            <a:r>
              <a:rPr lang="en-US" altLang="zh-CN" dirty="0" smtClean="0">
                <a:sym typeface="+mn-ea"/>
              </a:rPr>
              <a:t>KR</a:t>
            </a:r>
            <a:r>
              <a:rPr lang="zh-CN" altLang="en-US" dirty="0" smtClean="0">
                <a:sym typeface="+mn-ea"/>
              </a:rPr>
              <a:t>的关键行动的衡量指标</a:t>
            </a:r>
            <a:endParaRPr lang="en-US" altLang="zh-CN" dirty="0" smtClean="0">
              <a:sym typeface="+mn-ea"/>
            </a:endParaRPr>
          </a:p>
        </p:txBody>
      </p:sp>
      <p:sp>
        <p:nvSpPr>
          <p:cNvPr id="4" name="椭圆 3"/>
          <p:cNvSpPr/>
          <p:nvPr/>
        </p:nvSpPr>
        <p:spPr>
          <a:xfrm>
            <a:off x="7561237" y="1007839"/>
            <a:ext cx="1058416" cy="1058416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目标</a:t>
            </a:r>
            <a:endParaRPr kumimoji="1" lang="zh-CN" altLang="en-US" dirty="0"/>
          </a:p>
        </p:txBody>
      </p:sp>
      <p:sp>
        <p:nvSpPr>
          <p:cNvPr id="6" name="矩形 5"/>
          <p:cNvSpPr/>
          <p:nvPr/>
        </p:nvSpPr>
        <p:spPr>
          <a:xfrm>
            <a:off x="10009509" y="1079847"/>
            <a:ext cx="1008112" cy="1008112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结果型</a:t>
            </a:r>
            <a:endParaRPr kumimoji="1" lang="en-US" altLang="zh-CN" dirty="0" smtClean="0"/>
          </a:p>
          <a:p>
            <a:pPr algn="ctr"/>
            <a:r>
              <a:rPr kumimoji="1" lang="en-US" altLang="zh-CN" dirty="0" smtClean="0"/>
              <a:t>KR</a:t>
            </a:r>
            <a:endParaRPr kumimoji="1" lang="zh-CN" altLang="en-US" dirty="0"/>
          </a:p>
        </p:txBody>
      </p:sp>
      <p:sp>
        <p:nvSpPr>
          <p:cNvPr id="7" name="左箭头 6"/>
          <p:cNvSpPr/>
          <p:nvPr/>
        </p:nvSpPr>
        <p:spPr>
          <a:xfrm>
            <a:off x="8785373" y="1367879"/>
            <a:ext cx="978408" cy="484632"/>
          </a:xfrm>
          <a:prstGeom prst="lef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3" name="矩形 12"/>
          <p:cNvSpPr/>
          <p:nvPr/>
        </p:nvSpPr>
        <p:spPr>
          <a:xfrm>
            <a:off x="7705253" y="3096071"/>
            <a:ext cx="2808312" cy="648072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策略型</a:t>
            </a:r>
            <a:r>
              <a:rPr kumimoji="1" lang="en-US" altLang="zh-CN" dirty="0" smtClean="0"/>
              <a:t>KR</a:t>
            </a:r>
            <a:endParaRPr kumimoji="1" lang="zh-CN" altLang="en-US" dirty="0"/>
          </a:p>
        </p:txBody>
      </p:sp>
      <p:sp>
        <p:nvSpPr>
          <p:cNvPr id="14" name="矩形 13"/>
          <p:cNvSpPr/>
          <p:nvPr/>
        </p:nvSpPr>
        <p:spPr>
          <a:xfrm>
            <a:off x="7705253" y="4824263"/>
            <a:ext cx="3600400" cy="648072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行动</a:t>
            </a:r>
            <a:r>
              <a:rPr kumimoji="1" lang="zh-CN" altLang="en-US" dirty="0" smtClean="0"/>
              <a:t>型</a:t>
            </a:r>
            <a:r>
              <a:rPr kumimoji="1" lang="en-US" altLang="zh-CN" dirty="0" smtClean="0"/>
              <a:t>KR</a:t>
            </a:r>
            <a:endParaRPr kumimoji="1" lang="zh-CN" altLang="en-US" dirty="0"/>
          </a:p>
        </p:txBody>
      </p:sp>
      <p:sp>
        <p:nvSpPr>
          <p:cNvPr id="16" name="上箭头 15"/>
          <p:cNvSpPr/>
          <p:nvPr/>
        </p:nvSpPr>
        <p:spPr>
          <a:xfrm>
            <a:off x="7993285" y="2087959"/>
            <a:ext cx="360040" cy="936104"/>
          </a:xfrm>
          <a:prstGeom prst="up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8" name="上箭头 17"/>
          <p:cNvSpPr/>
          <p:nvPr/>
        </p:nvSpPr>
        <p:spPr>
          <a:xfrm>
            <a:off x="10081517" y="2087959"/>
            <a:ext cx="360040" cy="936104"/>
          </a:xfrm>
          <a:prstGeom prst="up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9" name="上箭头 18"/>
          <p:cNvSpPr/>
          <p:nvPr/>
        </p:nvSpPr>
        <p:spPr>
          <a:xfrm>
            <a:off x="9001397" y="3816151"/>
            <a:ext cx="360040" cy="936104"/>
          </a:xfrm>
          <a:prstGeom prst="up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1" name="上箭头 20"/>
          <p:cNvSpPr/>
          <p:nvPr/>
        </p:nvSpPr>
        <p:spPr>
          <a:xfrm>
            <a:off x="10729589" y="2087959"/>
            <a:ext cx="360040" cy="2664296"/>
          </a:xfrm>
          <a:prstGeom prst="up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>
          <a:xfrm>
            <a:off x="360437" y="31926"/>
            <a:ext cx="8474757" cy="647700"/>
          </a:xfrm>
        </p:spPr>
        <p:txBody>
          <a:bodyPr/>
          <a:lstStyle/>
          <a:p>
            <a:r>
              <a:rPr lang="en-US" altLang="zh-CN" dirty="0" smtClean="0"/>
              <a:t>Key Results</a:t>
            </a:r>
            <a:r>
              <a:rPr lang="zh-CN" altLang="en-US" dirty="0" smtClean="0"/>
              <a:t>的类型</a:t>
            </a:r>
            <a:endParaRPr dirty="0"/>
          </a:p>
        </p:txBody>
      </p:sp>
      <p:sp>
        <p:nvSpPr>
          <p:cNvPr id="12" name="文本框 11"/>
          <p:cNvSpPr txBox="1"/>
          <p:nvPr/>
        </p:nvSpPr>
        <p:spPr>
          <a:xfrm>
            <a:off x="404727" y="1007839"/>
            <a:ext cx="6436430" cy="1015663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342900" indent="-342900">
              <a:buFont typeface="Arial"/>
              <a:buChar char="•"/>
            </a:pPr>
            <a:r>
              <a:rPr lang="en-US" altLang="zh-CN" dirty="0" smtClean="0">
                <a:solidFill>
                  <a:schemeClr val="tx1"/>
                </a:solidFill>
                <a:sym typeface="+mn-ea"/>
              </a:rPr>
              <a:t>O</a:t>
            </a:r>
            <a:r>
              <a:rPr lang="zh-CN" altLang="en-US" dirty="0" smtClean="0">
                <a:solidFill>
                  <a:schemeClr val="tx1"/>
                </a:solidFill>
                <a:sym typeface="+mn-ea"/>
              </a:rPr>
              <a:t>：做一款在行业内有足够影响力的产品</a:t>
            </a:r>
            <a:r>
              <a:rPr lang="en-US" altLang="zh-CN" dirty="0" smtClean="0">
                <a:solidFill>
                  <a:schemeClr val="tx1"/>
                </a:solidFill>
                <a:sym typeface="+mn-ea"/>
              </a:rPr>
              <a:t>KRs</a:t>
            </a:r>
            <a:r>
              <a:rPr lang="zh-CN" altLang="en-US" dirty="0" smtClean="0">
                <a:solidFill>
                  <a:schemeClr val="tx1"/>
                </a:solidFill>
                <a:sym typeface="+mn-ea"/>
              </a:rPr>
              <a:t>：</a:t>
            </a:r>
            <a:endParaRPr lang="en-US" altLang="zh-CN" dirty="0" smtClean="0">
              <a:solidFill>
                <a:schemeClr val="tx1"/>
              </a:solidFill>
              <a:sym typeface="+mn-ea"/>
            </a:endParaRPr>
          </a:p>
          <a:p>
            <a:r>
              <a:rPr lang="en-US" altLang="zh-CN" dirty="0" smtClean="0">
                <a:solidFill>
                  <a:schemeClr val="tx1"/>
                </a:solidFill>
                <a:sym typeface="+mn-ea"/>
              </a:rPr>
              <a:t>1</a:t>
            </a:r>
            <a:r>
              <a:rPr lang="zh-CN" altLang="en-US" dirty="0" smtClean="0">
                <a:solidFill>
                  <a:schemeClr val="tx1"/>
                </a:solidFill>
                <a:sym typeface="+mn-ea"/>
              </a:rPr>
              <a:t>）产品的市场占有率在同类产品中处于市场前三</a:t>
            </a:r>
            <a:endParaRPr lang="en-US" altLang="zh-CN" dirty="0" smtClean="0">
              <a:solidFill>
                <a:schemeClr val="tx1"/>
              </a:solidFill>
              <a:sym typeface="+mn-ea"/>
            </a:endParaRPr>
          </a:p>
          <a:p>
            <a:r>
              <a:rPr lang="zh-CN" altLang="zh-CN" dirty="0" smtClean="0">
                <a:sym typeface="+mn-ea"/>
              </a:rPr>
              <a:t>2</a:t>
            </a:r>
            <a:r>
              <a:rPr lang="zh-CN" altLang="en-US" dirty="0" smtClean="0">
                <a:sym typeface="+mn-ea"/>
              </a:rPr>
              <a:t>）产品在新用户群体中的</a:t>
            </a:r>
            <a:r>
              <a:rPr lang="en-US" altLang="zh-CN" dirty="0" smtClean="0">
                <a:sym typeface="+mn-ea"/>
              </a:rPr>
              <a:t>30</a:t>
            </a:r>
            <a:r>
              <a:rPr lang="zh-CN" altLang="en-US" dirty="0" smtClean="0">
                <a:sym typeface="+mn-ea"/>
              </a:rPr>
              <a:t>日留存率提高至</a:t>
            </a:r>
            <a:r>
              <a:rPr lang="en-US" altLang="zh-CN" dirty="0" smtClean="0">
                <a:sym typeface="+mn-ea"/>
              </a:rPr>
              <a:t>50%</a:t>
            </a:r>
            <a:endParaRPr lang="en-US" altLang="zh-CN" dirty="0" smtClean="0">
              <a:solidFill>
                <a:schemeClr val="tx1"/>
              </a:solidFill>
              <a:sym typeface="+mn-ea"/>
            </a:endParaRPr>
          </a:p>
        </p:txBody>
      </p:sp>
      <p:sp>
        <p:nvSpPr>
          <p:cNvPr id="4" name="椭圆 3"/>
          <p:cNvSpPr/>
          <p:nvPr/>
        </p:nvSpPr>
        <p:spPr>
          <a:xfrm>
            <a:off x="7561237" y="1007839"/>
            <a:ext cx="1058416" cy="1058416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目标</a:t>
            </a:r>
            <a:endParaRPr kumimoji="1" lang="zh-CN" altLang="en-US" dirty="0"/>
          </a:p>
        </p:txBody>
      </p:sp>
      <p:sp>
        <p:nvSpPr>
          <p:cNvPr id="6" name="矩形 5"/>
          <p:cNvSpPr/>
          <p:nvPr/>
        </p:nvSpPr>
        <p:spPr>
          <a:xfrm>
            <a:off x="10009509" y="1079847"/>
            <a:ext cx="1008112" cy="1008112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结果型</a:t>
            </a:r>
            <a:endParaRPr kumimoji="1" lang="en-US" altLang="zh-CN" dirty="0" smtClean="0"/>
          </a:p>
          <a:p>
            <a:pPr algn="ctr"/>
            <a:r>
              <a:rPr kumimoji="1" lang="en-US" altLang="zh-CN" dirty="0" smtClean="0"/>
              <a:t>KR</a:t>
            </a:r>
            <a:endParaRPr kumimoji="1" lang="zh-CN" altLang="en-US" dirty="0"/>
          </a:p>
        </p:txBody>
      </p:sp>
      <p:sp>
        <p:nvSpPr>
          <p:cNvPr id="7" name="左箭头 6"/>
          <p:cNvSpPr/>
          <p:nvPr/>
        </p:nvSpPr>
        <p:spPr>
          <a:xfrm>
            <a:off x="8785373" y="1367879"/>
            <a:ext cx="978408" cy="484632"/>
          </a:xfrm>
          <a:prstGeom prst="lef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3" name="矩形 12"/>
          <p:cNvSpPr/>
          <p:nvPr/>
        </p:nvSpPr>
        <p:spPr>
          <a:xfrm>
            <a:off x="7705253" y="3096071"/>
            <a:ext cx="2808312" cy="648072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策略型</a:t>
            </a:r>
            <a:r>
              <a:rPr kumimoji="1" lang="en-US" altLang="zh-CN" dirty="0" smtClean="0"/>
              <a:t>KR</a:t>
            </a:r>
            <a:endParaRPr kumimoji="1" lang="zh-CN" altLang="en-US" dirty="0"/>
          </a:p>
        </p:txBody>
      </p:sp>
      <p:sp>
        <p:nvSpPr>
          <p:cNvPr id="14" name="矩形 13"/>
          <p:cNvSpPr/>
          <p:nvPr/>
        </p:nvSpPr>
        <p:spPr>
          <a:xfrm>
            <a:off x="7705253" y="4824263"/>
            <a:ext cx="3600400" cy="648072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行动</a:t>
            </a:r>
            <a:r>
              <a:rPr kumimoji="1" lang="zh-CN" altLang="en-US" dirty="0" smtClean="0"/>
              <a:t>型</a:t>
            </a:r>
            <a:r>
              <a:rPr kumimoji="1" lang="en-US" altLang="zh-CN" dirty="0" smtClean="0"/>
              <a:t>KR</a:t>
            </a:r>
            <a:endParaRPr kumimoji="1" lang="zh-CN" altLang="en-US" dirty="0"/>
          </a:p>
        </p:txBody>
      </p:sp>
      <p:sp>
        <p:nvSpPr>
          <p:cNvPr id="16" name="上箭头 15"/>
          <p:cNvSpPr/>
          <p:nvPr/>
        </p:nvSpPr>
        <p:spPr>
          <a:xfrm>
            <a:off x="7993285" y="2087959"/>
            <a:ext cx="360040" cy="936104"/>
          </a:xfrm>
          <a:prstGeom prst="upArrow">
            <a:avLst/>
          </a:prstGeom>
          <a:solidFill>
            <a:schemeClr val="bg1">
              <a:lumMod val="6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8" name="上箭头 17"/>
          <p:cNvSpPr/>
          <p:nvPr/>
        </p:nvSpPr>
        <p:spPr>
          <a:xfrm>
            <a:off x="10081517" y="2087959"/>
            <a:ext cx="360040" cy="936104"/>
          </a:xfrm>
          <a:prstGeom prst="upArrow">
            <a:avLst/>
          </a:prstGeom>
          <a:solidFill>
            <a:schemeClr val="bg1">
              <a:lumMod val="6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9" name="上箭头 18"/>
          <p:cNvSpPr/>
          <p:nvPr/>
        </p:nvSpPr>
        <p:spPr>
          <a:xfrm>
            <a:off x="9001397" y="3816151"/>
            <a:ext cx="360040" cy="936104"/>
          </a:xfrm>
          <a:prstGeom prst="upArrow">
            <a:avLst/>
          </a:prstGeom>
          <a:solidFill>
            <a:schemeClr val="bg1">
              <a:lumMod val="6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1" name="上箭头 20"/>
          <p:cNvSpPr/>
          <p:nvPr/>
        </p:nvSpPr>
        <p:spPr>
          <a:xfrm>
            <a:off x="10729589" y="2087959"/>
            <a:ext cx="360040" cy="2664296"/>
          </a:xfrm>
          <a:prstGeom prst="upArrow">
            <a:avLst/>
          </a:prstGeom>
          <a:solidFill>
            <a:schemeClr val="bg1">
              <a:lumMod val="6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411319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>
          <a:xfrm>
            <a:off x="360437" y="31926"/>
            <a:ext cx="8474757" cy="647700"/>
          </a:xfrm>
        </p:spPr>
        <p:txBody>
          <a:bodyPr/>
          <a:lstStyle/>
          <a:p>
            <a:r>
              <a:rPr lang="en-US" altLang="zh-CN" dirty="0" smtClean="0"/>
              <a:t>Key Results</a:t>
            </a:r>
            <a:r>
              <a:rPr lang="zh-CN" altLang="en-US" dirty="0" smtClean="0"/>
              <a:t>的类型</a:t>
            </a:r>
            <a:endParaRPr dirty="0"/>
          </a:p>
        </p:txBody>
      </p:sp>
      <p:sp>
        <p:nvSpPr>
          <p:cNvPr id="12" name="文本框 11"/>
          <p:cNvSpPr txBox="1"/>
          <p:nvPr/>
        </p:nvSpPr>
        <p:spPr>
          <a:xfrm>
            <a:off x="404727" y="1007839"/>
            <a:ext cx="6436430" cy="193899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342900" indent="-342900">
              <a:buFont typeface="Arial"/>
              <a:buChar char="•"/>
            </a:pPr>
            <a:r>
              <a:rPr lang="en-US" altLang="zh-CN" dirty="0">
                <a:sym typeface="+mn-ea"/>
              </a:rPr>
              <a:t>O</a:t>
            </a:r>
            <a:r>
              <a:rPr lang="zh-CN" altLang="en-US" dirty="0" smtClean="0">
                <a:sym typeface="+mn-ea"/>
              </a:rPr>
              <a:t>：开拓海外市场、提升业务收入</a:t>
            </a:r>
            <a:r>
              <a:rPr lang="en-US" altLang="zh-CN" dirty="0" smtClean="0">
                <a:sym typeface="+mn-ea"/>
              </a:rPr>
              <a:t>KRs</a:t>
            </a:r>
            <a:r>
              <a:rPr lang="zh-CN" altLang="en-US" dirty="0">
                <a:sym typeface="+mn-ea"/>
              </a:rPr>
              <a:t>：</a:t>
            </a:r>
            <a:endParaRPr lang="en-US" altLang="zh-CN" dirty="0">
              <a:sym typeface="+mn-ea"/>
            </a:endParaRPr>
          </a:p>
          <a:p>
            <a:r>
              <a:rPr lang="en-US" altLang="zh-CN" dirty="0">
                <a:sym typeface="+mn-ea"/>
              </a:rPr>
              <a:t>1</a:t>
            </a:r>
            <a:r>
              <a:rPr lang="zh-CN" altLang="en-US" dirty="0" smtClean="0">
                <a:sym typeface="+mn-ea"/>
              </a:rPr>
              <a:t>）公司全球销售额达到</a:t>
            </a:r>
            <a:r>
              <a:rPr lang="en-US" altLang="zh-CN" dirty="0" smtClean="0">
                <a:sym typeface="+mn-ea"/>
              </a:rPr>
              <a:t>1</a:t>
            </a:r>
            <a:r>
              <a:rPr lang="zh-CN" altLang="en-US" dirty="0" smtClean="0">
                <a:sym typeface="+mn-ea"/>
              </a:rPr>
              <a:t>亿美元（结果）</a:t>
            </a:r>
            <a:endParaRPr lang="en-US" altLang="zh-CN" dirty="0" smtClean="0">
              <a:sym typeface="+mn-ea"/>
            </a:endParaRPr>
          </a:p>
          <a:p>
            <a:r>
              <a:rPr lang="zh-CN" altLang="zh-CN" dirty="0" smtClean="0">
                <a:sym typeface="+mn-ea"/>
              </a:rPr>
              <a:t>2</a:t>
            </a:r>
            <a:r>
              <a:rPr lang="zh-CN" altLang="en-US" dirty="0" smtClean="0">
                <a:sym typeface="+mn-ea"/>
              </a:rPr>
              <a:t>）欧洲、中东和中国地区的销售额环比增长</a:t>
            </a:r>
            <a:r>
              <a:rPr lang="en-US" altLang="zh-CN" dirty="0" smtClean="0">
                <a:sym typeface="+mn-ea"/>
              </a:rPr>
              <a:t>100%</a:t>
            </a:r>
            <a:r>
              <a:rPr lang="zh-CN" altLang="en-US" dirty="0" smtClean="0">
                <a:sym typeface="+mn-ea"/>
              </a:rPr>
              <a:t>（局部结果）</a:t>
            </a:r>
            <a:endParaRPr lang="en-US" altLang="zh-CN" dirty="0" smtClean="0">
              <a:sym typeface="+mn-ea"/>
            </a:endParaRPr>
          </a:p>
          <a:p>
            <a:r>
              <a:rPr lang="zh-CN" altLang="zh-CN" dirty="0" smtClean="0">
                <a:sym typeface="+mn-ea"/>
              </a:rPr>
              <a:t>3</a:t>
            </a:r>
            <a:r>
              <a:rPr lang="zh-CN" altLang="en-US" dirty="0" smtClean="0">
                <a:sym typeface="+mn-ea"/>
              </a:rPr>
              <a:t>）通过增值服务使平均客单价提高</a:t>
            </a:r>
            <a:r>
              <a:rPr lang="en-US" altLang="zh-CN" dirty="0" smtClean="0">
                <a:sym typeface="+mn-ea"/>
              </a:rPr>
              <a:t>30%</a:t>
            </a:r>
            <a:r>
              <a:rPr lang="zh-CN" altLang="en-US" dirty="0" smtClean="0">
                <a:sym typeface="+mn-ea"/>
              </a:rPr>
              <a:t>（策略）</a:t>
            </a:r>
            <a:endParaRPr lang="en-US" altLang="zh-CN" dirty="0" smtClean="0">
              <a:sym typeface="+mn-ea"/>
            </a:endParaRPr>
          </a:p>
          <a:p>
            <a:r>
              <a:rPr lang="zh-CN" altLang="zh-CN" dirty="0" smtClean="0">
                <a:sym typeface="+mn-ea"/>
              </a:rPr>
              <a:t>4</a:t>
            </a:r>
            <a:r>
              <a:rPr lang="zh-CN" altLang="en-US" dirty="0" smtClean="0">
                <a:sym typeface="+mn-ea"/>
              </a:rPr>
              <a:t>）通过客户关怀使每年客户流失率低于</a:t>
            </a:r>
            <a:r>
              <a:rPr lang="en-US" altLang="zh-CN" dirty="0" smtClean="0">
                <a:sym typeface="+mn-ea"/>
              </a:rPr>
              <a:t>5%</a:t>
            </a:r>
            <a:endParaRPr lang="en-US" altLang="zh-CN" dirty="0">
              <a:sym typeface="+mn-ea"/>
            </a:endParaRPr>
          </a:p>
        </p:txBody>
      </p:sp>
      <p:sp>
        <p:nvSpPr>
          <p:cNvPr id="4" name="椭圆 3"/>
          <p:cNvSpPr/>
          <p:nvPr/>
        </p:nvSpPr>
        <p:spPr>
          <a:xfrm>
            <a:off x="7561237" y="1007839"/>
            <a:ext cx="1058416" cy="1058416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目标</a:t>
            </a:r>
            <a:endParaRPr kumimoji="1" lang="zh-CN" altLang="en-US" dirty="0"/>
          </a:p>
        </p:txBody>
      </p:sp>
      <p:sp>
        <p:nvSpPr>
          <p:cNvPr id="6" name="矩形 5"/>
          <p:cNvSpPr/>
          <p:nvPr/>
        </p:nvSpPr>
        <p:spPr>
          <a:xfrm>
            <a:off x="10009509" y="1079847"/>
            <a:ext cx="1008112" cy="1008112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结果型</a:t>
            </a:r>
            <a:endParaRPr kumimoji="1" lang="en-US" altLang="zh-CN" dirty="0" smtClean="0"/>
          </a:p>
          <a:p>
            <a:pPr algn="ctr"/>
            <a:r>
              <a:rPr kumimoji="1" lang="en-US" altLang="zh-CN" dirty="0" smtClean="0"/>
              <a:t>KR</a:t>
            </a:r>
            <a:endParaRPr kumimoji="1" lang="zh-CN" altLang="en-US" dirty="0"/>
          </a:p>
        </p:txBody>
      </p:sp>
      <p:sp>
        <p:nvSpPr>
          <p:cNvPr id="7" name="左箭头 6"/>
          <p:cNvSpPr/>
          <p:nvPr/>
        </p:nvSpPr>
        <p:spPr>
          <a:xfrm>
            <a:off x="8785373" y="1367879"/>
            <a:ext cx="978408" cy="484632"/>
          </a:xfrm>
          <a:prstGeom prst="lef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3" name="矩形 12"/>
          <p:cNvSpPr/>
          <p:nvPr/>
        </p:nvSpPr>
        <p:spPr>
          <a:xfrm>
            <a:off x="7705253" y="3096071"/>
            <a:ext cx="2808312" cy="648072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策略型</a:t>
            </a:r>
            <a:r>
              <a:rPr kumimoji="1" lang="en-US" altLang="zh-CN" dirty="0" smtClean="0"/>
              <a:t>KR</a:t>
            </a:r>
            <a:endParaRPr kumimoji="1" lang="zh-CN" altLang="en-US" dirty="0"/>
          </a:p>
        </p:txBody>
      </p:sp>
      <p:sp>
        <p:nvSpPr>
          <p:cNvPr id="14" name="矩形 13"/>
          <p:cNvSpPr/>
          <p:nvPr/>
        </p:nvSpPr>
        <p:spPr>
          <a:xfrm>
            <a:off x="7705253" y="4824263"/>
            <a:ext cx="3600400" cy="648072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行动</a:t>
            </a:r>
            <a:r>
              <a:rPr kumimoji="1" lang="zh-CN" altLang="en-US" dirty="0" smtClean="0"/>
              <a:t>型</a:t>
            </a:r>
            <a:r>
              <a:rPr kumimoji="1" lang="en-US" altLang="zh-CN" dirty="0" smtClean="0"/>
              <a:t>KR</a:t>
            </a:r>
            <a:endParaRPr kumimoji="1" lang="zh-CN" altLang="en-US" dirty="0"/>
          </a:p>
        </p:txBody>
      </p:sp>
      <p:sp>
        <p:nvSpPr>
          <p:cNvPr id="16" name="上箭头 15"/>
          <p:cNvSpPr/>
          <p:nvPr/>
        </p:nvSpPr>
        <p:spPr>
          <a:xfrm>
            <a:off x="7993285" y="2087959"/>
            <a:ext cx="360040" cy="936104"/>
          </a:xfrm>
          <a:prstGeom prst="upArrow">
            <a:avLst/>
          </a:prstGeom>
          <a:solidFill>
            <a:schemeClr val="bg1">
              <a:lumMod val="6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8" name="上箭头 17"/>
          <p:cNvSpPr/>
          <p:nvPr/>
        </p:nvSpPr>
        <p:spPr>
          <a:xfrm>
            <a:off x="10081517" y="2087959"/>
            <a:ext cx="360040" cy="936104"/>
          </a:xfrm>
          <a:prstGeom prst="up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9" name="上箭头 18"/>
          <p:cNvSpPr/>
          <p:nvPr/>
        </p:nvSpPr>
        <p:spPr>
          <a:xfrm>
            <a:off x="9001397" y="3816151"/>
            <a:ext cx="360040" cy="936104"/>
          </a:xfrm>
          <a:prstGeom prst="upArrow">
            <a:avLst/>
          </a:prstGeom>
          <a:solidFill>
            <a:schemeClr val="bg1">
              <a:lumMod val="6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1" name="上箭头 20"/>
          <p:cNvSpPr/>
          <p:nvPr/>
        </p:nvSpPr>
        <p:spPr>
          <a:xfrm>
            <a:off x="10729589" y="2087959"/>
            <a:ext cx="360040" cy="2664296"/>
          </a:xfrm>
          <a:prstGeom prst="upArrow">
            <a:avLst/>
          </a:prstGeom>
          <a:solidFill>
            <a:schemeClr val="bg1">
              <a:lumMod val="6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8411319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>
          <a:xfrm>
            <a:off x="360437" y="31926"/>
            <a:ext cx="8474757" cy="647700"/>
          </a:xfrm>
        </p:spPr>
        <p:txBody>
          <a:bodyPr/>
          <a:lstStyle/>
          <a:p>
            <a:r>
              <a:rPr lang="en-US" altLang="zh-CN" dirty="0" smtClean="0"/>
              <a:t>Key Results</a:t>
            </a:r>
            <a:r>
              <a:rPr lang="zh-CN" altLang="en-US" dirty="0" smtClean="0"/>
              <a:t>的类型</a:t>
            </a:r>
            <a:endParaRPr dirty="0"/>
          </a:p>
        </p:txBody>
      </p:sp>
      <p:sp>
        <p:nvSpPr>
          <p:cNvPr id="12" name="文本框 11"/>
          <p:cNvSpPr txBox="1"/>
          <p:nvPr/>
        </p:nvSpPr>
        <p:spPr>
          <a:xfrm>
            <a:off x="404727" y="1007839"/>
            <a:ext cx="6436430" cy="163121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342900" indent="-342900">
              <a:buFont typeface="Arial"/>
              <a:buChar char="•"/>
            </a:pPr>
            <a:r>
              <a:rPr lang="en-US" altLang="zh-CN" dirty="0">
                <a:sym typeface="+mn-ea"/>
              </a:rPr>
              <a:t>O</a:t>
            </a:r>
            <a:r>
              <a:rPr lang="zh-CN" altLang="en-US" dirty="0">
                <a:sym typeface="+mn-ea"/>
              </a:rPr>
              <a:t>：招聘优秀人才，满足部门人员需求</a:t>
            </a:r>
            <a:r>
              <a:rPr lang="en-US" altLang="zh-CN" dirty="0">
                <a:sym typeface="+mn-ea"/>
              </a:rPr>
              <a:t>KRs</a:t>
            </a:r>
            <a:r>
              <a:rPr lang="zh-CN" altLang="en-US" dirty="0">
                <a:sym typeface="+mn-ea"/>
              </a:rPr>
              <a:t>：</a:t>
            </a:r>
            <a:endParaRPr lang="en-US" altLang="zh-CN" dirty="0">
              <a:sym typeface="+mn-ea"/>
            </a:endParaRPr>
          </a:p>
          <a:p>
            <a:r>
              <a:rPr lang="en-US" altLang="zh-CN" dirty="0">
                <a:sym typeface="+mn-ea"/>
              </a:rPr>
              <a:t>1</a:t>
            </a:r>
            <a:r>
              <a:rPr lang="zh-CN" altLang="en-US" dirty="0">
                <a:sym typeface="+mn-ea"/>
              </a:rPr>
              <a:t>）调整人员招聘政策</a:t>
            </a:r>
            <a:endParaRPr lang="en-US" altLang="zh-CN" dirty="0">
              <a:sym typeface="+mn-ea"/>
            </a:endParaRPr>
          </a:p>
          <a:p>
            <a:r>
              <a:rPr lang="zh-CN" altLang="zh-CN" dirty="0">
                <a:sym typeface="+mn-ea"/>
              </a:rPr>
              <a:t>2</a:t>
            </a:r>
            <a:r>
              <a:rPr lang="zh-CN" altLang="en-US" dirty="0">
                <a:sym typeface="+mn-ea"/>
              </a:rPr>
              <a:t>）新增两个招聘渠道，实现每个岗位合格简历量增加</a:t>
            </a:r>
            <a:r>
              <a:rPr lang="en-US" altLang="zh-CN" dirty="0">
                <a:sym typeface="+mn-ea"/>
              </a:rPr>
              <a:t>20</a:t>
            </a:r>
            <a:r>
              <a:rPr lang="zh-CN" altLang="en-US" dirty="0">
                <a:sym typeface="+mn-ea"/>
              </a:rPr>
              <a:t>份</a:t>
            </a:r>
            <a:endParaRPr lang="en-US" altLang="zh-CN" dirty="0">
              <a:sym typeface="+mn-ea"/>
            </a:endParaRPr>
          </a:p>
          <a:p>
            <a:r>
              <a:rPr lang="zh-CN" altLang="zh-CN" dirty="0">
                <a:sym typeface="+mn-ea"/>
              </a:rPr>
              <a:t>3</a:t>
            </a:r>
            <a:r>
              <a:rPr lang="zh-CN" altLang="en-US" dirty="0">
                <a:sym typeface="+mn-ea"/>
              </a:rPr>
              <a:t>）招聘到岗</a:t>
            </a:r>
            <a:r>
              <a:rPr lang="en-US" altLang="zh-CN" dirty="0">
                <a:sym typeface="+mn-ea"/>
              </a:rPr>
              <a:t>5</a:t>
            </a:r>
            <a:r>
              <a:rPr lang="zh-CN" altLang="en-US" dirty="0">
                <a:sym typeface="+mn-ea"/>
              </a:rPr>
              <a:t>名项目经理</a:t>
            </a:r>
            <a:endParaRPr lang="en-US" altLang="zh-CN" dirty="0">
              <a:sym typeface="+mn-ea"/>
            </a:endParaRPr>
          </a:p>
        </p:txBody>
      </p:sp>
      <p:sp>
        <p:nvSpPr>
          <p:cNvPr id="15" name="椭圆 14"/>
          <p:cNvSpPr/>
          <p:nvPr/>
        </p:nvSpPr>
        <p:spPr>
          <a:xfrm>
            <a:off x="7561237" y="1007839"/>
            <a:ext cx="1058416" cy="1058416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目标</a:t>
            </a:r>
            <a:endParaRPr kumimoji="1" lang="zh-CN" altLang="en-US" dirty="0"/>
          </a:p>
        </p:txBody>
      </p:sp>
      <p:sp>
        <p:nvSpPr>
          <p:cNvPr id="17" name="矩形 16"/>
          <p:cNvSpPr/>
          <p:nvPr/>
        </p:nvSpPr>
        <p:spPr>
          <a:xfrm>
            <a:off x="10009509" y="1079847"/>
            <a:ext cx="1008112" cy="1008112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结果型</a:t>
            </a:r>
            <a:endParaRPr kumimoji="1" lang="en-US" altLang="zh-CN" dirty="0" smtClean="0"/>
          </a:p>
          <a:p>
            <a:pPr algn="ctr"/>
            <a:r>
              <a:rPr kumimoji="1" lang="en-US" altLang="zh-CN" dirty="0" smtClean="0"/>
              <a:t>KR</a:t>
            </a:r>
            <a:endParaRPr kumimoji="1" lang="zh-CN" altLang="en-US" dirty="0"/>
          </a:p>
        </p:txBody>
      </p:sp>
      <p:sp>
        <p:nvSpPr>
          <p:cNvPr id="20" name="左箭头 19"/>
          <p:cNvSpPr/>
          <p:nvPr/>
        </p:nvSpPr>
        <p:spPr>
          <a:xfrm>
            <a:off x="8785373" y="1367879"/>
            <a:ext cx="978408" cy="484632"/>
          </a:xfrm>
          <a:prstGeom prst="lef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2" name="矩形 21"/>
          <p:cNvSpPr/>
          <p:nvPr/>
        </p:nvSpPr>
        <p:spPr>
          <a:xfrm>
            <a:off x="7705253" y="3096071"/>
            <a:ext cx="2808312" cy="648072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策略型</a:t>
            </a:r>
            <a:r>
              <a:rPr kumimoji="1" lang="en-US" altLang="zh-CN" dirty="0" smtClean="0"/>
              <a:t>KR</a:t>
            </a:r>
            <a:endParaRPr kumimoji="1" lang="zh-CN" altLang="en-US" dirty="0"/>
          </a:p>
        </p:txBody>
      </p:sp>
      <p:sp>
        <p:nvSpPr>
          <p:cNvPr id="23" name="矩形 22"/>
          <p:cNvSpPr/>
          <p:nvPr/>
        </p:nvSpPr>
        <p:spPr>
          <a:xfrm>
            <a:off x="7705253" y="4824263"/>
            <a:ext cx="3600400" cy="648072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行动</a:t>
            </a:r>
            <a:r>
              <a:rPr kumimoji="1" lang="zh-CN" altLang="en-US" dirty="0" smtClean="0"/>
              <a:t>型</a:t>
            </a:r>
            <a:r>
              <a:rPr kumimoji="1" lang="en-US" altLang="zh-CN" dirty="0" smtClean="0"/>
              <a:t>KR</a:t>
            </a:r>
            <a:endParaRPr kumimoji="1" lang="zh-CN" altLang="en-US" dirty="0"/>
          </a:p>
        </p:txBody>
      </p:sp>
      <p:sp>
        <p:nvSpPr>
          <p:cNvPr id="24" name="上箭头 23"/>
          <p:cNvSpPr/>
          <p:nvPr/>
        </p:nvSpPr>
        <p:spPr>
          <a:xfrm>
            <a:off x="7993285" y="2087959"/>
            <a:ext cx="360040" cy="936104"/>
          </a:xfrm>
          <a:prstGeom prst="upArrow">
            <a:avLst/>
          </a:prstGeom>
          <a:solidFill>
            <a:schemeClr val="bg1">
              <a:lumMod val="6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5" name="上箭头 24"/>
          <p:cNvSpPr/>
          <p:nvPr/>
        </p:nvSpPr>
        <p:spPr>
          <a:xfrm>
            <a:off x="10081517" y="2087959"/>
            <a:ext cx="360040" cy="936104"/>
          </a:xfrm>
          <a:prstGeom prst="up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6" name="上箭头 25"/>
          <p:cNvSpPr/>
          <p:nvPr/>
        </p:nvSpPr>
        <p:spPr>
          <a:xfrm>
            <a:off x="9001397" y="3816151"/>
            <a:ext cx="360040" cy="936104"/>
          </a:xfrm>
          <a:prstGeom prst="upArrow">
            <a:avLst/>
          </a:prstGeom>
          <a:solidFill>
            <a:schemeClr val="bg1">
              <a:lumMod val="6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7" name="上箭头 26"/>
          <p:cNvSpPr/>
          <p:nvPr/>
        </p:nvSpPr>
        <p:spPr>
          <a:xfrm>
            <a:off x="10729589" y="2087959"/>
            <a:ext cx="360040" cy="2664296"/>
          </a:xfrm>
          <a:prstGeom prst="up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8907045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>
          <a:xfrm>
            <a:off x="360437" y="31926"/>
            <a:ext cx="8474757" cy="647700"/>
          </a:xfrm>
        </p:spPr>
        <p:txBody>
          <a:bodyPr/>
          <a:lstStyle/>
          <a:p>
            <a:r>
              <a:rPr lang="en-US" altLang="zh-CN" dirty="0" smtClean="0"/>
              <a:t>OKR</a:t>
            </a:r>
            <a:r>
              <a:rPr lang="zh-CN" altLang="en-US" dirty="0" smtClean="0"/>
              <a:t>案例</a:t>
            </a:r>
            <a:endParaRPr dirty="0"/>
          </a:p>
        </p:txBody>
      </p:sp>
      <p:graphicFrame>
        <p:nvGraphicFramePr>
          <p:cNvPr id="3" name="图表 2"/>
          <p:cNvGraphicFramePr/>
          <p:nvPr>
            <p:extLst>
              <p:ext uri="{D42A27DB-BD31-4B8C-83A1-F6EECF244321}">
                <p14:modId xmlns:p14="http://schemas.microsoft.com/office/powerpoint/2010/main" val="2017626224"/>
              </p:ext>
            </p:extLst>
          </p:nvPr>
        </p:nvGraphicFramePr>
        <p:xfrm>
          <a:off x="1920346" y="679626"/>
          <a:ext cx="7681383" cy="51209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89079601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j.Xl7D6tE2yo12zR_1PH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heme/theme1.xml><?xml version="1.0" encoding="utf-8"?>
<a:theme xmlns:a="http://schemas.openxmlformats.org/drawingml/2006/main" name="Office 主题​​">
  <a:themeElements>
    <a:clrScheme name="蓝色​​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CPL-Template4">
  <a:themeElements>
    <a:clrScheme name="Group Digital Template">
      <a:dk1>
        <a:srgbClr val="000000"/>
      </a:dk1>
      <a:lt1>
        <a:srgbClr val="FFFFFF"/>
      </a:lt1>
      <a:dk2>
        <a:srgbClr val="6A1A41"/>
      </a:dk2>
      <a:lt2>
        <a:srgbClr val="FFFFFF"/>
      </a:lt2>
      <a:accent1>
        <a:srgbClr val="774A39"/>
      </a:accent1>
      <a:accent2>
        <a:srgbClr val="B10034"/>
      </a:accent2>
      <a:accent3>
        <a:srgbClr val="FFC000"/>
      </a:accent3>
      <a:accent4>
        <a:srgbClr val="55601C"/>
      </a:accent4>
      <a:accent5>
        <a:srgbClr val="0096CC"/>
      </a:accent5>
      <a:accent6>
        <a:srgbClr val="0096CC"/>
      </a:accent6>
      <a:hlink>
        <a:srgbClr val="6A1A41"/>
      </a:hlink>
      <a:folHlink>
        <a:srgbClr val="BED6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solidFill>
            <a:schemeClr val="accent1"/>
          </a:solidFill>
        </a:ln>
      </a:spPr>
      <a:bodyPr rtlCol="0" anchor="ctr"/>
      <a:lstStyle>
        <a:defPPr algn="ctr">
          <a:defRPr sz="1400" dirty="0" err="1" smtClean="0">
            <a:solidFill>
              <a:schemeClr val="tx1">
                <a:lumMod val="75000"/>
                <a:lumOff val="25000"/>
              </a:schemeClr>
            </a:solidFill>
            <a:latin typeface="Calibri" pitchFamily="34" charset="0"/>
            <a:cs typeface="Calibri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>
        <a:noFill/>
      </a:spPr>
      <a:bodyPr vert="horz" wrap="none" lIns="35940" tIns="35940" rIns="35940" bIns="35940" rtlCol="0" anchor="t">
        <a:noAutofit/>
      </a:bodyPr>
      <a:lstStyle>
        <a:defPPr marL="190500" indent="-190500">
          <a:buClr>
            <a:srgbClr val="B10034"/>
          </a:buClr>
          <a:buSzPct val="80000"/>
          <a:buFont typeface="Wingdings" panose="05000000000000000000"/>
          <a:buChar char="n"/>
          <a:defRPr sz="1400" smtClean="0">
            <a:solidFill>
              <a:srgbClr val="484848"/>
            </a:solidFill>
            <a:latin typeface="Calibri"/>
            <a:cs typeface="Calibri" pitchFamily="34" charset="0"/>
          </a:defRPr>
        </a:defPPr>
      </a:lstStyle>
    </a:tx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484848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SE Curriculum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2_SE Curriculum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White">
  <a:themeElements>
    <a:clrScheme name="">
      <a:dk1>
        <a:srgbClr val="000000"/>
      </a:dk1>
      <a:lt1>
        <a:srgbClr val="FFFFFF"/>
      </a:lt1>
      <a:dk2>
        <a:srgbClr val="5E5E5E"/>
      </a:dk2>
      <a:lt2>
        <a:srgbClr val="D6D5D5"/>
      </a:lt2>
      <a:accent1>
        <a:srgbClr val="00A2FF"/>
      </a:accent1>
      <a:accent2>
        <a:srgbClr val="16E7CF"/>
      </a:accent2>
      <a:accent3>
        <a:srgbClr val="FFFFFF"/>
      </a:accent3>
      <a:accent4>
        <a:srgbClr val="000000"/>
      </a:accent4>
      <a:accent5>
        <a:srgbClr val="AACEFF"/>
      </a:accent5>
      <a:accent6>
        <a:srgbClr val="13D1BB"/>
      </a:accent6>
      <a:hlink>
        <a:srgbClr val="0000FF"/>
      </a:hlink>
      <a:folHlink>
        <a:srgbClr val="FF00FF"/>
      </a:folHlink>
    </a:clrScheme>
    <a:fontScheme name="White">
      <a:majorFont>
        <a:latin typeface="Helvetica Neue Medium"/>
        <a:ea typeface="Helvetica Neue Medium"/>
        <a:cs typeface="Helvetica Neue Medium"/>
      </a:majorFont>
      <a:minorFont>
        <a:latin typeface="Helvetica Neue"/>
        <a:ea typeface="Helvetica Neue"/>
        <a:cs typeface="Helvetica Neue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25400" cap="flat" cmpd="sng" algn="ctr">
          <a:solidFill>
            <a:srgbClr val="000000"/>
          </a:solidFill>
          <a:prstDash val="solid"/>
          <a:miter lim="400000"/>
          <a:headEnd type="none" w="med" len="med"/>
          <a:tailEnd type="none" w="med" len="med"/>
        </a:ln>
      </a:spPr>
      <a:bodyPr vert="horz" wrap="square" lIns="71437" tIns="71437" rIns="71437" bIns="71437" numCol="1" anchor="ctr" anchorCtr="0" compatLnSpc="1">
        <a:spAutoFit/>
      </a:bodyPr>
      <a:lstStyle>
        <a:defPPr marL="0" marR="0" indent="0" algn="ctr" defTabSz="820420" rtl="0" eaLnBrk="1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0" lang="zh-CN" altLang="zh-CN" sz="3200" b="1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Helvetica Neue" panose="02000503000000020004" charset="0"/>
            <a:ea typeface="Helvetica Neue" panose="02000503000000020004" charset="0"/>
            <a:cs typeface="Helvetica Neue" panose="02000503000000020004" charset="0"/>
            <a:sym typeface="Helvetica Neue" panose="0200050300000002000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25400" cap="flat" cmpd="sng" algn="ctr">
          <a:solidFill>
            <a:srgbClr val="000000"/>
          </a:solidFill>
          <a:prstDash val="solid"/>
          <a:miter lim="400000"/>
          <a:headEnd type="none" w="med" len="med"/>
          <a:tailEnd type="none" w="med" len="med"/>
        </a:ln>
      </a:spPr>
      <a:bodyPr vert="horz" wrap="square" lIns="71437" tIns="71437" rIns="71437" bIns="71437" numCol="1" anchor="ctr" anchorCtr="0" compatLnSpc="1">
        <a:spAutoFit/>
      </a:bodyPr>
      <a:lstStyle>
        <a:defPPr marL="0" marR="0" indent="0" algn="ctr" defTabSz="820420" rtl="0" eaLnBrk="1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0" lang="zh-CN" altLang="zh-CN" sz="3200" b="1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Helvetica Neue" panose="02000503000000020004" charset="0"/>
            <a:ea typeface="Helvetica Neue" panose="02000503000000020004" charset="0"/>
            <a:cs typeface="Helvetica Neue" panose="02000503000000020004" charset="0"/>
            <a:sym typeface="Helvetica Neue" panose="02000503000000020004" charset="0"/>
          </a:defRPr>
        </a:defPPr>
      </a:lstStyle>
    </a:lnDef>
  </a:objectDefaults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5_PRESENTATIONLOAD">
  <a:themeElements>
    <a:clrScheme name="Benutzerdefiniert 2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7F7F7F"/>
      </a:hlink>
      <a:folHlink>
        <a:srgbClr val="7F7F7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7_PRESENTATIONLOAD">
  <a:themeElements>
    <a:clrScheme name="Benutzerdefiniert 2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7F7F7F"/>
      </a:hlink>
      <a:folHlink>
        <a:srgbClr val="7F7F7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8_PRESENTATIONLOAD">
  <a:themeElements>
    <a:clrScheme name="Benutzerdefiniert 2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7F7F7F"/>
      </a:hlink>
      <a:folHlink>
        <a:srgbClr val="7F7F7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Default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— klasyczny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rgbClr val="FFBC1D"/>
          </a:solidFill>
          <a:prstDash val="solid"/>
          <a:bevel/>
        </a:ln>
      </a:spPr>
      <a:bodyPr rot="0" spcFirstLastPara="1" vertOverflow="overflow" horzOverflow="overflow" vert="horz" wrap="square" lIns="91438" tIns="91438" rIns="91438" bIns="91438" numCol="1" spcCol="38100" rtlCol="0" anchor="t">
        <a:spAutoFit/>
      </a:bodyPr>
      <a:lstStyle>
        <a:defPPr marL="0" marR="0" indent="0" algn="l" defTabSz="956945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3800" b="0" i="0" u="none" strike="noStrike" cap="none" spc="0" normalizeH="0" baseline="0">
            <a:ln>
              <a:noFill/>
            </a:ln>
            <a:solidFill>
              <a:srgbClr val="263147"/>
            </a:solidFill>
            <a:effectLst/>
            <a:uFillTx/>
            <a:latin typeface="+mn-lt"/>
            <a:ea typeface="+mn-ea"/>
            <a:cs typeface="+mn-cs"/>
            <a:sym typeface="Avenir Roman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FFBC1D"/>
          </a:solidFill>
          <a:prstDash val="solid"/>
          <a:bevel/>
        </a:ln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/>
      <a:bodyPr/>
      <a:lstStyle>
        <a:defPPr marL="127000" marR="0" indent="-127000" defTabSz="342265" eaLnBrk="1" fontAlgn="auto" latinLnBrk="0" hangingPunct="1">
          <a:lnSpc>
            <a:spcPct val="120000"/>
          </a:lnSpc>
          <a:spcBef>
            <a:spcPts val="225"/>
          </a:spcBef>
          <a:spcAft>
            <a:spcPts val="0"/>
          </a:spcAft>
          <a:buClr>
            <a:srgbClr val="0098C7"/>
          </a:buClr>
          <a:buSzPct val="80000"/>
          <a:buFont typeface="Arial" panose="020B0604020202090204" pitchFamily="34" charset="0"/>
          <a:buChar char="•"/>
          <a:defRPr kumimoji="0" sz="1400" b="0" i="0" u="none" strike="noStrike" kern="0" cap="none" spc="0" normalizeH="0" baseline="0" noProof="0" dirty="0" smtClean="0">
            <a:ln>
              <a:noFill/>
            </a:ln>
            <a:solidFill>
              <a:srgbClr val="5E5E5E"/>
            </a:solidFill>
            <a:effectLst/>
            <a:uLnTx/>
            <a:uFillTx/>
            <a:latin typeface="+mj-lt"/>
            <a:ea typeface="Arial" panose="020B0604020202090204"/>
            <a:cs typeface="Arial" panose="020B0604020202090204"/>
            <a:sym typeface="Arial" panose="020B0604020202090204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13_PRESENTATIONLOAD">
  <a:themeElements>
    <a:clrScheme name="Benutzerdefiniert 2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7F7F7F"/>
      </a:hlink>
      <a:folHlink>
        <a:srgbClr val="7F7F7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PRESENTATIONLOAD">
  <a:themeElements>
    <a:clrScheme name="Benutzerdefiniert 2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7F7F7F"/>
      </a:hlink>
      <a:folHlink>
        <a:srgbClr val="7F7F7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20_PRESENTATIONLOAD">
  <a:themeElements>
    <a:clrScheme name="Benutzerdefiniert 2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7F7F7F"/>
      </a:hlink>
      <a:folHlink>
        <a:srgbClr val="7F7F7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33</TotalTime>
  <Words>547</Words>
  <Application>Microsoft Macintosh PowerPoint</Application>
  <PresentationFormat>自定义</PresentationFormat>
  <Paragraphs>121</Paragraphs>
  <Slides>13</Slides>
  <Notes>13</Notes>
  <HiddenSlides>0</HiddenSlides>
  <MMClips>0</MMClips>
  <ScaleCrop>false</ScaleCrop>
  <HeadingPairs>
    <vt:vector size="6" baseType="variant">
      <vt:variant>
        <vt:lpstr>主题</vt:lpstr>
      </vt:variant>
      <vt:variant>
        <vt:i4>12</vt:i4>
      </vt:variant>
      <vt:variant>
        <vt:lpstr>嵌入的 OLE 服务器</vt:lpstr>
      </vt:variant>
      <vt:variant>
        <vt:i4>1</vt:i4>
      </vt:variant>
      <vt:variant>
        <vt:lpstr>幻灯片标题</vt:lpstr>
      </vt:variant>
      <vt:variant>
        <vt:i4>13</vt:i4>
      </vt:variant>
    </vt:vector>
  </HeadingPairs>
  <TitlesOfParts>
    <vt:vector size="26" baseType="lpstr">
      <vt:lpstr>Office 主题​​</vt:lpstr>
      <vt:lpstr>White</vt:lpstr>
      <vt:lpstr>15_PRESENTATIONLOAD</vt:lpstr>
      <vt:lpstr>17_PRESENTATIONLOAD</vt:lpstr>
      <vt:lpstr>18_PRESENTATIONLOAD</vt:lpstr>
      <vt:lpstr>Default</vt:lpstr>
      <vt:lpstr>13_PRESENTATIONLOAD</vt:lpstr>
      <vt:lpstr>PRESENTATIONLOAD</vt:lpstr>
      <vt:lpstr>20_PRESENTATIONLOAD</vt:lpstr>
      <vt:lpstr>CPL-Template4</vt:lpstr>
      <vt:lpstr>SE Curriculum Theme</vt:lpstr>
      <vt:lpstr>2_SE Curriculum Theme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PC</dc:creator>
  <cp:lastModifiedBy>yu</cp:lastModifiedBy>
  <cp:revision>1386</cp:revision>
  <dcterms:created xsi:type="dcterms:W3CDTF">2019-11-19T10:39:30Z</dcterms:created>
  <dcterms:modified xsi:type="dcterms:W3CDTF">2019-11-22T09:59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.5.0.2161</vt:lpwstr>
  </property>
</Properties>
</file>